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5" r:id="rId4"/>
    <p:sldMasterId id="2147483839" r:id="rId5"/>
  </p:sldMasterIdLst>
  <p:notesMasterIdLst>
    <p:notesMasterId r:id="rId24"/>
  </p:notesMasterIdLst>
  <p:sldIdLst>
    <p:sldId id="256" r:id="rId6"/>
    <p:sldId id="2147449496" r:id="rId7"/>
    <p:sldId id="2147449173" r:id="rId8"/>
    <p:sldId id="261" r:id="rId9"/>
    <p:sldId id="2147449466" r:id="rId10"/>
    <p:sldId id="2147449467" r:id="rId11"/>
    <p:sldId id="2147449259" r:id="rId12"/>
    <p:sldId id="2147449047" r:id="rId13"/>
    <p:sldId id="2147449406" r:id="rId14"/>
    <p:sldId id="2147449470" r:id="rId15"/>
    <p:sldId id="2147449491" r:id="rId16"/>
    <p:sldId id="2147449477" r:id="rId17"/>
    <p:sldId id="2147449487" r:id="rId18"/>
    <p:sldId id="2147449492" r:id="rId19"/>
    <p:sldId id="2147449490" r:id="rId20"/>
    <p:sldId id="2147449494" r:id="rId21"/>
    <p:sldId id="2147449495" r:id="rId22"/>
    <p:sldId id="2147449493" r:id="rId23"/>
  </p:sldIdLst>
  <p:sldSz cx="12192000" cy="6858000"/>
  <p:notesSz cx="7104063" cy="10234613"/>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302A"/>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94F49E-C38C-4D01-826A-5540EC478C56}" v="616" dt="2026-03-25T19:14:27.9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857" autoAdjust="0"/>
  </p:normalViewPr>
  <p:slideViewPr>
    <p:cSldViewPr snapToGrid="0">
      <p:cViewPr varScale="1">
        <p:scale>
          <a:sx n="99" d="100"/>
          <a:sy n="99" d="100"/>
        </p:scale>
        <p:origin x="948" y="84"/>
      </p:cViewPr>
      <p:guideLst/>
    </p:cSldViewPr>
  </p:slideViewPr>
  <p:notesTextViewPr>
    <p:cViewPr>
      <p:scale>
        <a:sx n="3" d="2"/>
        <a:sy n="3" d="2"/>
      </p:scale>
      <p:origin x="0" y="0"/>
    </p:cViewPr>
  </p:notesTextViewPr>
  <p:sorterViewPr>
    <p:cViewPr varScale="1">
      <p:scale>
        <a:sx n="100" d="100"/>
        <a:sy n="100" d="100"/>
      </p:scale>
      <p:origin x="0" y="-77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Kurjenniemi" userId="45855882-34ab-471a-89ec-eb9e2f56cbe8" providerId="ADAL" clId="{E6F4BB98-3518-4F2B-848C-900D845A2BDF}"/>
    <pc:docChg chg="undo custSel addSld delSld modSld sldOrd delMainMaster modMainMaster modNotesMaster">
      <pc:chgData name="Jenny Kurjenniemi" userId="45855882-34ab-471a-89ec-eb9e2f56cbe8" providerId="ADAL" clId="{E6F4BB98-3518-4F2B-848C-900D845A2BDF}" dt="2026-03-25T19:14:46.108" v="10445" actId="2696"/>
      <pc:docMkLst>
        <pc:docMk/>
      </pc:docMkLst>
      <pc:sldChg chg="addSp modSp add del mod modNotesTx">
        <pc:chgData name="Jenny Kurjenniemi" userId="45855882-34ab-471a-89ec-eb9e2f56cbe8" providerId="ADAL" clId="{E6F4BB98-3518-4F2B-848C-900D845A2BDF}" dt="2026-03-25T16:51:20.804" v="6944" actId="20577"/>
        <pc:sldMkLst>
          <pc:docMk/>
          <pc:sldMk cId="3835437343" sldId="256"/>
        </pc:sldMkLst>
        <pc:spChg chg="add mod">
          <ac:chgData name="Jenny Kurjenniemi" userId="45855882-34ab-471a-89ec-eb9e2f56cbe8" providerId="ADAL" clId="{E6F4BB98-3518-4F2B-848C-900D845A2BDF}" dt="2026-03-25T16:19:07.763" v="6495" actId="6549"/>
          <ac:spMkLst>
            <pc:docMk/>
            <pc:sldMk cId="3835437343" sldId="256"/>
            <ac:spMk id="5" creationId="{4B6DD900-822F-2127-F7C9-F0B69A775787}"/>
          </ac:spMkLst>
        </pc:spChg>
        <pc:spChg chg="add mod">
          <ac:chgData name="Jenny Kurjenniemi" userId="45855882-34ab-471a-89ec-eb9e2f56cbe8" providerId="ADAL" clId="{E6F4BB98-3518-4F2B-848C-900D845A2BDF}" dt="2026-03-25T15:59:54.425" v="6316" actId="207"/>
          <ac:spMkLst>
            <pc:docMk/>
            <pc:sldMk cId="3835437343" sldId="256"/>
            <ac:spMk id="6" creationId="{AFB9C8AD-8FA3-8404-93AE-996E24391A52}"/>
          </ac:spMkLst>
        </pc:spChg>
      </pc:sldChg>
      <pc:sldChg chg="add del">
        <pc:chgData name="Jenny Kurjenniemi" userId="45855882-34ab-471a-89ec-eb9e2f56cbe8" providerId="ADAL" clId="{E6F4BB98-3518-4F2B-848C-900D845A2BDF}" dt="2026-03-25T17:29:19.200" v="8883" actId="2696"/>
        <pc:sldMkLst>
          <pc:docMk/>
          <pc:sldMk cId="330652466" sldId="257"/>
        </pc:sldMkLst>
      </pc:sldChg>
      <pc:sldChg chg="modSp add del mod modShow">
        <pc:chgData name="Jenny Kurjenniemi" userId="45855882-34ab-471a-89ec-eb9e2f56cbe8" providerId="ADAL" clId="{E6F4BB98-3518-4F2B-848C-900D845A2BDF}" dt="2026-03-25T15:57:43.982" v="6179" actId="2696"/>
        <pc:sldMkLst>
          <pc:docMk/>
          <pc:sldMk cId="3494216576" sldId="257"/>
        </pc:sldMkLst>
      </pc:sldChg>
      <pc:sldChg chg="add del mod modShow">
        <pc:chgData name="Jenny Kurjenniemi" userId="45855882-34ab-471a-89ec-eb9e2f56cbe8" providerId="ADAL" clId="{E6F4BB98-3518-4F2B-848C-900D845A2BDF}" dt="2026-03-25T15:57:43.982" v="6179" actId="2696"/>
        <pc:sldMkLst>
          <pc:docMk/>
          <pc:sldMk cId="1385161960" sldId="258"/>
        </pc:sldMkLst>
      </pc:sldChg>
      <pc:sldChg chg="add del">
        <pc:chgData name="Jenny Kurjenniemi" userId="45855882-34ab-471a-89ec-eb9e2f56cbe8" providerId="ADAL" clId="{E6F4BB98-3518-4F2B-848C-900D845A2BDF}" dt="2026-03-25T17:29:19.200" v="8883" actId="2696"/>
        <pc:sldMkLst>
          <pc:docMk/>
          <pc:sldMk cId="1552327877" sldId="258"/>
        </pc:sldMkLst>
      </pc:sldChg>
      <pc:sldChg chg="add del mod modShow">
        <pc:chgData name="Jenny Kurjenniemi" userId="45855882-34ab-471a-89ec-eb9e2f56cbe8" providerId="ADAL" clId="{E6F4BB98-3518-4F2B-848C-900D845A2BDF}" dt="2026-03-25T15:57:43.982" v="6179" actId="2696"/>
        <pc:sldMkLst>
          <pc:docMk/>
          <pc:sldMk cId="885943122" sldId="259"/>
        </pc:sldMkLst>
      </pc:sldChg>
      <pc:sldChg chg="add del">
        <pc:chgData name="Jenny Kurjenniemi" userId="45855882-34ab-471a-89ec-eb9e2f56cbe8" providerId="ADAL" clId="{E6F4BB98-3518-4F2B-848C-900D845A2BDF}" dt="2026-03-25T17:29:19.200" v="8883" actId="2696"/>
        <pc:sldMkLst>
          <pc:docMk/>
          <pc:sldMk cId="1721353823" sldId="259"/>
        </pc:sldMkLst>
      </pc:sldChg>
      <pc:sldChg chg="add del mod modShow">
        <pc:chgData name="Jenny Kurjenniemi" userId="45855882-34ab-471a-89ec-eb9e2f56cbe8" providerId="ADAL" clId="{E6F4BB98-3518-4F2B-848C-900D845A2BDF}" dt="2026-03-25T15:57:43.982" v="6179" actId="2696"/>
        <pc:sldMkLst>
          <pc:docMk/>
          <pc:sldMk cId="1649125703" sldId="260"/>
        </pc:sldMkLst>
      </pc:sldChg>
      <pc:sldChg chg="add del">
        <pc:chgData name="Jenny Kurjenniemi" userId="45855882-34ab-471a-89ec-eb9e2f56cbe8" providerId="ADAL" clId="{E6F4BB98-3518-4F2B-848C-900D845A2BDF}" dt="2026-03-25T17:29:19.200" v="8883" actId="2696"/>
        <pc:sldMkLst>
          <pc:docMk/>
          <pc:sldMk cId="2592236145" sldId="260"/>
        </pc:sldMkLst>
      </pc:sldChg>
      <pc:sldChg chg="add ord">
        <pc:chgData name="Jenny Kurjenniemi" userId="45855882-34ab-471a-89ec-eb9e2f56cbe8" providerId="ADAL" clId="{E6F4BB98-3518-4F2B-848C-900D845A2BDF}" dt="2026-02-24T13:19:17.806" v="1133"/>
        <pc:sldMkLst>
          <pc:docMk/>
          <pc:sldMk cId="1375582593" sldId="261"/>
        </pc:sldMkLst>
      </pc:sldChg>
      <pc:sldChg chg="add del">
        <pc:chgData name="Jenny Kurjenniemi" userId="45855882-34ab-471a-89ec-eb9e2f56cbe8" providerId="ADAL" clId="{E6F4BB98-3518-4F2B-848C-900D845A2BDF}" dt="2026-03-25T17:29:19.200" v="8883" actId="2696"/>
        <pc:sldMkLst>
          <pc:docMk/>
          <pc:sldMk cId="2163853856" sldId="263"/>
        </pc:sldMkLst>
      </pc:sldChg>
      <pc:sldChg chg="add del">
        <pc:chgData name="Jenny Kurjenniemi" userId="45855882-34ab-471a-89ec-eb9e2f56cbe8" providerId="ADAL" clId="{E6F4BB98-3518-4F2B-848C-900D845A2BDF}" dt="2026-03-25T15:57:43.982" v="6179" actId="2696"/>
        <pc:sldMkLst>
          <pc:docMk/>
          <pc:sldMk cId="3885152586" sldId="263"/>
        </pc:sldMkLst>
      </pc:sldChg>
      <pc:sldChg chg="addSp delSp modSp add del mod ord modClrScheme chgLayout">
        <pc:chgData name="Jenny Kurjenniemi" userId="45855882-34ab-471a-89ec-eb9e2f56cbe8" providerId="ADAL" clId="{E6F4BB98-3518-4F2B-848C-900D845A2BDF}" dt="2026-03-25T18:06:18.187" v="10052" actId="47"/>
        <pc:sldMkLst>
          <pc:docMk/>
          <pc:sldMk cId="2427902703" sldId="336"/>
        </pc:sldMkLst>
        <pc:spChg chg="add mod ord">
          <ac:chgData name="Jenny Kurjenniemi" userId="45855882-34ab-471a-89ec-eb9e2f56cbe8" providerId="ADAL" clId="{E6F4BB98-3518-4F2B-848C-900D845A2BDF}" dt="2026-03-25T16:02:02.284" v="6341" actId="20577"/>
          <ac:spMkLst>
            <pc:docMk/>
            <pc:sldMk cId="2427902703" sldId="336"/>
            <ac:spMk id="2" creationId="{0D693B0C-0F9C-CF17-962F-B3D25170E158}"/>
          </ac:spMkLst>
        </pc:spChg>
        <pc:spChg chg="add mod">
          <ac:chgData name="Jenny Kurjenniemi" userId="45855882-34ab-471a-89ec-eb9e2f56cbe8" providerId="ADAL" clId="{E6F4BB98-3518-4F2B-848C-900D845A2BDF}" dt="2026-03-25T16:04:47.921" v="6354" actId="14100"/>
          <ac:spMkLst>
            <pc:docMk/>
            <pc:sldMk cId="2427902703" sldId="336"/>
            <ac:spMk id="4" creationId="{F63B2E92-3995-DDAA-8432-DEF4298AC4B1}"/>
          </ac:spMkLst>
        </pc:spChg>
      </pc:sldChg>
      <pc:sldChg chg="addSp delSp modSp add del mod">
        <pc:chgData name="Jenny Kurjenniemi" userId="45855882-34ab-471a-89ec-eb9e2f56cbe8" providerId="ADAL" clId="{E6F4BB98-3518-4F2B-848C-900D845A2BDF}" dt="2026-03-25T16:04:04.825" v="6348" actId="2696"/>
        <pc:sldMkLst>
          <pc:docMk/>
          <pc:sldMk cId="800207297" sldId="2145707050"/>
        </pc:sldMkLst>
      </pc:sldChg>
      <pc:sldChg chg="add del">
        <pc:chgData name="Jenny Kurjenniemi" userId="45855882-34ab-471a-89ec-eb9e2f56cbe8" providerId="ADAL" clId="{E6F4BB98-3518-4F2B-848C-900D845A2BDF}" dt="2026-03-25T17:29:19.200" v="8883" actId="2696"/>
        <pc:sldMkLst>
          <pc:docMk/>
          <pc:sldMk cId="4181362721" sldId="2145707050"/>
        </pc:sldMkLst>
      </pc:sldChg>
      <pc:sldChg chg="modSp add mod">
        <pc:chgData name="Jenny Kurjenniemi" userId="45855882-34ab-471a-89ec-eb9e2f56cbe8" providerId="ADAL" clId="{E6F4BB98-3518-4F2B-848C-900D845A2BDF}" dt="2026-03-25T19:02:47.392" v="10414" actId="20577"/>
        <pc:sldMkLst>
          <pc:docMk/>
          <pc:sldMk cId="3586689159" sldId="2147449047"/>
        </pc:sldMkLst>
        <pc:spChg chg="mod">
          <ac:chgData name="Jenny Kurjenniemi" userId="45855882-34ab-471a-89ec-eb9e2f56cbe8" providerId="ADAL" clId="{E6F4BB98-3518-4F2B-848C-900D845A2BDF}" dt="2026-03-25T19:01:38.321" v="10365" actId="20577"/>
          <ac:spMkLst>
            <pc:docMk/>
            <pc:sldMk cId="3586689159" sldId="2147449047"/>
            <ac:spMk id="2" creationId="{C5D39D0D-258D-0C70-46C7-9C82B274B0FC}"/>
          </ac:spMkLst>
        </pc:spChg>
        <pc:spChg chg="mod">
          <ac:chgData name="Jenny Kurjenniemi" userId="45855882-34ab-471a-89ec-eb9e2f56cbe8" providerId="ADAL" clId="{E6F4BB98-3518-4F2B-848C-900D845A2BDF}" dt="2026-03-25T19:02:47.392" v="10414" actId="20577"/>
          <ac:spMkLst>
            <pc:docMk/>
            <pc:sldMk cId="3586689159" sldId="2147449047"/>
            <ac:spMk id="11" creationId="{8BAD5A3A-174A-C03E-83B9-773CFA220FF3}"/>
          </ac:spMkLst>
        </pc:spChg>
        <pc:spChg chg="mod">
          <ac:chgData name="Jenny Kurjenniemi" userId="45855882-34ab-471a-89ec-eb9e2f56cbe8" providerId="ADAL" clId="{E6F4BB98-3518-4F2B-848C-900D845A2BDF}" dt="2026-03-25T16:34:25.434" v="6747" actId="1076"/>
          <ac:spMkLst>
            <pc:docMk/>
            <pc:sldMk cId="3586689159" sldId="2147449047"/>
            <ac:spMk id="24" creationId="{88EC9336-4754-BFAF-22C6-02A6644F0D9A}"/>
          </ac:spMkLst>
        </pc:spChg>
        <pc:spChg chg="mod">
          <ac:chgData name="Jenny Kurjenniemi" userId="45855882-34ab-471a-89ec-eb9e2f56cbe8" providerId="ADAL" clId="{E6F4BB98-3518-4F2B-848C-900D845A2BDF}" dt="2026-03-25T16:34:29.098" v="6749" actId="1076"/>
          <ac:spMkLst>
            <pc:docMk/>
            <pc:sldMk cId="3586689159" sldId="2147449047"/>
            <ac:spMk id="26" creationId="{A4834556-7D39-E57F-B595-E18B2B3BA82B}"/>
          </ac:spMkLst>
        </pc:spChg>
        <pc:picChg chg="mod">
          <ac:chgData name="Jenny Kurjenniemi" userId="45855882-34ab-471a-89ec-eb9e2f56cbe8" providerId="ADAL" clId="{E6F4BB98-3518-4F2B-848C-900D845A2BDF}" dt="2026-03-25T16:34:39.165" v="6753" actId="1076"/>
          <ac:picMkLst>
            <pc:docMk/>
            <pc:sldMk cId="3586689159" sldId="2147449047"/>
            <ac:picMk id="18" creationId="{B53A7335-53C4-11F8-4DCB-D6647343119D}"/>
          </ac:picMkLst>
        </pc:picChg>
        <pc:picChg chg="mod">
          <ac:chgData name="Jenny Kurjenniemi" userId="45855882-34ab-471a-89ec-eb9e2f56cbe8" providerId="ADAL" clId="{E6F4BB98-3518-4F2B-848C-900D845A2BDF}" dt="2026-03-25T16:34:37.125" v="6752" actId="1076"/>
          <ac:picMkLst>
            <pc:docMk/>
            <pc:sldMk cId="3586689159" sldId="2147449047"/>
            <ac:picMk id="28" creationId="{46914805-8DE7-3047-71C4-D8F99F9A9D7F}"/>
          </ac:picMkLst>
        </pc:picChg>
        <pc:cxnChg chg="mod">
          <ac:chgData name="Jenny Kurjenniemi" userId="45855882-34ab-471a-89ec-eb9e2f56cbe8" providerId="ADAL" clId="{E6F4BB98-3518-4F2B-848C-900D845A2BDF}" dt="2026-03-25T16:34:19.750" v="6746" actId="1076"/>
          <ac:cxnSpMkLst>
            <pc:docMk/>
            <pc:sldMk cId="3586689159" sldId="2147449047"/>
            <ac:cxnSpMk id="21" creationId="{61820808-59CA-DBF5-F9A7-528AA6BC19DA}"/>
          </ac:cxnSpMkLst>
        </pc:cxnChg>
      </pc:sldChg>
      <pc:sldChg chg="addSp delSp modSp add mod ord">
        <pc:chgData name="Jenny Kurjenniemi" userId="45855882-34ab-471a-89ec-eb9e2f56cbe8" providerId="ADAL" clId="{E6F4BB98-3518-4F2B-848C-900D845A2BDF}" dt="2026-03-25T18:06:44.041" v="10057" actId="20577"/>
        <pc:sldMkLst>
          <pc:docMk/>
          <pc:sldMk cId="3807586713" sldId="2147449173"/>
        </pc:sldMkLst>
        <pc:spChg chg="mod">
          <ac:chgData name="Jenny Kurjenniemi" userId="45855882-34ab-471a-89ec-eb9e2f56cbe8" providerId="ADAL" clId="{E6F4BB98-3518-4F2B-848C-900D845A2BDF}" dt="2026-03-25T18:01:56.245" v="10008" actId="1076"/>
          <ac:spMkLst>
            <pc:docMk/>
            <pc:sldMk cId="3807586713" sldId="2147449173"/>
            <ac:spMk id="5" creationId="{15B48D6F-E5AA-473D-6B12-FDFAC7174A2C}"/>
          </ac:spMkLst>
        </pc:spChg>
        <pc:spChg chg="mod">
          <ac:chgData name="Jenny Kurjenniemi" userId="45855882-34ab-471a-89ec-eb9e2f56cbe8" providerId="ADAL" clId="{E6F4BB98-3518-4F2B-848C-900D845A2BDF}" dt="2026-03-25T16:05:44.467" v="6356"/>
          <ac:spMkLst>
            <pc:docMk/>
            <pc:sldMk cId="3807586713" sldId="2147449173"/>
            <ac:spMk id="7" creationId="{809FD909-28EC-7A2B-DDCB-4779B35FCDFF}"/>
          </ac:spMkLst>
        </pc:spChg>
        <pc:spChg chg="mod">
          <ac:chgData name="Jenny Kurjenniemi" userId="45855882-34ab-471a-89ec-eb9e2f56cbe8" providerId="ADAL" clId="{E6F4BB98-3518-4F2B-848C-900D845A2BDF}" dt="2026-03-25T16:05:50.354" v="6358" actId="1076"/>
          <ac:spMkLst>
            <pc:docMk/>
            <pc:sldMk cId="3807586713" sldId="2147449173"/>
            <ac:spMk id="12" creationId="{4B0C73B8-88F8-5DB4-4F6F-A063ED51390A}"/>
          </ac:spMkLst>
        </pc:spChg>
        <pc:spChg chg="add mod">
          <ac:chgData name="Jenny Kurjenniemi" userId="45855882-34ab-471a-89ec-eb9e2f56cbe8" providerId="ADAL" clId="{E6F4BB98-3518-4F2B-848C-900D845A2BDF}" dt="2026-03-25T18:03:43.674" v="10026" actId="1076"/>
          <ac:spMkLst>
            <pc:docMk/>
            <pc:sldMk cId="3807586713" sldId="2147449173"/>
            <ac:spMk id="13" creationId="{AD30A5B9-D446-6D73-351E-B06409EE23E8}"/>
          </ac:spMkLst>
        </pc:spChg>
        <pc:spChg chg="add del">
          <ac:chgData name="Jenny Kurjenniemi" userId="45855882-34ab-471a-89ec-eb9e2f56cbe8" providerId="ADAL" clId="{E6F4BB98-3518-4F2B-848C-900D845A2BDF}" dt="2026-03-25T16:08:34.147" v="6393" actId="478"/>
          <ac:spMkLst>
            <pc:docMk/>
            <pc:sldMk cId="3807586713" sldId="2147449173"/>
            <ac:spMk id="14" creationId="{C96E5FCF-0726-CD5F-B395-A0D55460EE06}"/>
          </ac:spMkLst>
        </pc:spChg>
        <pc:spChg chg="mod">
          <ac:chgData name="Jenny Kurjenniemi" userId="45855882-34ab-471a-89ec-eb9e2f56cbe8" providerId="ADAL" clId="{E6F4BB98-3518-4F2B-848C-900D845A2BDF}" dt="2026-03-25T18:00:35.853" v="9885" actId="20577"/>
          <ac:spMkLst>
            <pc:docMk/>
            <pc:sldMk cId="3807586713" sldId="2147449173"/>
            <ac:spMk id="16" creationId="{00000000-0000-0000-0000-000000000000}"/>
          </ac:spMkLst>
        </pc:spChg>
        <pc:spChg chg="add mod">
          <ac:chgData name="Jenny Kurjenniemi" userId="45855882-34ab-471a-89ec-eb9e2f56cbe8" providerId="ADAL" clId="{E6F4BB98-3518-4F2B-848C-900D845A2BDF}" dt="2026-03-25T18:03:38.990" v="10025" actId="1076"/>
          <ac:spMkLst>
            <pc:docMk/>
            <pc:sldMk cId="3807586713" sldId="2147449173"/>
            <ac:spMk id="18" creationId="{2155BC90-7F31-616A-E140-E4879319F943}"/>
          </ac:spMkLst>
        </pc:spChg>
        <pc:spChg chg="del mod">
          <ac:chgData name="Jenny Kurjenniemi" userId="45855882-34ab-471a-89ec-eb9e2f56cbe8" providerId="ADAL" clId="{E6F4BB98-3518-4F2B-848C-900D845A2BDF}" dt="2026-03-25T18:00:18.780" v="9839" actId="478"/>
          <ac:spMkLst>
            <pc:docMk/>
            <pc:sldMk cId="3807586713" sldId="2147449173"/>
            <ac:spMk id="51" creationId="{866CAEF4-8B8D-B473-0267-372F14B27DD5}"/>
          </ac:spMkLst>
        </pc:spChg>
        <pc:spChg chg="add mod">
          <ac:chgData name="Jenny Kurjenniemi" userId="45855882-34ab-471a-89ec-eb9e2f56cbe8" providerId="ADAL" clId="{E6F4BB98-3518-4F2B-848C-900D845A2BDF}" dt="2026-03-25T18:06:44.041" v="10057" actId="20577"/>
          <ac:spMkLst>
            <pc:docMk/>
            <pc:sldMk cId="3807586713" sldId="2147449173"/>
            <ac:spMk id="52" creationId="{1B8578FA-B511-FE6A-FBDD-E6D367560984}"/>
          </ac:spMkLst>
        </pc:spChg>
        <pc:spChg chg="add mod">
          <ac:chgData name="Jenny Kurjenniemi" userId="45855882-34ab-471a-89ec-eb9e2f56cbe8" providerId="ADAL" clId="{E6F4BB98-3518-4F2B-848C-900D845A2BDF}" dt="2026-03-25T18:04:05.102" v="10031" actId="20577"/>
          <ac:spMkLst>
            <pc:docMk/>
            <pc:sldMk cId="3807586713" sldId="2147449173"/>
            <ac:spMk id="54" creationId="{42DBF7D5-F8F5-8649-05B9-84033F7EE91D}"/>
          </ac:spMkLst>
        </pc:spChg>
        <pc:spChg chg="add mod">
          <ac:chgData name="Jenny Kurjenniemi" userId="45855882-34ab-471a-89ec-eb9e2f56cbe8" providerId="ADAL" clId="{E6F4BB98-3518-4F2B-848C-900D845A2BDF}" dt="2026-03-25T18:03:55.525" v="10029" actId="688"/>
          <ac:spMkLst>
            <pc:docMk/>
            <pc:sldMk cId="3807586713" sldId="2147449173"/>
            <ac:spMk id="55" creationId="{C8789739-DA94-565D-0009-05D6B6BCAF63}"/>
          </ac:spMkLst>
        </pc:spChg>
        <pc:spChg chg="add mod">
          <ac:chgData name="Jenny Kurjenniemi" userId="45855882-34ab-471a-89ec-eb9e2f56cbe8" providerId="ADAL" clId="{E6F4BB98-3518-4F2B-848C-900D845A2BDF}" dt="2026-03-25T18:04:38.560" v="10036" actId="403"/>
          <ac:spMkLst>
            <pc:docMk/>
            <pc:sldMk cId="3807586713" sldId="2147449173"/>
            <ac:spMk id="56" creationId="{E18D37B1-42FE-7C43-F4A5-AAECEC02B734}"/>
          </ac:spMkLst>
        </pc:spChg>
        <pc:grpChg chg="add mod">
          <ac:chgData name="Jenny Kurjenniemi" userId="45855882-34ab-471a-89ec-eb9e2f56cbe8" providerId="ADAL" clId="{E6F4BB98-3518-4F2B-848C-900D845A2BDF}" dt="2026-03-25T16:05:44.467" v="6356"/>
          <ac:grpSpMkLst>
            <pc:docMk/>
            <pc:sldMk cId="3807586713" sldId="2147449173"/>
            <ac:grpSpMk id="6" creationId="{F3A75FCA-ACCC-8BCB-2BCF-27A7966592E4}"/>
          </ac:grpSpMkLst>
        </pc:grpChg>
        <pc:grpChg chg="mod">
          <ac:chgData name="Jenny Kurjenniemi" userId="45855882-34ab-471a-89ec-eb9e2f56cbe8" providerId="ADAL" clId="{E6F4BB98-3518-4F2B-848C-900D845A2BDF}" dt="2026-03-25T18:01:52.659" v="10007" actId="1076"/>
          <ac:grpSpMkLst>
            <pc:docMk/>
            <pc:sldMk cId="3807586713" sldId="2147449173"/>
            <ac:grpSpMk id="8" creationId="{D96A15EE-0C97-D3A9-08F3-B805D8C8200C}"/>
          </ac:grpSpMkLst>
        </pc:grpChg>
        <pc:grpChg chg="mod">
          <ac:chgData name="Jenny Kurjenniemi" userId="45855882-34ab-471a-89ec-eb9e2f56cbe8" providerId="ADAL" clId="{E6F4BB98-3518-4F2B-848C-900D845A2BDF}" dt="2026-03-25T18:01:52.659" v="10007" actId="1076"/>
          <ac:grpSpMkLst>
            <pc:docMk/>
            <pc:sldMk cId="3807586713" sldId="2147449173"/>
            <ac:grpSpMk id="9" creationId="{586BEFE0-A219-DF22-E52C-3214287A3EB6}"/>
          </ac:grpSpMkLst>
        </pc:grpChg>
        <pc:grpChg chg="mod">
          <ac:chgData name="Jenny Kurjenniemi" userId="45855882-34ab-471a-89ec-eb9e2f56cbe8" providerId="ADAL" clId="{E6F4BB98-3518-4F2B-848C-900D845A2BDF}" dt="2026-03-25T18:01:52.659" v="10007" actId="1076"/>
          <ac:grpSpMkLst>
            <pc:docMk/>
            <pc:sldMk cId="3807586713" sldId="2147449173"/>
            <ac:grpSpMk id="10" creationId="{2F616CF9-DA63-A485-4BD7-A06684A126A6}"/>
          </ac:grpSpMkLst>
        </pc:grpChg>
        <pc:grpChg chg="mod">
          <ac:chgData name="Jenny Kurjenniemi" userId="45855882-34ab-471a-89ec-eb9e2f56cbe8" providerId="ADAL" clId="{E6F4BB98-3518-4F2B-848C-900D845A2BDF}" dt="2026-03-25T18:01:52.659" v="10007" actId="1076"/>
          <ac:grpSpMkLst>
            <pc:docMk/>
            <pc:sldMk cId="3807586713" sldId="2147449173"/>
            <ac:grpSpMk id="11" creationId="{B023EF10-91B2-5F67-5C3C-1EA8D604BC2F}"/>
          </ac:grpSpMkLst>
        </pc:grpChg>
        <pc:picChg chg="add mod">
          <ac:chgData name="Jenny Kurjenniemi" userId="45855882-34ab-471a-89ec-eb9e2f56cbe8" providerId="ADAL" clId="{E6F4BB98-3518-4F2B-848C-900D845A2BDF}" dt="2026-03-25T18:05:57.096" v="10051" actId="1076"/>
          <ac:picMkLst>
            <pc:docMk/>
            <pc:sldMk cId="3807586713" sldId="2147449173"/>
            <ac:picMk id="58" creationId="{FE43AD72-DD56-540F-4F8D-3F265197C092}"/>
          </ac:picMkLst>
        </pc:picChg>
        <pc:picChg chg="add mod">
          <ac:chgData name="Jenny Kurjenniemi" userId="45855882-34ab-471a-89ec-eb9e2f56cbe8" providerId="ADAL" clId="{E6F4BB98-3518-4F2B-848C-900D845A2BDF}" dt="2026-03-25T18:05:55.138" v="10050" actId="14100"/>
          <ac:picMkLst>
            <pc:docMk/>
            <pc:sldMk cId="3807586713" sldId="2147449173"/>
            <ac:picMk id="60" creationId="{09CEC91E-F5C3-345F-6FBA-E0B8345C7FA0}"/>
          </ac:picMkLst>
        </pc:picChg>
        <pc:cxnChg chg="add del">
          <ac:chgData name="Jenny Kurjenniemi" userId="45855882-34ab-471a-89ec-eb9e2f56cbe8" providerId="ADAL" clId="{E6F4BB98-3518-4F2B-848C-900D845A2BDF}" dt="2026-03-25T16:09:36.642" v="6399" actId="478"/>
          <ac:cxnSpMkLst>
            <pc:docMk/>
            <pc:sldMk cId="3807586713" sldId="2147449173"/>
            <ac:cxnSpMk id="17" creationId="{6D1DD0CF-5F36-0404-B02B-B64AA1410828}"/>
          </ac:cxnSpMkLst>
        </pc:cxnChg>
      </pc:sldChg>
      <pc:sldChg chg="modSp add mod ord">
        <pc:chgData name="Jenny Kurjenniemi" userId="45855882-34ab-471a-89ec-eb9e2f56cbe8" providerId="ADAL" clId="{E6F4BB98-3518-4F2B-848C-900D845A2BDF}" dt="2026-03-25T18:20:10.518" v="10077" actId="20577"/>
        <pc:sldMkLst>
          <pc:docMk/>
          <pc:sldMk cId="866567168" sldId="2147449259"/>
        </pc:sldMkLst>
        <pc:spChg chg="mod">
          <ac:chgData name="Jenny Kurjenniemi" userId="45855882-34ab-471a-89ec-eb9e2f56cbe8" providerId="ADAL" clId="{E6F4BB98-3518-4F2B-848C-900D845A2BDF}" dt="2026-03-25T17:50:36.412" v="9679" actId="113"/>
          <ac:spMkLst>
            <pc:docMk/>
            <pc:sldMk cId="866567168" sldId="2147449259"/>
            <ac:spMk id="19" creationId="{0D1F056B-A2C1-9D0E-A457-7D5CBC3FFEDE}"/>
          </ac:spMkLst>
        </pc:spChg>
        <pc:graphicFrameChg chg="mod modGraphic">
          <ac:chgData name="Jenny Kurjenniemi" userId="45855882-34ab-471a-89ec-eb9e2f56cbe8" providerId="ADAL" clId="{E6F4BB98-3518-4F2B-848C-900D845A2BDF}" dt="2026-03-25T18:20:10.518" v="10077" actId="20577"/>
          <ac:graphicFrameMkLst>
            <pc:docMk/>
            <pc:sldMk cId="866567168" sldId="2147449259"/>
            <ac:graphicFrameMk id="4" creationId="{F93F5FB2-835F-3867-27AB-E39D17BCA911}"/>
          </ac:graphicFrameMkLst>
        </pc:graphicFrameChg>
      </pc:sldChg>
      <pc:sldChg chg="modSp add del mod">
        <pc:chgData name="Jenny Kurjenniemi" userId="45855882-34ab-471a-89ec-eb9e2f56cbe8" providerId="ADAL" clId="{E6F4BB98-3518-4F2B-848C-900D845A2BDF}" dt="2026-03-25T16:52:56.187" v="6975" actId="2696"/>
        <pc:sldMkLst>
          <pc:docMk/>
          <pc:sldMk cId="2346543257" sldId="2147449259"/>
        </pc:sldMkLst>
        <pc:spChg chg="mod">
          <ac:chgData name="Jenny Kurjenniemi" userId="45855882-34ab-471a-89ec-eb9e2f56cbe8" providerId="ADAL" clId="{E6F4BB98-3518-4F2B-848C-900D845A2BDF}" dt="2026-03-25T16:52:42.390" v="6974" actId="20577"/>
          <ac:spMkLst>
            <pc:docMk/>
            <pc:sldMk cId="2346543257" sldId="2147449259"/>
            <ac:spMk id="5" creationId="{DA5A49E2-321F-3636-4E63-AE21F5DB16B4}"/>
          </ac:spMkLst>
        </pc:spChg>
        <pc:spChg chg="mod">
          <ac:chgData name="Jenny Kurjenniemi" userId="45855882-34ab-471a-89ec-eb9e2f56cbe8" providerId="ADAL" clId="{E6F4BB98-3518-4F2B-848C-900D845A2BDF}" dt="2026-03-25T16:52:25.963" v="6951" actId="114"/>
          <ac:spMkLst>
            <pc:docMk/>
            <pc:sldMk cId="2346543257" sldId="2147449259"/>
            <ac:spMk id="19" creationId="{0D1F056B-A2C1-9D0E-A457-7D5CBC3FFEDE}"/>
          </ac:spMkLst>
        </pc:spChg>
        <pc:graphicFrameChg chg="mod modGraphic">
          <ac:chgData name="Jenny Kurjenniemi" userId="45855882-34ab-471a-89ec-eb9e2f56cbe8" providerId="ADAL" clId="{E6F4BB98-3518-4F2B-848C-900D845A2BDF}" dt="2026-03-25T16:52:18" v="6950" actId="1076"/>
          <ac:graphicFrameMkLst>
            <pc:docMk/>
            <pc:sldMk cId="2346543257" sldId="2147449259"/>
            <ac:graphicFrameMk id="4" creationId="{F93F5FB2-835F-3867-27AB-E39D17BCA911}"/>
          </ac:graphicFrameMkLst>
        </pc:graphicFrameChg>
      </pc:sldChg>
      <pc:sldChg chg="addSp delSp modSp add del mod ord modShow">
        <pc:chgData name="Jenny Kurjenniemi" userId="45855882-34ab-471a-89ec-eb9e2f56cbe8" providerId="ADAL" clId="{E6F4BB98-3518-4F2B-848C-900D845A2BDF}" dt="2026-03-25T16:19:27.354" v="6496" actId="2696"/>
        <pc:sldMkLst>
          <pc:docMk/>
          <pc:sldMk cId="3146409247" sldId="2147449259"/>
        </pc:sldMkLst>
      </pc:sldChg>
      <pc:sldChg chg="add del mod modShow">
        <pc:chgData name="Jenny Kurjenniemi" userId="45855882-34ab-471a-89ec-eb9e2f56cbe8" providerId="ADAL" clId="{E6F4BB98-3518-4F2B-848C-900D845A2BDF}" dt="2026-03-25T19:14:46.108" v="10445" actId="2696"/>
        <pc:sldMkLst>
          <pc:docMk/>
          <pc:sldMk cId="3750711801" sldId="2147449404"/>
        </pc:sldMkLst>
      </pc:sldChg>
      <pc:sldChg chg="addSp delSp modSp add mod">
        <pc:chgData name="Jenny Kurjenniemi" userId="45855882-34ab-471a-89ec-eb9e2f56cbe8" providerId="ADAL" clId="{E6F4BB98-3518-4F2B-848C-900D845A2BDF}" dt="2026-03-25T18:29:03.802" v="10185" actId="14100"/>
        <pc:sldMkLst>
          <pc:docMk/>
          <pc:sldMk cId="1281283209" sldId="2147449406"/>
        </pc:sldMkLst>
        <pc:spChg chg="add mod">
          <ac:chgData name="Jenny Kurjenniemi" userId="45855882-34ab-471a-89ec-eb9e2f56cbe8" providerId="ADAL" clId="{E6F4BB98-3518-4F2B-848C-900D845A2BDF}" dt="2026-03-25T16:45:06.490" v="6834" actId="1076"/>
          <ac:spMkLst>
            <pc:docMk/>
            <pc:sldMk cId="1281283209" sldId="2147449406"/>
            <ac:spMk id="4" creationId="{E5683C3C-80EF-E7AD-658A-A83F41E36FC5}"/>
          </ac:spMkLst>
        </pc:spChg>
        <pc:spChg chg="mod">
          <ac:chgData name="Jenny Kurjenniemi" userId="45855882-34ab-471a-89ec-eb9e2f56cbe8" providerId="ADAL" clId="{E6F4BB98-3518-4F2B-848C-900D845A2BDF}" dt="2026-03-25T16:48:30.587" v="6877" actId="404"/>
          <ac:spMkLst>
            <pc:docMk/>
            <pc:sldMk cId="1281283209" sldId="2147449406"/>
            <ac:spMk id="5" creationId="{2F746DCF-84F7-9D31-2135-D1CCE111EA83}"/>
          </ac:spMkLst>
        </pc:spChg>
        <pc:spChg chg="mod">
          <ac:chgData name="Jenny Kurjenniemi" userId="45855882-34ab-471a-89ec-eb9e2f56cbe8" providerId="ADAL" clId="{E6F4BB98-3518-4F2B-848C-900D845A2BDF}" dt="2026-03-25T16:48:30.587" v="6877" actId="404"/>
          <ac:spMkLst>
            <pc:docMk/>
            <pc:sldMk cId="1281283209" sldId="2147449406"/>
            <ac:spMk id="8" creationId="{002C54C4-8A13-928B-F2B6-6956D7DA656E}"/>
          </ac:spMkLst>
        </pc:spChg>
        <pc:spChg chg="mod">
          <ac:chgData name="Jenny Kurjenniemi" userId="45855882-34ab-471a-89ec-eb9e2f56cbe8" providerId="ADAL" clId="{E6F4BB98-3518-4F2B-848C-900D845A2BDF}" dt="2026-03-25T16:48:01.023" v="6864" actId="404"/>
          <ac:spMkLst>
            <pc:docMk/>
            <pc:sldMk cId="1281283209" sldId="2147449406"/>
            <ac:spMk id="12" creationId="{4A279A37-5606-CFDD-D0B0-29D06EEEA5BF}"/>
          </ac:spMkLst>
        </pc:spChg>
        <pc:spChg chg="del mod">
          <ac:chgData name="Jenny Kurjenniemi" userId="45855882-34ab-471a-89ec-eb9e2f56cbe8" providerId="ADAL" clId="{E6F4BB98-3518-4F2B-848C-900D845A2BDF}" dt="2026-03-25T16:49:25.834" v="6884" actId="478"/>
          <ac:spMkLst>
            <pc:docMk/>
            <pc:sldMk cId="1281283209" sldId="2147449406"/>
            <ac:spMk id="13" creationId="{F07E66F9-E046-3E6A-01A2-895C8D4783AC}"/>
          </ac:spMkLst>
        </pc:spChg>
        <pc:spChg chg="del mod">
          <ac:chgData name="Jenny Kurjenniemi" userId="45855882-34ab-471a-89ec-eb9e2f56cbe8" providerId="ADAL" clId="{E6F4BB98-3518-4F2B-848C-900D845A2BDF}" dt="2026-03-25T16:43:24.206" v="6828" actId="478"/>
          <ac:spMkLst>
            <pc:docMk/>
            <pc:sldMk cId="1281283209" sldId="2147449406"/>
            <ac:spMk id="15" creationId="{EDD5DA6C-774A-77F7-C307-30B6A675AD79}"/>
          </ac:spMkLst>
        </pc:spChg>
        <pc:spChg chg="mod">
          <ac:chgData name="Jenny Kurjenniemi" userId="45855882-34ab-471a-89ec-eb9e2f56cbe8" providerId="ADAL" clId="{E6F4BB98-3518-4F2B-848C-900D845A2BDF}" dt="2026-03-25T16:44:23.454" v="6829" actId="1076"/>
          <ac:spMkLst>
            <pc:docMk/>
            <pc:sldMk cId="1281283209" sldId="2147449406"/>
            <ac:spMk id="17" creationId="{ADA07386-3280-4455-011E-807001629881}"/>
          </ac:spMkLst>
        </pc:spChg>
        <pc:spChg chg="mod">
          <ac:chgData name="Jenny Kurjenniemi" userId="45855882-34ab-471a-89ec-eb9e2f56cbe8" providerId="ADAL" clId="{E6F4BB98-3518-4F2B-848C-900D845A2BDF}" dt="2026-03-25T18:24:34.482" v="10167" actId="20577"/>
          <ac:spMkLst>
            <pc:docMk/>
            <pc:sldMk cId="1281283209" sldId="2147449406"/>
            <ac:spMk id="24" creationId="{0AAD1BB7-35B9-6F97-B9CC-C7B39BFD6E6B}"/>
          </ac:spMkLst>
        </pc:spChg>
        <pc:spChg chg="add mod">
          <ac:chgData name="Jenny Kurjenniemi" userId="45855882-34ab-471a-89ec-eb9e2f56cbe8" providerId="ADAL" clId="{E6F4BB98-3518-4F2B-848C-900D845A2BDF}" dt="2026-03-25T16:45:08.385" v="6835" actId="14100"/>
          <ac:spMkLst>
            <pc:docMk/>
            <pc:sldMk cId="1281283209" sldId="2147449406"/>
            <ac:spMk id="28" creationId="{214C6BBA-9313-2173-3412-8A27B205EC9F}"/>
          </ac:spMkLst>
        </pc:spChg>
        <pc:spChg chg="add mod">
          <ac:chgData name="Jenny Kurjenniemi" userId="45855882-34ab-471a-89ec-eb9e2f56cbe8" providerId="ADAL" clId="{E6F4BB98-3518-4F2B-848C-900D845A2BDF}" dt="2026-03-25T16:45:13.875" v="6836" actId="13822"/>
          <ac:spMkLst>
            <pc:docMk/>
            <pc:sldMk cId="1281283209" sldId="2147449406"/>
            <ac:spMk id="29" creationId="{EE61E113-CF3B-5786-4C01-E01B31AF3D72}"/>
          </ac:spMkLst>
        </pc:spChg>
        <pc:spChg chg="add mod">
          <ac:chgData name="Jenny Kurjenniemi" userId="45855882-34ab-471a-89ec-eb9e2f56cbe8" providerId="ADAL" clId="{E6F4BB98-3518-4F2B-848C-900D845A2BDF}" dt="2026-03-25T16:49:23.335" v="6883" actId="1076"/>
          <ac:spMkLst>
            <pc:docMk/>
            <pc:sldMk cId="1281283209" sldId="2147449406"/>
            <ac:spMk id="30" creationId="{FE677F1C-1096-AAFC-A034-59E4F847ADE2}"/>
          </ac:spMkLst>
        </pc:spChg>
        <pc:spChg chg="add mod">
          <ac:chgData name="Jenny Kurjenniemi" userId="45855882-34ab-471a-89ec-eb9e2f56cbe8" providerId="ADAL" clId="{E6F4BB98-3518-4F2B-848C-900D845A2BDF}" dt="2026-03-25T16:46:42.477" v="6857" actId="113"/>
          <ac:spMkLst>
            <pc:docMk/>
            <pc:sldMk cId="1281283209" sldId="2147449406"/>
            <ac:spMk id="31" creationId="{08444307-F09D-D564-A4D9-3C9E2826D9AE}"/>
          </ac:spMkLst>
        </pc:spChg>
        <pc:spChg chg="add del mod">
          <ac:chgData name="Jenny Kurjenniemi" userId="45855882-34ab-471a-89ec-eb9e2f56cbe8" providerId="ADAL" clId="{E6F4BB98-3518-4F2B-848C-900D845A2BDF}" dt="2026-03-25T16:49:14.527" v="6882" actId="478"/>
          <ac:spMkLst>
            <pc:docMk/>
            <pc:sldMk cId="1281283209" sldId="2147449406"/>
            <ac:spMk id="32" creationId="{77478589-6C62-CCDA-D6CA-3390698F03A7}"/>
          </ac:spMkLst>
        </pc:spChg>
        <pc:spChg chg="add mod">
          <ac:chgData name="Jenny Kurjenniemi" userId="45855882-34ab-471a-89ec-eb9e2f56cbe8" providerId="ADAL" clId="{E6F4BB98-3518-4F2B-848C-900D845A2BDF}" dt="2026-03-25T18:29:03.802" v="10185" actId="14100"/>
          <ac:spMkLst>
            <pc:docMk/>
            <pc:sldMk cId="1281283209" sldId="2147449406"/>
            <ac:spMk id="34" creationId="{298EF824-CBF8-A2E9-4FA7-DA889C994D8A}"/>
          </ac:spMkLst>
        </pc:spChg>
        <pc:grpChg chg="mod">
          <ac:chgData name="Jenny Kurjenniemi" userId="45855882-34ab-471a-89ec-eb9e2f56cbe8" providerId="ADAL" clId="{E6F4BB98-3518-4F2B-848C-900D845A2BDF}" dt="2026-03-25T16:49:30.988" v="6885" actId="1076"/>
          <ac:grpSpMkLst>
            <pc:docMk/>
            <pc:sldMk cId="1281283209" sldId="2147449406"/>
            <ac:grpSpMk id="14" creationId="{F69F2E15-F63D-7576-8C57-2C858A5915DB}"/>
          </ac:grpSpMkLst>
        </pc:grpChg>
        <pc:grpChg chg="add del">
          <ac:chgData name="Jenny Kurjenniemi" userId="45855882-34ab-471a-89ec-eb9e2f56cbe8" providerId="ADAL" clId="{E6F4BB98-3518-4F2B-848C-900D845A2BDF}" dt="2026-03-25T16:45:48.678" v="6839" actId="478"/>
          <ac:grpSpMkLst>
            <pc:docMk/>
            <pc:sldMk cId="1281283209" sldId="2147449406"/>
            <ac:grpSpMk id="16" creationId="{DB3B0A95-4420-F96C-3B6A-D6551B710AE2}"/>
          </ac:grpSpMkLst>
        </pc:grpChg>
        <pc:grpChg chg="mod">
          <ac:chgData name="Jenny Kurjenniemi" userId="45855882-34ab-471a-89ec-eb9e2f56cbe8" providerId="ADAL" clId="{E6F4BB98-3518-4F2B-848C-900D845A2BDF}" dt="2026-03-25T16:41:46.293" v="6789" actId="1076"/>
          <ac:grpSpMkLst>
            <pc:docMk/>
            <pc:sldMk cId="1281283209" sldId="2147449406"/>
            <ac:grpSpMk id="26" creationId="{7BDFE2DF-9F19-5D89-7930-61AC5A544B5D}"/>
          </ac:grpSpMkLst>
        </pc:grpChg>
      </pc:sldChg>
      <pc:sldChg chg="add del mod modShow">
        <pc:chgData name="Jenny Kurjenniemi" userId="45855882-34ab-471a-89ec-eb9e2f56cbe8" providerId="ADAL" clId="{E6F4BB98-3518-4F2B-848C-900D845A2BDF}" dt="2026-03-25T19:14:46.108" v="10445" actId="2696"/>
        <pc:sldMkLst>
          <pc:docMk/>
          <pc:sldMk cId="2921321645" sldId="2147449465"/>
        </pc:sldMkLst>
      </pc:sldChg>
      <pc:sldChg chg="addSp delSp modSp mod modClrScheme chgLayout">
        <pc:chgData name="Jenny Kurjenniemi" userId="45855882-34ab-471a-89ec-eb9e2f56cbe8" providerId="ADAL" clId="{E6F4BB98-3518-4F2B-848C-900D845A2BDF}" dt="2026-02-24T11:51:03.937" v="58" actId="404"/>
        <pc:sldMkLst>
          <pc:docMk/>
          <pc:sldMk cId="1217737406" sldId="2147449466"/>
        </pc:sldMkLst>
        <pc:spChg chg="mod ord">
          <ac:chgData name="Jenny Kurjenniemi" userId="45855882-34ab-471a-89ec-eb9e2f56cbe8" providerId="ADAL" clId="{E6F4BB98-3518-4F2B-848C-900D845A2BDF}" dt="2026-02-24T11:51:03.937" v="58" actId="404"/>
          <ac:spMkLst>
            <pc:docMk/>
            <pc:sldMk cId="1217737406" sldId="2147449466"/>
            <ac:spMk id="2" creationId="{1EA93279-2495-A7D5-A5FD-BB44CC87A433}"/>
          </ac:spMkLst>
        </pc:spChg>
        <pc:spChg chg="mod ord">
          <ac:chgData name="Jenny Kurjenniemi" userId="45855882-34ab-471a-89ec-eb9e2f56cbe8" providerId="ADAL" clId="{E6F4BB98-3518-4F2B-848C-900D845A2BDF}" dt="2026-02-24T11:49:06.899" v="7" actId="700"/>
          <ac:spMkLst>
            <pc:docMk/>
            <pc:sldMk cId="1217737406" sldId="2147449466"/>
            <ac:spMk id="4" creationId="{17BF51A0-318D-E0E6-0BFB-FCCE8DB250BB}"/>
          </ac:spMkLst>
        </pc:spChg>
      </pc:sldChg>
      <pc:sldChg chg="addSp delSp modSp mod ord modClrScheme chgLayout">
        <pc:chgData name="Jenny Kurjenniemi" userId="45855882-34ab-471a-89ec-eb9e2f56cbe8" providerId="ADAL" clId="{E6F4BB98-3518-4F2B-848C-900D845A2BDF}" dt="2026-03-25T16:33:54.918" v="6745" actId="1076"/>
        <pc:sldMkLst>
          <pc:docMk/>
          <pc:sldMk cId="1444268894" sldId="2147449467"/>
        </pc:sldMkLst>
        <pc:spChg chg="mod">
          <ac:chgData name="Jenny Kurjenniemi" userId="45855882-34ab-471a-89ec-eb9e2f56cbe8" providerId="ADAL" clId="{E6F4BB98-3518-4F2B-848C-900D845A2BDF}" dt="2026-03-25T16:11:45.376" v="6407"/>
          <ac:spMkLst>
            <pc:docMk/>
            <pc:sldMk cId="1444268894" sldId="2147449467"/>
            <ac:spMk id="3" creationId="{960DCD6E-C5B9-2329-A38F-02DED5B307DC}"/>
          </ac:spMkLst>
        </pc:spChg>
        <pc:spChg chg="mod">
          <ac:chgData name="Jenny Kurjenniemi" userId="45855882-34ab-471a-89ec-eb9e2f56cbe8" providerId="ADAL" clId="{E6F4BB98-3518-4F2B-848C-900D845A2BDF}" dt="2026-03-25T16:11:45.376" v="6407"/>
          <ac:spMkLst>
            <pc:docMk/>
            <pc:sldMk cId="1444268894" sldId="2147449467"/>
            <ac:spMk id="4" creationId="{F5F865C7-09CE-9516-2AB3-C96DEECFFB60}"/>
          </ac:spMkLst>
        </pc:spChg>
        <pc:spChg chg="mod">
          <ac:chgData name="Jenny Kurjenniemi" userId="45855882-34ab-471a-89ec-eb9e2f56cbe8" providerId="ADAL" clId="{E6F4BB98-3518-4F2B-848C-900D845A2BDF}" dt="2026-03-25T16:11:45.376" v="6407"/>
          <ac:spMkLst>
            <pc:docMk/>
            <pc:sldMk cId="1444268894" sldId="2147449467"/>
            <ac:spMk id="5" creationId="{E15842DB-A829-672F-B50D-004E61F835F4}"/>
          </ac:spMkLst>
        </pc:spChg>
        <pc:spChg chg="mod ord">
          <ac:chgData name="Jenny Kurjenniemi" userId="45855882-34ab-471a-89ec-eb9e2f56cbe8" providerId="ADAL" clId="{E6F4BB98-3518-4F2B-848C-900D845A2BDF}" dt="2026-03-25T16:33:50.290" v="6744" actId="1076"/>
          <ac:spMkLst>
            <pc:docMk/>
            <pc:sldMk cId="1444268894" sldId="2147449467"/>
            <ac:spMk id="6" creationId="{977D2046-D849-9562-AD7B-DB9CF5504BFC}"/>
          </ac:spMkLst>
        </pc:spChg>
        <pc:spChg chg="mod">
          <ac:chgData name="Jenny Kurjenniemi" userId="45855882-34ab-471a-89ec-eb9e2f56cbe8" providerId="ADAL" clId="{E6F4BB98-3518-4F2B-848C-900D845A2BDF}" dt="2026-03-25T16:33:50.290" v="6744" actId="1076"/>
          <ac:spMkLst>
            <pc:docMk/>
            <pc:sldMk cId="1444268894" sldId="2147449467"/>
            <ac:spMk id="10" creationId="{C2E9C97E-96A1-3B69-E0CD-5AFC041DF6C0}"/>
          </ac:spMkLst>
        </pc:spChg>
        <pc:spChg chg="mod ord">
          <ac:chgData name="Jenny Kurjenniemi" userId="45855882-34ab-471a-89ec-eb9e2f56cbe8" providerId="ADAL" clId="{E6F4BB98-3518-4F2B-848C-900D845A2BDF}" dt="2026-03-25T16:20:52.197" v="6528" actId="404"/>
          <ac:spMkLst>
            <pc:docMk/>
            <pc:sldMk cId="1444268894" sldId="2147449467"/>
            <ac:spMk id="13" creationId="{816884E9-23CF-5045-8501-BA84BD67AEE2}"/>
          </ac:spMkLst>
        </pc:spChg>
        <pc:spChg chg="add mod">
          <ac:chgData name="Jenny Kurjenniemi" userId="45855882-34ab-471a-89ec-eb9e2f56cbe8" providerId="ADAL" clId="{E6F4BB98-3518-4F2B-848C-900D845A2BDF}" dt="2026-03-25T16:33:54.918" v="6745" actId="1076"/>
          <ac:spMkLst>
            <pc:docMk/>
            <pc:sldMk cId="1444268894" sldId="2147449467"/>
            <ac:spMk id="15" creationId="{BF6D604E-1BC3-4276-8697-4BD916CE58EB}"/>
          </ac:spMkLst>
        </pc:spChg>
        <pc:spChg chg="mod">
          <ac:chgData name="Jenny Kurjenniemi" userId="45855882-34ab-471a-89ec-eb9e2f56cbe8" providerId="ADAL" clId="{E6F4BB98-3518-4F2B-848C-900D845A2BDF}" dt="2026-03-25T16:33:50.290" v="6744" actId="1076"/>
          <ac:spMkLst>
            <pc:docMk/>
            <pc:sldMk cId="1444268894" sldId="2147449467"/>
            <ac:spMk id="16" creationId="{7A3B0BC0-0825-7E0C-3BFD-8D851849F0D1}"/>
          </ac:spMkLst>
        </pc:spChg>
        <pc:spChg chg="mod">
          <ac:chgData name="Jenny Kurjenniemi" userId="45855882-34ab-471a-89ec-eb9e2f56cbe8" providerId="ADAL" clId="{E6F4BB98-3518-4F2B-848C-900D845A2BDF}" dt="2026-03-25T16:33:50.290" v="6744" actId="1076"/>
          <ac:spMkLst>
            <pc:docMk/>
            <pc:sldMk cId="1444268894" sldId="2147449467"/>
            <ac:spMk id="18" creationId="{CAE72C19-0846-6A71-1C5E-004C4851DC94}"/>
          </ac:spMkLst>
        </pc:spChg>
        <pc:spChg chg="mod">
          <ac:chgData name="Jenny Kurjenniemi" userId="45855882-34ab-471a-89ec-eb9e2f56cbe8" providerId="ADAL" clId="{E6F4BB98-3518-4F2B-848C-900D845A2BDF}" dt="2026-03-25T16:33:50.290" v="6744" actId="1076"/>
          <ac:spMkLst>
            <pc:docMk/>
            <pc:sldMk cId="1444268894" sldId="2147449467"/>
            <ac:spMk id="19" creationId="{86DA85AB-57CA-0334-5C90-08577A1318FB}"/>
          </ac:spMkLst>
        </pc:spChg>
        <pc:spChg chg="mod">
          <ac:chgData name="Jenny Kurjenniemi" userId="45855882-34ab-471a-89ec-eb9e2f56cbe8" providerId="ADAL" clId="{E6F4BB98-3518-4F2B-848C-900D845A2BDF}" dt="2026-03-25T16:33:50.290" v="6744" actId="1076"/>
          <ac:spMkLst>
            <pc:docMk/>
            <pc:sldMk cId="1444268894" sldId="2147449467"/>
            <ac:spMk id="20" creationId="{B41103EA-B5D7-63E4-4F60-F21C0A61F336}"/>
          </ac:spMkLst>
        </pc:spChg>
        <pc:spChg chg="mod">
          <ac:chgData name="Jenny Kurjenniemi" userId="45855882-34ab-471a-89ec-eb9e2f56cbe8" providerId="ADAL" clId="{E6F4BB98-3518-4F2B-848C-900D845A2BDF}" dt="2026-03-25T16:33:50.290" v="6744" actId="1076"/>
          <ac:spMkLst>
            <pc:docMk/>
            <pc:sldMk cId="1444268894" sldId="2147449467"/>
            <ac:spMk id="21" creationId="{0A73C4A0-5F02-4DE4-0FC5-83D052116FB4}"/>
          </ac:spMkLst>
        </pc:spChg>
        <pc:spChg chg="del mod">
          <ac:chgData name="Jenny Kurjenniemi" userId="45855882-34ab-471a-89ec-eb9e2f56cbe8" providerId="ADAL" clId="{E6F4BB98-3518-4F2B-848C-900D845A2BDF}" dt="2026-03-25T16:19:55.769" v="6498" actId="478"/>
          <ac:spMkLst>
            <pc:docMk/>
            <pc:sldMk cId="1444268894" sldId="2147449467"/>
            <ac:spMk id="22" creationId="{A7AF0682-BDC5-EA8E-74A2-1D74C325D258}"/>
          </ac:spMkLst>
        </pc:spChg>
        <pc:grpChg chg="add del mod">
          <ac:chgData name="Jenny Kurjenniemi" userId="45855882-34ab-471a-89ec-eb9e2f56cbe8" providerId="ADAL" clId="{E6F4BB98-3518-4F2B-848C-900D845A2BDF}" dt="2026-03-25T16:11:56.539" v="6411" actId="478"/>
          <ac:grpSpMkLst>
            <pc:docMk/>
            <pc:sldMk cId="1444268894" sldId="2147449467"/>
            <ac:grpSpMk id="2" creationId="{4B8D3CAE-AEAC-C422-93C6-96F51B9CC3E8}"/>
          </ac:grpSpMkLst>
        </pc:grpChg>
        <pc:picChg chg="add del mod modCrop">
          <ac:chgData name="Jenny Kurjenniemi" userId="45855882-34ab-471a-89ec-eb9e2f56cbe8" providerId="ADAL" clId="{E6F4BB98-3518-4F2B-848C-900D845A2BDF}" dt="2026-03-25T16:13:10.981" v="6418" actId="478"/>
          <ac:picMkLst>
            <pc:docMk/>
            <pc:sldMk cId="1444268894" sldId="2147449467"/>
            <ac:picMk id="8" creationId="{96E6FD68-CEAA-4E85-EA19-E2BF763E1E20}"/>
          </ac:picMkLst>
        </pc:picChg>
        <pc:picChg chg="add del mod">
          <ac:chgData name="Jenny Kurjenniemi" userId="45855882-34ab-471a-89ec-eb9e2f56cbe8" providerId="ADAL" clId="{E6F4BB98-3518-4F2B-848C-900D845A2BDF}" dt="2026-03-25T16:16:18.395" v="6431" actId="478"/>
          <ac:picMkLst>
            <pc:docMk/>
            <pc:sldMk cId="1444268894" sldId="2147449467"/>
            <ac:picMk id="11" creationId="{33F177F8-1D5E-17D7-0C8C-6D9C5C3ACC41}"/>
          </ac:picMkLst>
        </pc:picChg>
        <pc:picChg chg="add del mod">
          <ac:chgData name="Jenny Kurjenniemi" userId="45855882-34ab-471a-89ec-eb9e2f56cbe8" providerId="ADAL" clId="{E6F4BB98-3518-4F2B-848C-900D845A2BDF}" dt="2026-03-25T16:15:42.308" v="6430" actId="478"/>
          <ac:picMkLst>
            <pc:docMk/>
            <pc:sldMk cId="1444268894" sldId="2147449467"/>
            <ac:picMk id="12" creationId="{792409DB-8CDE-459B-332A-DE3F75C1F1FE}"/>
          </ac:picMkLst>
        </pc:picChg>
        <pc:picChg chg="add mod">
          <ac:chgData name="Jenny Kurjenniemi" userId="45855882-34ab-471a-89ec-eb9e2f56cbe8" providerId="ADAL" clId="{E6F4BB98-3518-4F2B-848C-900D845A2BDF}" dt="2026-03-25T16:33:50.290" v="6744" actId="1076"/>
          <ac:picMkLst>
            <pc:docMk/>
            <pc:sldMk cId="1444268894" sldId="2147449467"/>
            <ac:picMk id="14" creationId="{B9C4EB27-4D37-F805-EA56-ED54EB74E19D}"/>
          </ac:picMkLst>
        </pc:picChg>
        <pc:picChg chg="add mod">
          <ac:chgData name="Jenny Kurjenniemi" userId="45855882-34ab-471a-89ec-eb9e2f56cbe8" providerId="ADAL" clId="{E6F4BB98-3518-4F2B-848C-900D845A2BDF}" dt="2026-03-25T16:33:50.290" v="6744" actId="1076"/>
          <ac:picMkLst>
            <pc:docMk/>
            <pc:sldMk cId="1444268894" sldId="2147449467"/>
            <ac:picMk id="2050" creationId="{321EDDFE-6EAE-73D4-3633-82BDF4248892}"/>
          </ac:picMkLst>
        </pc:picChg>
      </pc:sldChg>
      <pc:sldChg chg="modSp add mod">
        <pc:chgData name="Jenny Kurjenniemi" userId="45855882-34ab-471a-89ec-eb9e2f56cbe8" providerId="ADAL" clId="{E6F4BB98-3518-4F2B-848C-900D845A2BDF}" dt="2026-03-25T19:06:24.171" v="10442" actId="5793"/>
        <pc:sldMkLst>
          <pc:docMk/>
          <pc:sldMk cId="1001737754" sldId="2147449470"/>
        </pc:sldMkLst>
        <pc:spChg chg="mod">
          <ac:chgData name="Jenny Kurjenniemi" userId="45855882-34ab-471a-89ec-eb9e2f56cbe8" providerId="ADAL" clId="{E6F4BB98-3518-4F2B-848C-900D845A2BDF}" dt="2026-03-25T19:06:24.171" v="10442" actId="5793"/>
          <ac:spMkLst>
            <pc:docMk/>
            <pc:sldMk cId="1001737754" sldId="2147449470"/>
            <ac:spMk id="5" creationId="{C96FF8DF-183C-C84D-4EB0-A427A0EC229C}"/>
          </ac:spMkLst>
        </pc:spChg>
      </pc:sldChg>
      <pc:sldChg chg="addSp modSp del mod modClrScheme chgLayout">
        <pc:chgData name="Jenny Kurjenniemi" userId="45855882-34ab-471a-89ec-eb9e2f56cbe8" providerId="ADAL" clId="{E6F4BB98-3518-4F2B-848C-900D845A2BDF}" dt="2026-03-25T17:29:19.200" v="8883" actId="2696"/>
        <pc:sldMkLst>
          <pc:docMk/>
          <pc:sldMk cId="2584934394" sldId="2147449472"/>
        </pc:sldMkLst>
      </pc:sldChg>
      <pc:sldChg chg="new del">
        <pc:chgData name="Jenny Kurjenniemi" userId="45855882-34ab-471a-89ec-eb9e2f56cbe8" providerId="ADAL" clId="{E6F4BB98-3518-4F2B-848C-900D845A2BDF}" dt="2026-03-25T16:05:26.171" v="6355" actId="47"/>
        <pc:sldMkLst>
          <pc:docMk/>
          <pc:sldMk cId="1203764295" sldId="2147449473"/>
        </pc:sldMkLst>
      </pc:sldChg>
      <pc:sldChg chg="add del">
        <pc:chgData name="Jenny Kurjenniemi" userId="45855882-34ab-471a-89ec-eb9e2f56cbe8" providerId="ADAL" clId="{E6F4BB98-3518-4F2B-848C-900D845A2BDF}" dt="2026-03-25T15:57:43.982" v="6179" actId="2696"/>
        <pc:sldMkLst>
          <pc:docMk/>
          <pc:sldMk cId="942677623" sldId="2147449474"/>
        </pc:sldMkLst>
      </pc:sldChg>
      <pc:sldChg chg="add del">
        <pc:chgData name="Jenny Kurjenniemi" userId="45855882-34ab-471a-89ec-eb9e2f56cbe8" providerId="ADAL" clId="{E6F4BB98-3518-4F2B-848C-900D845A2BDF}" dt="2026-03-25T17:29:19.200" v="8883" actId="2696"/>
        <pc:sldMkLst>
          <pc:docMk/>
          <pc:sldMk cId="1686978537" sldId="2147449474"/>
        </pc:sldMkLst>
      </pc:sldChg>
      <pc:sldChg chg="add del mod modShow">
        <pc:chgData name="Jenny Kurjenniemi" userId="45855882-34ab-471a-89ec-eb9e2f56cbe8" providerId="ADAL" clId="{E6F4BB98-3518-4F2B-848C-900D845A2BDF}" dt="2026-03-25T17:29:19.200" v="8883" actId="2696"/>
        <pc:sldMkLst>
          <pc:docMk/>
          <pc:sldMk cId="4029987766" sldId="2147449475"/>
        </pc:sldMkLst>
      </pc:sldChg>
      <pc:sldChg chg="addSp modSp new del mod">
        <pc:chgData name="Jenny Kurjenniemi" userId="45855882-34ab-471a-89ec-eb9e2f56cbe8" providerId="ADAL" clId="{E6F4BB98-3518-4F2B-848C-900D845A2BDF}" dt="2026-03-25T16:33:29.264" v="6742" actId="2696"/>
        <pc:sldMkLst>
          <pc:docMk/>
          <pc:sldMk cId="1942681647" sldId="2147449476"/>
        </pc:sldMkLst>
      </pc:sldChg>
      <pc:sldChg chg="add del">
        <pc:chgData name="Jenny Kurjenniemi" userId="45855882-34ab-471a-89ec-eb9e2f56cbe8" providerId="ADAL" clId="{E6F4BB98-3518-4F2B-848C-900D845A2BDF}" dt="2026-03-25T17:29:19.200" v="8883" actId="2696"/>
        <pc:sldMkLst>
          <pc:docMk/>
          <pc:sldMk cId="2620677699" sldId="2147449476"/>
        </pc:sldMkLst>
      </pc:sldChg>
      <pc:sldChg chg="addSp delSp modSp new mod ord modClrScheme chgLayout">
        <pc:chgData name="Jenny Kurjenniemi" userId="45855882-34ab-471a-89ec-eb9e2f56cbe8" providerId="ADAL" clId="{E6F4BB98-3518-4F2B-848C-900D845A2BDF}" dt="2026-03-25T17:07:55.074" v="8198" actId="114"/>
        <pc:sldMkLst>
          <pc:docMk/>
          <pc:sldMk cId="622758582" sldId="2147449477"/>
        </pc:sldMkLst>
        <pc:spChg chg="mod ord">
          <ac:chgData name="Jenny Kurjenniemi" userId="45855882-34ab-471a-89ec-eb9e2f56cbe8" providerId="ADAL" clId="{E6F4BB98-3518-4F2B-848C-900D845A2BDF}" dt="2026-03-25T17:02:37.283" v="7949" actId="700"/>
          <ac:spMkLst>
            <pc:docMk/>
            <pc:sldMk cId="622758582" sldId="2147449477"/>
            <ac:spMk id="2" creationId="{D9BF9354-DAEB-8FF0-6E41-C495E052F311}"/>
          </ac:spMkLst>
        </pc:spChg>
        <pc:spChg chg="mod ord">
          <ac:chgData name="Jenny Kurjenniemi" userId="45855882-34ab-471a-89ec-eb9e2f56cbe8" providerId="ADAL" clId="{E6F4BB98-3518-4F2B-848C-900D845A2BDF}" dt="2026-03-25T17:02:37.283" v="7949" actId="700"/>
          <ac:spMkLst>
            <pc:docMk/>
            <pc:sldMk cId="622758582" sldId="2147449477"/>
            <ac:spMk id="3" creationId="{9F082622-A9FD-4CA8-4F10-EB723E3C9CC0}"/>
          </ac:spMkLst>
        </pc:spChg>
        <pc:spChg chg="mod ord">
          <ac:chgData name="Jenny Kurjenniemi" userId="45855882-34ab-471a-89ec-eb9e2f56cbe8" providerId="ADAL" clId="{E6F4BB98-3518-4F2B-848C-900D845A2BDF}" dt="2026-03-25T17:07:55.074" v="8198" actId="114"/>
          <ac:spMkLst>
            <pc:docMk/>
            <pc:sldMk cId="622758582" sldId="2147449477"/>
            <ac:spMk id="4" creationId="{F9B2F1B9-F38E-F1A8-CF7C-FD5B0DFA88D0}"/>
          </ac:spMkLst>
        </pc:spChg>
        <pc:spChg chg="mod ord">
          <ac:chgData name="Jenny Kurjenniemi" userId="45855882-34ab-471a-89ec-eb9e2f56cbe8" providerId="ADAL" clId="{E6F4BB98-3518-4F2B-848C-900D845A2BDF}" dt="2026-03-25T17:02:37.283" v="7949" actId="700"/>
          <ac:spMkLst>
            <pc:docMk/>
            <pc:sldMk cId="622758582" sldId="2147449477"/>
            <ac:spMk id="5" creationId="{2146A96B-D8A9-93C5-1C33-D0883E270130}"/>
          </ac:spMkLst>
        </pc:spChg>
        <pc:spChg chg="add del mod ord">
          <ac:chgData name="Jenny Kurjenniemi" userId="45855882-34ab-471a-89ec-eb9e2f56cbe8" providerId="ADAL" clId="{E6F4BB98-3518-4F2B-848C-900D845A2BDF}" dt="2026-03-25T17:03:40.901" v="7951" actId="931"/>
          <ac:spMkLst>
            <pc:docMk/>
            <pc:sldMk cId="622758582" sldId="2147449477"/>
            <ac:spMk id="6" creationId="{61740104-38C3-445B-CA09-72E148AD5B1B}"/>
          </ac:spMkLst>
        </pc:spChg>
        <pc:picChg chg="add mod">
          <ac:chgData name="Jenny Kurjenniemi" userId="45855882-34ab-471a-89ec-eb9e2f56cbe8" providerId="ADAL" clId="{E6F4BB98-3518-4F2B-848C-900D845A2BDF}" dt="2026-03-25T17:03:40.901" v="7951" actId="931"/>
          <ac:picMkLst>
            <pc:docMk/>
            <pc:sldMk cId="622758582" sldId="2147449477"/>
            <ac:picMk id="8" creationId="{2A2032E1-C857-5CBD-2C38-E80A3197F724}"/>
          </ac:picMkLst>
        </pc:picChg>
      </pc:sldChg>
      <pc:sldChg chg="add del">
        <pc:chgData name="Jenny Kurjenniemi" userId="45855882-34ab-471a-89ec-eb9e2f56cbe8" providerId="ADAL" clId="{E6F4BB98-3518-4F2B-848C-900D845A2BDF}" dt="2026-03-25T17:29:19.200" v="8883" actId="2696"/>
        <pc:sldMkLst>
          <pc:docMk/>
          <pc:sldMk cId="204038407" sldId="2147449485"/>
        </pc:sldMkLst>
      </pc:sldChg>
      <pc:sldChg chg="add del mod modShow">
        <pc:chgData name="Jenny Kurjenniemi" userId="45855882-34ab-471a-89ec-eb9e2f56cbe8" providerId="ADAL" clId="{E6F4BB98-3518-4F2B-848C-900D845A2BDF}" dt="2026-03-25T15:57:43.982" v="6179" actId="2696"/>
        <pc:sldMkLst>
          <pc:docMk/>
          <pc:sldMk cId="3632454647" sldId="2147449485"/>
        </pc:sldMkLst>
      </pc:sldChg>
      <pc:sldChg chg="add del">
        <pc:chgData name="Jenny Kurjenniemi" userId="45855882-34ab-471a-89ec-eb9e2f56cbe8" providerId="ADAL" clId="{E6F4BB98-3518-4F2B-848C-900D845A2BDF}" dt="2026-03-25T17:29:19.200" v="8883" actId="2696"/>
        <pc:sldMkLst>
          <pc:docMk/>
          <pc:sldMk cId="550579020" sldId="2147449486"/>
        </pc:sldMkLst>
      </pc:sldChg>
      <pc:sldChg chg="add del mod modShow">
        <pc:chgData name="Jenny Kurjenniemi" userId="45855882-34ab-471a-89ec-eb9e2f56cbe8" providerId="ADAL" clId="{E6F4BB98-3518-4F2B-848C-900D845A2BDF}" dt="2026-03-25T15:57:43.982" v="6179" actId="2696"/>
        <pc:sldMkLst>
          <pc:docMk/>
          <pc:sldMk cId="2325367534" sldId="2147449486"/>
        </pc:sldMkLst>
      </pc:sldChg>
      <pc:sldChg chg="addSp delSp modSp new mod modAnim chgLayout">
        <pc:chgData name="Jenny Kurjenniemi" userId="45855882-34ab-471a-89ec-eb9e2f56cbe8" providerId="ADAL" clId="{E6F4BB98-3518-4F2B-848C-900D845A2BDF}" dt="2026-03-25T18:42:39.513" v="10309" actId="313"/>
        <pc:sldMkLst>
          <pc:docMk/>
          <pc:sldMk cId="692515177" sldId="2147449487"/>
        </pc:sldMkLst>
        <pc:spChg chg="mod ord">
          <ac:chgData name="Jenny Kurjenniemi" userId="45855882-34ab-471a-89ec-eb9e2f56cbe8" providerId="ADAL" clId="{E6F4BB98-3518-4F2B-848C-900D845A2BDF}" dt="2026-03-17T07:55:20.473" v="1979" actId="700"/>
          <ac:spMkLst>
            <pc:docMk/>
            <pc:sldMk cId="692515177" sldId="2147449487"/>
            <ac:spMk id="2" creationId="{A2B78279-1ADA-4ECD-05CC-9CB57D0FC911}"/>
          </ac:spMkLst>
        </pc:spChg>
        <pc:spChg chg="mod ord">
          <ac:chgData name="Jenny Kurjenniemi" userId="45855882-34ab-471a-89ec-eb9e2f56cbe8" providerId="ADAL" clId="{E6F4BB98-3518-4F2B-848C-900D845A2BDF}" dt="2026-03-17T07:55:20.473" v="1979" actId="700"/>
          <ac:spMkLst>
            <pc:docMk/>
            <pc:sldMk cId="692515177" sldId="2147449487"/>
            <ac:spMk id="3" creationId="{1E7A1733-889E-88E9-C93F-7EA8FA7B6DA3}"/>
          </ac:spMkLst>
        </pc:spChg>
        <pc:spChg chg="add mod">
          <ac:chgData name="Jenny Kurjenniemi" userId="45855882-34ab-471a-89ec-eb9e2f56cbe8" providerId="ADAL" clId="{E6F4BB98-3518-4F2B-848C-900D845A2BDF}" dt="2026-03-25T17:09:14.302" v="8263" actId="17032"/>
          <ac:spMkLst>
            <pc:docMk/>
            <pc:sldMk cId="692515177" sldId="2147449487"/>
            <ac:spMk id="4" creationId="{25E43C50-2407-D8AE-8999-307D59D87767}"/>
          </ac:spMkLst>
        </pc:spChg>
        <pc:spChg chg="add mod">
          <ac:chgData name="Jenny Kurjenniemi" userId="45855882-34ab-471a-89ec-eb9e2f56cbe8" providerId="ADAL" clId="{E6F4BB98-3518-4F2B-848C-900D845A2BDF}" dt="2026-03-25T17:09:31.997" v="8268" actId="14100"/>
          <ac:spMkLst>
            <pc:docMk/>
            <pc:sldMk cId="692515177" sldId="2147449487"/>
            <ac:spMk id="5" creationId="{5371F1E2-3CD4-2D4B-CD7E-F8CF15A18AE8}"/>
          </ac:spMkLst>
        </pc:spChg>
        <pc:spChg chg="add mod ord">
          <ac:chgData name="Jenny Kurjenniemi" userId="45855882-34ab-471a-89ec-eb9e2f56cbe8" providerId="ADAL" clId="{E6F4BB98-3518-4F2B-848C-900D845A2BDF}" dt="2026-03-25T17:24:42.989" v="8765" actId="20577"/>
          <ac:spMkLst>
            <pc:docMk/>
            <pc:sldMk cId="692515177" sldId="2147449487"/>
            <ac:spMk id="6" creationId="{55B72D66-EE46-B0C7-E787-817BA6285F72}"/>
          </ac:spMkLst>
        </pc:spChg>
        <pc:spChg chg="add mod ord">
          <ac:chgData name="Jenny Kurjenniemi" userId="45855882-34ab-471a-89ec-eb9e2f56cbe8" providerId="ADAL" clId="{E6F4BB98-3518-4F2B-848C-900D845A2BDF}" dt="2026-03-25T18:42:39.513" v="10309" actId="313"/>
          <ac:spMkLst>
            <pc:docMk/>
            <pc:sldMk cId="692515177" sldId="2147449487"/>
            <ac:spMk id="7" creationId="{8D4735F0-976A-8E83-EE97-6FDB23E7D27D}"/>
          </ac:spMkLst>
        </pc:spChg>
        <pc:spChg chg="add mod">
          <ac:chgData name="Jenny Kurjenniemi" userId="45855882-34ab-471a-89ec-eb9e2f56cbe8" providerId="ADAL" clId="{E6F4BB98-3518-4F2B-848C-900D845A2BDF}" dt="2026-03-25T18:38:49.967" v="10189" actId="313"/>
          <ac:spMkLst>
            <pc:docMk/>
            <pc:sldMk cId="692515177" sldId="2147449487"/>
            <ac:spMk id="8" creationId="{9C1D0D04-7716-C9D0-AA58-DFF40278AA73}"/>
          </ac:spMkLst>
        </pc:spChg>
        <pc:spChg chg="add mod">
          <ac:chgData name="Jenny Kurjenniemi" userId="45855882-34ab-471a-89ec-eb9e2f56cbe8" providerId="ADAL" clId="{E6F4BB98-3518-4F2B-848C-900D845A2BDF}" dt="2026-03-25T17:11:34.364" v="8494" actId="1036"/>
          <ac:spMkLst>
            <pc:docMk/>
            <pc:sldMk cId="692515177" sldId="2147449487"/>
            <ac:spMk id="9" creationId="{2137E2B8-E5BB-14A9-57FE-4D24817D20CB}"/>
          </ac:spMkLst>
        </pc:spChg>
        <pc:spChg chg="add mod">
          <ac:chgData name="Jenny Kurjenniemi" userId="45855882-34ab-471a-89ec-eb9e2f56cbe8" providerId="ADAL" clId="{E6F4BB98-3518-4F2B-848C-900D845A2BDF}" dt="2026-03-25T17:10:47.168" v="8401" actId="14100"/>
          <ac:spMkLst>
            <pc:docMk/>
            <pc:sldMk cId="692515177" sldId="2147449487"/>
            <ac:spMk id="10" creationId="{7DA75220-B6F8-33EB-63D7-C03F29F226D1}"/>
          </ac:spMkLst>
        </pc:spChg>
        <pc:spChg chg="add mod">
          <ac:chgData name="Jenny Kurjenniemi" userId="45855882-34ab-471a-89ec-eb9e2f56cbe8" providerId="ADAL" clId="{E6F4BB98-3518-4F2B-848C-900D845A2BDF}" dt="2026-03-25T18:42:03.443" v="10228" actId="1076"/>
          <ac:spMkLst>
            <pc:docMk/>
            <pc:sldMk cId="692515177" sldId="2147449487"/>
            <ac:spMk id="12" creationId="{EEBCFD78-1E7D-9630-3C33-4564006C789D}"/>
          </ac:spMkLst>
        </pc:spChg>
        <pc:spChg chg="add del">
          <ac:chgData name="Jenny Kurjenniemi" userId="45855882-34ab-471a-89ec-eb9e2f56cbe8" providerId="ADAL" clId="{E6F4BB98-3518-4F2B-848C-900D845A2BDF}" dt="2026-03-25T17:15:17.970" v="8705" actId="478"/>
          <ac:spMkLst>
            <pc:docMk/>
            <pc:sldMk cId="692515177" sldId="2147449487"/>
            <ac:spMk id="13" creationId="{01898975-36F2-E0C9-966A-E7080EB08C5E}"/>
          </ac:spMkLst>
        </pc:spChg>
        <pc:picChg chg="add mod">
          <ac:chgData name="Jenny Kurjenniemi" userId="45855882-34ab-471a-89ec-eb9e2f56cbe8" providerId="ADAL" clId="{E6F4BB98-3518-4F2B-848C-900D845A2BDF}" dt="2026-03-25T17:16:01.220" v="8711" actId="207"/>
          <ac:picMkLst>
            <pc:docMk/>
            <pc:sldMk cId="692515177" sldId="2147449487"/>
            <ac:picMk id="15" creationId="{26DF06C1-A823-179B-85A1-D86E77B2FAE5}"/>
          </ac:picMkLst>
        </pc:picChg>
        <pc:picChg chg="add mod">
          <ac:chgData name="Jenny Kurjenniemi" userId="45855882-34ab-471a-89ec-eb9e2f56cbe8" providerId="ADAL" clId="{E6F4BB98-3518-4F2B-848C-900D845A2BDF}" dt="2026-03-25T18:38:14.681" v="10188" actId="1440"/>
          <ac:picMkLst>
            <pc:docMk/>
            <pc:sldMk cId="692515177" sldId="2147449487"/>
            <ac:picMk id="1026" creationId="{A0363326-19FE-B499-0D48-02DFAC0998F0}"/>
          </ac:picMkLst>
        </pc:picChg>
      </pc:sldChg>
      <pc:sldChg chg="addSp delSp modSp new del mod modAnim">
        <pc:chgData name="Jenny Kurjenniemi" userId="45855882-34ab-471a-89ec-eb9e2f56cbe8" providerId="ADAL" clId="{E6F4BB98-3518-4F2B-848C-900D845A2BDF}" dt="2026-03-25T19:13:54.838" v="10443" actId="2696"/>
        <pc:sldMkLst>
          <pc:docMk/>
          <pc:sldMk cId="2564511887" sldId="2147449488"/>
        </pc:sldMkLst>
        <pc:spChg chg="mod">
          <ac:chgData name="Jenny Kurjenniemi" userId="45855882-34ab-471a-89ec-eb9e2f56cbe8" providerId="ADAL" clId="{E6F4BB98-3518-4F2B-848C-900D845A2BDF}" dt="2026-03-25T17:25:14.745" v="8779" actId="20577"/>
          <ac:spMkLst>
            <pc:docMk/>
            <pc:sldMk cId="2564511887" sldId="2147449488"/>
            <ac:spMk id="5" creationId="{59D31C69-9285-9196-D4EE-FAC7FF673E66}"/>
          </ac:spMkLst>
        </pc:spChg>
        <pc:graphicFrameChg chg="add mod modGraphic">
          <ac:chgData name="Jenny Kurjenniemi" userId="45855882-34ab-471a-89ec-eb9e2f56cbe8" providerId="ADAL" clId="{E6F4BB98-3518-4F2B-848C-900D845A2BDF}" dt="2026-03-25T17:26:33.058" v="8810" actId="20577"/>
          <ac:graphicFrameMkLst>
            <pc:docMk/>
            <pc:sldMk cId="2564511887" sldId="2147449488"/>
            <ac:graphicFrameMk id="8" creationId="{880B8BEF-4BDB-4404-B1B6-986CF1599E1C}"/>
          </ac:graphicFrameMkLst>
        </pc:graphicFrameChg>
        <pc:graphicFrameChg chg="mod topLvl modGraphic">
          <ac:chgData name="Jenny Kurjenniemi" userId="45855882-34ab-471a-89ec-eb9e2f56cbe8" providerId="ADAL" clId="{E6F4BB98-3518-4F2B-848C-900D845A2BDF}" dt="2026-03-25T18:49:42.195" v="10341" actId="20577"/>
          <ac:graphicFrameMkLst>
            <pc:docMk/>
            <pc:sldMk cId="2564511887" sldId="2147449488"/>
            <ac:graphicFrameMk id="20" creationId="{3D24228B-95A5-E8BF-859C-9B0DD35D6821}"/>
          </ac:graphicFrameMkLst>
        </pc:graphicFrameChg>
      </pc:sldChg>
      <pc:sldChg chg="addSp delSp modSp new del mod">
        <pc:chgData name="Jenny Kurjenniemi" userId="45855882-34ab-471a-89ec-eb9e2f56cbe8" providerId="ADAL" clId="{E6F4BB98-3518-4F2B-848C-900D845A2BDF}" dt="2026-03-25T15:57:43.982" v="6179" actId="2696"/>
        <pc:sldMkLst>
          <pc:docMk/>
          <pc:sldMk cId="8564679" sldId="2147449489"/>
        </pc:sldMkLst>
      </pc:sldChg>
      <pc:sldChg chg="add del">
        <pc:chgData name="Jenny Kurjenniemi" userId="45855882-34ab-471a-89ec-eb9e2f56cbe8" providerId="ADAL" clId="{E6F4BB98-3518-4F2B-848C-900D845A2BDF}" dt="2026-03-25T17:29:19.200" v="8883" actId="2696"/>
        <pc:sldMkLst>
          <pc:docMk/>
          <pc:sldMk cId="1124187392" sldId="2147449489"/>
        </pc:sldMkLst>
      </pc:sldChg>
      <pc:sldChg chg="addSp delSp modSp new mod modAnim">
        <pc:chgData name="Jenny Kurjenniemi" userId="45855882-34ab-471a-89ec-eb9e2f56cbe8" providerId="ADAL" clId="{E6F4BB98-3518-4F2B-848C-900D845A2BDF}" dt="2026-03-25T17:24:50.593" v="8768" actId="1076"/>
        <pc:sldMkLst>
          <pc:docMk/>
          <pc:sldMk cId="1233045561" sldId="2147449490"/>
        </pc:sldMkLst>
        <pc:spChg chg="del mod">
          <ac:chgData name="Jenny Kurjenniemi" userId="45855882-34ab-471a-89ec-eb9e2f56cbe8" providerId="ADAL" clId="{E6F4BB98-3518-4F2B-848C-900D845A2BDF}" dt="2026-03-25T17:18:22.033" v="8724" actId="478"/>
          <ac:spMkLst>
            <pc:docMk/>
            <pc:sldMk cId="1233045561" sldId="2147449490"/>
            <ac:spMk id="4" creationId="{9595AC4F-078A-141E-6777-31167734EA5D}"/>
          </ac:spMkLst>
        </pc:spChg>
        <pc:spChg chg="mod">
          <ac:chgData name="Jenny Kurjenniemi" userId="45855882-34ab-471a-89ec-eb9e2f56cbe8" providerId="ADAL" clId="{E6F4BB98-3518-4F2B-848C-900D845A2BDF}" dt="2026-03-25T17:24:50.593" v="8768" actId="1076"/>
          <ac:spMkLst>
            <pc:docMk/>
            <pc:sldMk cId="1233045561" sldId="2147449490"/>
            <ac:spMk id="5" creationId="{31F759D3-AAB9-9EA1-B064-0BD8B706D958}"/>
          </ac:spMkLst>
        </pc:spChg>
        <pc:spChg chg="add mod">
          <ac:chgData name="Jenny Kurjenniemi" userId="45855882-34ab-471a-89ec-eb9e2f56cbe8" providerId="ADAL" clId="{E6F4BB98-3518-4F2B-848C-900D845A2BDF}" dt="2026-03-25T17:18:01.307" v="8722" actId="1076"/>
          <ac:spMkLst>
            <pc:docMk/>
            <pc:sldMk cId="1233045561" sldId="2147449490"/>
            <ac:spMk id="9" creationId="{88407338-D449-A312-1ECA-274D9C0F97DD}"/>
          </ac:spMkLst>
        </pc:spChg>
        <pc:graphicFrameChg chg="add mod modGraphic">
          <ac:chgData name="Jenny Kurjenniemi" userId="45855882-34ab-471a-89ec-eb9e2f56cbe8" providerId="ADAL" clId="{E6F4BB98-3518-4F2B-848C-900D845A2BDF}" dt="2026-03-25T17:18:34.876" v="8728" actId="403"/>
          <ac:graphicFrameMkLst>
            <pc:docMk/>
            <pc:sldMk cId="1233045561" sldId="2147449490"/>
            <ac:graphicFrameMk id="6" creationId="{F8F1DCA2-7C9C-73B1-2FCC-2F7A14649E84}"/>
          </ac:graphicFrameMkLst>
        </pc:graphicFrameChg>
        <pc:picChg chg="add del mod">
          <ac:chgData name="Jenny Kurjenniemi" userId="45855882-34ab-471a-89ec-eb9e2f56cbe8" providerId="ADAL" clId="{E6F4BB98-3518-4F2B-848C-900D845A2BDF}" dt="2026-03-25T17:16:59.059" v="8714" actId="478"/>
          <ac:picMkLst>
            <pc:docMk/>
            <pc:sldMk cId="1233045561" sldId="2147449490"/>
            <ac:picMk id="8" creationId="{B8812A4C-BA9F-C43A-9C35-B8F3DE825603}"/>
          </ac:picMkLst>
        </pc:picChg>
      </pc:sldChg>
      <pc:sldChg chg="addSp delSp modSp new mod modClrScheme chgLayout">
        <pc:chgData name="Jenny Kurjenniemi" userId="45855882-34ab-471a-89ec-eb9e2f56cbe8" providerId="ADAL" clId="{E6F4BB98-3518-4F2B-848C-900D845A2BDF}" dt="2026-03-25T16:50:31.303" v="6907" actId="20577"/>
        <pc:sldMkLst>
          <pc:docMk/>
          <pc:sldMk cId="2769342697" sldId="2147449491"/>
        </pc:sldMkLst>
        <pc:spChg chg="mod ord">
          <ac:chgData name="Jenny Kurjenniemi" userId="45855882-34ab-471a-89ec-eb9e2f56cbe8" providerId="ADAL" clId="{E6F4BB98-3518-4F2B-848C-900D845A2BDF}" dt="2026-03-18T16:17:40.337" v="3393" actId="700"/>
          <ac:spMkLst>
            <pc:docMk/>
            <pc:sldMk cId="2769342697" sldId="2147449491"/>
            <ac:spMk id="2" creationId="{2E345FE4-FEB9-9A8A-078F-B9EF729EC4E5}"/>
          </ac:spMkLst>
        </pc:spChg>
        <pc:spChg chg="mod ord">
          <ac:chgData name="Jenny Kurjenniemi" userId="45855882-34ab-471a-89ec-eb9e2f56cbe8" providerId="ADAL" clId="{E6F4BB98-3518-4F2B-848C-900D845A2BDF}" dt="2026-03-18T16:17:40.337" v="3393" actId="700"/>
          <ac:spMkLst>
            <pc:docMk/>
            <pc:sldMk cId="2769342697" sldId="2147449491"/>
            <ac:spMk id="3" creationId="{912BA201-48B3-3C05-E3F3-F32A833D17D5}"/>
          </ac:spMkLst>
        </pc:spChg>
        <pc:spChg chg="add mod ord">
          <ac:chgData name="Jenny Kurjenniemi" userId="45855882-34ab-471a-89ec-eb9e2f56cbe8" providerId="ADAL" clId="{E6F4BB98-3518-4F2B-848C-900D845A2BDF}" dt="2026-03-25T16:50:31.303" v="6907" actId="20577"/>
          <ac:spMkLst>
            <pc:docMk/>
            <pc:sldMk cId="2769342697" sldId="2147449491"/>
            <ac:spMk id="6" creationId="{29536325-1C7A-A086-D374-56F9E6CD8748}"/>
          </ac:spMkLst>
        </pc:spChg>
      </pc:sldChg>
      <pc:sldChg chg="addSp modSp new mod ord modAnim">
        <pc:chgData name="Jenny Kurjenniemi" userId="45855882-34ab-471a-89ec-eb9e2f56cbe8" providerId="ADAL" clId="{E6F4BB98-3518-4F2B-848C-900D845A2BDF}" dt="2026-03-25T19:14:27.984" v="10444" actId="207"/>
        <pc:sldMkLst>
          <pc:docMk/>
          <pc:sldMk cId="2636486664" sldId="2147449492"/>
        </pc:sldMkLst>
        <pc:spChg chg="mod ord">
          <ac:chgData name="Jenny Kurjenniemi" userId="45855882-34ab-471a-89ec-eb9e2f56cbe8" providerId="ADAL" clId="{E6F4BB98-3518-4F2B-848C-900D845A2BDF}" dt="2026-03-25T19:14:27.984" v="10444" actId="207"/>
          <ac:spMkLst>
            <pc:docMk/>
            <pc:sldMk cId="2636486664" sldId="2147449492"/>
            <ac:spMk id="4" creationId="{7DF94EBE-A681-9AAD-F5EC-80618F8F167A}"/>
          </ac:spMkLst>
        </pc:spChg>
        <pc:spChg chg="mod">
          <ac:chgData name="Jenny Kurjenniemi" userId="45855882-34ab-471a-89ec-eb9e2f56cbe8" providerId="ADAL" clId="{E6F4BB98-3518-4F2B-848C-900D845A2BDF}" dt="2026-03-25T17:24:33.762" v="8763" actId="404"/>
          <ac:spMkLst>
            <pc:docMk/>
            <pc:sldMk cId="2636486664" sldId="2147449492"/>
            <ac:spMk id="5" creationId="{F47C603A-C91B-4F38-90AB-198E65B000B1}"/>
          </ac:spMkLst>
        </pc:spChg>
        <pc:spChg chg="add mod ord">
          <ac:chgData name="Jenny Kurjenniemi" userId="45855882-34ab-471a-89ec-eb9e2f56cbe8" providerId="ADAL" clId="{E6F4BB98-3518-4F2B-848C-900D845A2BDF}" dt="2026-03-25T17:23:47.070" v="8745" actId="207"/>
          <ac:spMkLst>
            <pc:docMk/>
            <pc:sldMk cId="2636486664" sldId="2147449492"/>
            <ac:spMk id="6" creationId="{22B7F9C4-269C-41B8-3D83-B34C974A912A}"/>
          </ac:spMkLst>
        </pc:spChg>
        <pc:spChg chg="add mod">
          <ac:chgData name="Jenny Kurjenniemi" userId="45855882-34ab-471a-89ec-eb9e2f56cbe8" providerId="ADAL" clId="{E6F4BB98-3518-4F2B-848C-900D845A2BDF}" dt="2026-03-25T17:19:12.400" v="8730" actId="1076"/>
          <ac:spMkLst>
            <pc:docMk/>
            <pc:sldMk cId="2636486664" sldId="2147449492"/>
            <ac:spMk id="7" creationId="{53C43053-ADE8-C76B-A035-8C6A3C310519}"/>
          </ac:spMkLst>
        </pc:spChg>
      </pc:sldChg>
      <pc:sldChg chg="addSp delSp modSp new mod modClrScheme chgLayout">
        <pc:chgData name="Jenny Kurjenniemi" userId="45855882-34ab-471a-89ec-eb9e2f56cbe8" providerId="ADAL" clId="{E6F4BB98-3518-4F2B-848C-900D845A2BDF}" dt="2026-03-25T17:29:08.088" v="8882" actId="1076"/>
        <pc:sldMkLst>
          <pc:docMk/>
          <pc:sldMk cId="3275993296" sldId="2147449493"/>
        </pc:sldMkLst>
        <pc:spChg chg="mod ord">
          <ac:chgData name="Jenny Kurjenniemi" userId="45855882-34ab-471a-89ec-eb9e2f56cbe8" providerId="ADAL" clId="{E6F4BB98-3518-4F2B-848C-900D845A2BDF}" dt="2026-03-25T17:28:13.442" v="8831" actId="700"/>
          <ac:spMkLst>
            <pc:docMk/>
            <pc:sldMk cId="3275993296" sldId="2147449493"/>
            <ac:spMk id="2" creationId="{C375CAB8-F1E3-9B2F-428C-0DAD022718A3}"/>
          </ac:spMkLst>
        </pc:spChg>
        <pc:spChg chg="mod ord">
          <ac:chgData name="Jenny Kurjenniemi" userId="45855882-34ab-471a-89ec-eb9e2f56cbe8" providerId="ADAL" clId="{E6F4BB98-3518-4F2B-848C-900D845A2BDF}" dt="2026-03-25T17:28:13.442" v="8831" actId="700"/>
          <ac:spMkLst>
            <pc:docMk/>
            <pc:sldMk cId="3275993296" sldId="2147449493"/>
            <ac:spMk id="3" creationId="{78EF69DB-F280-C5F2-B59D-DB6A98D5DBDA}"/>
          </ac:spMkLst>
        </pc:spChg>
        <pc:spChg chg="del mod">
          <ac:chgData name="Jenny Kurjenniemi" userId="45855882-34ab-471a-89ec-eb9e2f56cbe8" providerId="ADAL" clId="{E6F4BB98-3518-4F2B-848C-900D845A2BDF}" dt="2026-03-25T17:27:51.722" v="8830" actId="700"/>
          <ac:spMkLst>
            <pc:docMk/>
            <pc:sldMk cId="3275993296" sldId="2147449493"/>
            <ac:spMk id="4" creationId="{8BF1D5D3-C4B2-CCAA-570F-95879AC269B8}"/>
          </ac:spMkLst>
        </pc:spChg>
        <pc:spChg chg="del">
          <ac:chgData name="Jenny Kurjenniemi" userId="45855882-34ab-471a-89ec-eb9e2f56cbe8" providerId="ADAL" clId="{E6F4BB98-3518-4F2B-848C-900D845A2BDF}" dt="2026-03-25T17:27:51.722" v="8830" actId="700"/>
          <ac:spMkLst>
            <pc:docMk/>
            <pc:sldMk cId="3275993296" sldId="2147449493"/>
            <ac:spMk id="5" creationId="{6E8340D3-4FEE-6BEF-DB5A-B39FFCBDE96A}"/>
          </ac:spMkLst>
        </pc:spChg>
        <pc:spChg chg="add mod">
          <ac:chgData name="Jenny Kurjenniemi" userId="45855882-34ab-471a-89ec-eb9e2f56cbe8" providerId="ADAL" clId="{E6F4BB98-3518-4F2B-848C-900D845A2BDF}" dt="2026-03-25T17:29:08.088" v="8882" actId="1076"/>
          <ac:spMkLst>
            <pc:docMk/>
            <pc:sldMk cId="3275993296" sldId="2147449493"/>
            <ac:spMk id="6" creationId="{4A5B9023-98AB-50B9-0784-2FFEB9024D38}"/>
          </ac:spMkLst>
        </pc:spChg>
      </pc:sldChg>
      <pc:sldChg chg="addSp delSp modSp new mod modClrScheme chgLayout">
        <pc:chgData name="Jenny Kurjenniemi" userId="45855882-34ab-471a-89ec-eb9e2f56cbe8" providerId="ADAL" clId="{E6F4BB98-3518-4F2B-848C-900D845A2BDF}" dt="2026-03-18T17:17:11.836" v="6143" actId="20577"/>
        <pc:sldMkLst>
          <pc:docMk/>
          <pc:sldMk cId="50439232" sldId="2147449494"/>
        </pc:sldMkLst>
        <pc:spChg chg="mod ord">
          <ac:chgData name="Jenny Kurjenniemi" userId="45855882-34ab-471a-89ec-eb9e2f56cbe8" providerId="ADAL" clId="{E6F4BB98-3518-4F2B-848C-900D845A2BDF}" dt="2026-03-18T17:17:05.816" v="6132" actId="700"/>
          <ac:spMkLst>
            <pc:docMk/>
            <pc:sldMk cId="50439232" sldId="2147449494"/>
            <ac:spMk id="2" creationId="{89AC0CB6-C049-B81F-8C3A-BCB33754BB8E}"/>
          </ac:spMkLst>
        </pc:spChg>
        <pc:spChg chg="mod ord">
          <ac:chgData name="Jenny Kurjenniemi" userId="45855882-34ab-471a-89ec-eb9e2f56cbe8" providerId="ADAL" clId="{E6F4BB98-3518-4F2B-848C-900D845A2BDF}" dt="2026-03-18T17:17:05.816" v="6132" actId="700"/>
          <ac:spMkLst>
            <pc:docMk/>
            <pc:sldMk cId="50439232" sldId="2147449494"/>
            <ac:spMk id="3" creationId="{CF21CC78-D519-BA79-5B1E-9B68AD969314}"/>
          </ac:spMkLst>
        </pc:spChg>
        <pc:spChg chg="add mod ord">
          <ac:chgData name="Jenny Kurjenniemi" userId="45855882-34ab-471a-89ec-eb9e2f56cbe8" providerId="ADAL" clId="{E6F4BB98-3518-4F2B-848C-900D845A2BDF}" dt="2026-03-18T17:17:11.836" v="6143" actId="20577"/>
          <ac:spMkLst>
            <pc:docMk/>
            <pc:sldMk cId="50439232" sldId="2147449494"/>
            <ac:spMk id="6" creationId="{F63CAF3F-8D25-E8FE-63F0-55A36F14405D}"/>
          </ac:spMkLst>
        </pc:spChg>
      </pc:sldChg>
      <pc:sldChg chg="addSp delSp modSp new mod modClrScheme chgLayout">
        <pc:chgData name="Jenny Kurjenniemi" userId="45855882-34ab-471a-89ec-eb9e2f56cbe8" providerId="ADAL" clId="{E6F4BB98-3518-4F2B-848C-900D845A2BDF}" dt="2026-03-25T17:46:16.484" v="9677" actId="478"/>
        <pc:sldMkLst>
          <pc:docMk/>
          <pc:sldMk cId="1882420907" sldId="2147449495"/>
        </pc:sldMkLst>
        <pc:spChg chg="mod ord">
          <ac:chgData name="Jenny Kurjenniemi" userId="45855882-34ab-471a-89ec-eb9e2f56cbe8" providerId="ADAL" clId="{E6F4BB98-3518-4F2B-848C-900D845A2BDF}" dt="2026-03-25T17:37:44.870" v="9531" actId="700"/>
          <ac:spMkLst>
            <pc:docMk/>
            <pc:sldMk cId="1882420907" sldId="2147449495"/>
            <ac:spMk id="2" creationId="{87EAF453-0062-2834-4C7A-29497605F04B}"/>
          </ac:spMkLst>
        </pc:spChg>
        <pc:spChg chg="mod ord">
          <ac:chgData name="Jenny Kurjenniemi" userId="45855882-34ab-471a-89ec-eb9e2f56cbe8" providerId="ADAL" clId="{E6F4BB98-3518-4F2B-848C-900D845A2BDF}" dt="2026-03-25T17:37:44.870" v="9531" actId="700"/>
          <ac:spMkLst>
            <pc:docMk/>
            <pc:sldMk cId="1882420907" sldId="2147449495"/>
            <ac:spMk id="3" creationId="{81493821-B6CD-8C21-4CF5-E6741BBBB858}"/>
          </ac:spMkLst>
        </pc:spChg>
        <pc:spChg chg="mod ord">
          <ac:chgData name="Jenny Kurjenniemi" userId="45855882-34ab-471a-89ec-eb9e2f56cbe8" providerId="ADAL" clId="{E6F4BB98-3518-4F2B-848C-900D845A2BDF}" dt="2026-03-25T17:45:46.013" v="9640" actId="20577"/>
          <ac:spMkLst>
            <pc:docMk/>
            <pc:sldMk cId="1882420907" sldId="2147449495"/>
            <ac:spMk id="4" creationId="{919B7B4D-2F4A-43B3-0597-5C40487A8963}"/>
          </ac:spMkLst>
        </pc:spChg>
        <pc:spChg chg="mod ord">
          <ac:chgData name="Jenny Kurjenniemi" userId="45855882-34ab-471a-89ec-eb9e2f56cbe8" providerId="ADAL" clId="{E6F4BB98-3518-4F2B-848C-900D845A2BDF}" dt="2026-03-25T17:44:22.574" v="9542" actId="1076"/>
          <ac:spMkLst>
            <pc:docMk/>
            <pc:sldMk cId="1882420907" sldId="2147449495"/>
            <ac:spMk id="5" creationId="{58A2A009-1282-070D-90BA-EFE30D16B637}"/>
          </ac:spMkLst>
        </pc:spChg>
        <pc:spChg chg="add del mod ord">
          <ac:chgData name="Jenny Kurjenniemi" userId="45855882-34ab-471a-89ec-eb9e2f56cbe8" providerId="ADAL" clId="{E6F4BB98-3518-4F2B-848C-900D845A2BDF}" dt="2026-03-25T17:39:17.151" v="9532" actId="931"/>
          <ac:spMkLst>
            <pc:docMk/>
            <pc:sldMk cId="1882420907" sldId="2147449495"/>
            <ac:spMk id="7" creationId="{FAC84871-164F-E714-AD79-878634E427F3}"/>
          </ac:spMkLst>
        </pc:spChg>
        <pc:spChg chg="add del mod">
          <ac:chgData name="Jenny Kurjenniemi" userId="45855882-34ab-471a-89ec-eb9e2f56cbe8" providerId="ADAL" clId="{E6F4BB98-3518-4F2B-848C-900D845A2BDF}" dt="2026-03-25T17:41:07.618" v="9534" actId="931"/>
          <ac:spMkLst>
            <pc:docMk/>
            <pc:sldMk cId="1882420907" sldId="2147449495"/>
            <ac:spMk id="11" creationId="{8DC8FADB-86E1-F5B5-2A36-D6DBE99413F3}"/>
          </ac:spMkLst>
        </pc:spChg>
        <pc:spChg chg="add del mod">
          <ac:chgData name="Jenny Kurjenniemi" userId="45855882-34ab-471a-89ec-eb9e2f56cbe8" providerId="ADAL" clId="{E6F4BB98-3518-4F2B-848C-900D845A2BDF}" dt="2026-03-25T17:44:12.058" v="9541" actId="931"/>
          <ac:spMkLst>
            <pc:docMk/>
            <pc:sldMk cId="1882420907" sldId="2147449495"/>
            <ac:spMk id="15" creationId="{1B54658B-E7AD-DF62-ACC6-83CCC436C9EC}"/>
          </ac:spMkLst>
        </pc:spChg>
        <pc:spChg chg="add del mod">
          <ac:chgData name="Jenny Kurjenniemi" userId="45855882-34ab-471a-89ec-eb9e2f56cbe8" providerId="ADAL" clId="{E6F4BB98-3518-4F2B-848C-900D845A2BDF}" dt="2026-03-25T17:46:16.484" v="9677" actId="478"/>
          <ac:spMkLst>
            <pc:docMk/>
            <pc:sldMk cId="1882420907" sldId="2147449495"/>
            <ac:spMk id="18" creationId="{632E94A5-CF9E-0531-3CDB-83B6C11C0EAC}"/>
          </ac:spMkLst>
        </pc:spChg>
        <pc:picChg chg="add del mod">
          <ac:chgData name="Jenny Kurjenniemi" userId="45855882-34ab-471a-89ec-eb9e2f56cbe8" providerId="ADAL" clId="{E6F4BB98-3518-4F2B-848C-900D845A2BDF}" dt="2026-03-25T17:37:26.510" v="9528" actId="478"/>
          <ac:picMkLst>
            <pc:docMk/>
            <pc:sldMk cId="1882420907" sldId="2147449495"/>
            <ac:picMk id="6" creationId="{7710E70D-E7E4-784A-5161-B7E8A7BD72EB}"/>
          </ac:picMkLst>
        </pc:picChg>
        <pc:picChg chg="add del mod">
          <ac:chgData name="Jenny Kurjenniemi" userId="45855882-34ab-471a-89ec-eb9e2f56cbe8" providerId="ADAL" clId="{E6F4BB98-3518-4F2B-848C-900D845A2BDF}" dt="2026-03-25T17:39:28.787" v="9533" actId="478"/>
          <ac:picMkLst>
            <pc:docMk/>
            <pc:sldMk cId="1882420907" sldId="2147449495"/>
            <ac:picMk id="9" creationId="{52878C99-13A1-30FF-ABAB-9577760D2802}"/>
          </ac:picMkLst>
        </pc:picChg>
        <pc:picChg chg="add del mod">
          <ac:chgData name="Jenny Kurjenniemi" userId="45855882-34ab-471a-89ec-eb9e2f56cbe8" providerId="ADAL" clId="{E6F4BB98-3518-4F2B-848C-900D845A2BDF}" dt="2026-03-25T17:41:22.546" v="9536" actId="478"/>
          <ac:picMkLst>
            <pc:docMk/>
            <pc:sldMk cId="1882420907" sldId="2147449495"/>
            <ac:picMk id="13" creationId="{6314F946-FCEF-B47E-1BB3-3A882E9105DD}"/>
          </ac:picMkLst>
        </pc:picChg>
        <pc:picChg chg="add mod ord">
          <ac:chgData name="Jenny Kurjenniemi" userId="45855882-34ab-471a-89ec-eb9e2f56cbe8" providerId="ADAL" clId="{E6F4BB98-3518-4F2B-848C-900D845A2BDF}" dt="2026-03-25T17:44:12.058" v="9541" actId="931"/>
          <ac:picMkLst>
            <pc:docMk/>
            <pc:sldMk cId="1882420907" sldId="2147449495"/>
            <ac:picMk id="17" creationId="{C8830895-4A04-4BE3-553E-C82F7BC72141}"/>
          </ac:picMkLst>
        </pc:picChg>
      </pc:sldChg>
      <pc:sldChg chg="addSp delSp modSp new mod modClrScheme chgLayout">
        <pc:chgData name="Jenny Kurjenniemi" userId="45855882-34ab-471a-89ec-eb9e2f56cbe8" providerId="ADAL" clId="{E6F4BB98-3518-4F2B-848C-900D845A2BDF}" dt="2026-03-25T16:01:55.514" v="6338" actId="1076"/>
        <pc:sldMkLst>
          <pc:docMk/>
          <pc:sldMk cId="1121224173" sldId="2147449496"/>
        </pc:sldMkLst>
        <pc:spChg chg="add del mod">
          <ac:chgData name="Jenny Kurjenniemi" userId="45855882-34ab-471a-89ec-eb9e2f56cbe8" providerId="ADAL" clId="{E6F4BB98-3518-4F2B-848C-900D845A2BDF}" dt="2026-03-25T16:00:23.508" v="6322" actId="478"/>
          <ac:spMkLst>
            <pc:docMk/>
            <pc:sldMk cId="1121224173" sldId="2147449496"/>
            <ac:spMk id="2" creationId="{3986021B-9EC0-443D-4381-6B5CB994AB60}"/>
          </ac:spMkLst>
        </pc:spChg>
        <pc:spChg chg="add del mod">
          <ac:chgData name="Jenny Kurjenniemi" userId="45855882-34ab-471a-89ec-eb9e2f56cbe8" providerId="ADAL" clId="{E6F4BB98-3518-4F2B-848C-900D845A2BDF}" dt="2026-03-25T16:00:21.441" v="6321" actId="478"/>
          <ac:spMkLst>
            <pc:docMk/>
            <pc:sldMk cId="1121224173" sldId="2147449496"/>
            <ac:spMk id="3" creationId="{AA880A86-C5DE-BA53-A6A2-6137133CAEDE}"/>
          </ac:spMkLst>
        </pc:spChg>
        <pc:spChg chg="add">
          <ac:chgData name="Jenny Kurjenniemi" userId="45855882-34ab-471a-89ec-eb9e2f56cbe8" providerId="ADAL" clId="{E6F4BB98-3518-4F2B-848C-900D845A2BDF}" dt="2026-03-25T16:01:17.863" v="6331"/>
          <ac:spMkLst>
            <pc:docMk/>
            <pc:sldMk cId="1121224173" sldId="2147449496"/>
            <ac:spMk id="5" creationId="{196BD32F-228D-9BC8-4791-CC82238E3174}"/>
          </ac:spMkLst>
        </pc:spChg>
        <pc:picChg chg="add del mod">
          <ac:chgData name="Jenny Kurjenniemi" userId="45855882-34ab-471a-89ec-eb9e2f56cbe8" providerId="ADAL" clId="{E6F4BB98-3518-4F2B-848C-900D845A2BDF}" dt="2026-03-25T16:01:06.355" v="6330" actId="478"/>
          <ac:picMkLst>
            <pc:docMk/>
            <pc:sldMk cId="1121224173" sldId="2147449496"/>
            <ac:picMk id="4" creationId="{708787B6-1636-211D-3F8B-22E9BF1F520D}"/>
          </ac:picMkLst>
        </pc:picChg>
        <pc:picChg chg="add mod">
          <ac:chgData name="Jenny Kurjenniemi" userId="45855882-34ab-471a-89ec-eb9e2f56cbe8" providerId="ADAL" clId="{E6F4BB98-3518-4F2B-848C-900D845A2BDF}" dt="2026-03-25T16:01:51.813" v="6336" actId="1076"/>
          <ac:picMkLst>
            <pc:docMk/>
            <pc:sldMk cId="1121224173" sldId="2147449496"/>
            <ac:picMk id="6" creationId="{06EA7AEB-0B25-8F40-FC0E-B779784FD301}"/>
          </ac:picMkLst>
        </pc:picChg>
        <pc:picChg chg="add del">
          <ac:chgData name="Jenny Kurjenniemi" userId="45855882-34ab-471a-89ec-eb9e2f56cbe8" providerId="ADAL" clId="{E6F4BB98-3518-4F2B-848C-900D845A2BDF}" dt="2026-03-25T16:00:38.994" v="6324" actId="478"/>
          <ac:picMkLst>
            <pc:docMk/>
            <pc:sldMk cId="1121224173" sldId="2147449496"/>
            <ac:picMk id="1026" creationId="{6CFCF571-804B-864A-8D36-0F17F530A09C}"/>
          </ac:picMkLst>
        </pc:picChg>
        <pc:picChg chg="add mod">
          <ac:chgData name="Jenny Kurjenniemi" userId="45855882-34ab-471a-89ec-eb9e2f56cbe8" providerId="ADAL" clId="{E6F4BB98-3518-4F2B-848C-900D845A2BDF}" dt="2026-03-25T16:01:55.514" v="6338" actId="1076"/>
          <ac:picMkLst>
            <pc:docMk/>
            <pc:sldMk cId="1121224173" sldId="2147449496"/>
            <ac:picMk id="1030" creationId="{82596B10-2C95-AB65-C00B-E2A1B466372B}"/>
          </ac:picMkLst>
        </pc:picChg>
      </pc:sldChg>
      <pc:sldChg chg="new del">
        <pc:chgData name="Jenny Kurjenniemi" userId="45855882-34ab-471a-89ec-eb9e2f56cbe8" providerId="ADAL" clId="{E6F4BB98-3518-4F2B-848C-900D845A2BDF}" dt="2026-03-25T16:00:14.119" v="6318" actId="47"/>
        <pc:sldMkLst>
          <pc:docMk/>
          <pc:sldMk cId="2205153719" sldId="2147449496"/>
        </pc:sldMkLst>
      </pc:sldChg>
      <pc:sldChg chg="new del">
        <pc:chgData name="Jenny Kurjenniemi" userId="45855882-34ab-471a-89ec-eb9e2f56cbe8" providerId="ADAL" clId="{E6F4BB98-3518-4F2B-848C-900D845A2BDF}" dt="2026-03-25T18:37:53.400" v="10187" actId="47"/>
        <pc:sldMkLst>
          <pc:docMk/>
          <pc:sldMk cId="3857785979" sldId="2147449497"/>
        </pc:sldMkLst>
      </pc:sldChg>
      <pc:sldMasterChg chg="modSldLayout">
        <pc:chgData name="Jenny Kurjenniemi" userId="45855882-34ab-471a-89ec-eb9e2f56cbe8" providerId="ADAL" clId="{E6F4BB98-3518-4F2B-848C-900D845A2BDF}" dt="2026-03-25T17:43:05.800" v="9540" actId="1076"/>
        <pc:sldMasterMkLst>
          <pc:docMk/>
          <pc:sldMasterMk cId="288357473" sldId="2147483825"/>
        </pc:sldMasterMkLst>
        <pc:sldLayoutChg chg="modSp mod">
          <pc:chgData name="Jenny Kurjenniemi" userId="45855882-34ab-471a-89ec-eb9e2f56cbe8" providerId="ADAL" clId="{E6F4BB98-3518-4F2B-848C-900D845A2BDF}" dt="2026-03-25T17:43:05.800" v="9540" actId="1076"/>
          <pc:sldLayoutMkLst>
            <pc:docMk/>
            <pc:sldMasterMk cId="288357473" sldId="2147483825"/>
            <pc:sldLayoutMk cId="4055740924" sldId="2147483831"/>
          </pc:sldLayoutMkLst>
          <pc:spChg chg="mod">
            <ac:chgData name="Jenny Kurjenniemi" userId="45855882-34ab-471a-89ec-eb9e2f56cbe8" providerId="ADAL" clId="{E6F4BB98-3518-4F2B-848C-900D845A2BDF}" dt="2026-03-25T17:43:05.800" v="9540" actId="1076"/>
            <ac:spMkLst>
              <pc:docMk/>
              <pc:sldMasterMk cId="288357473" sldId="2147483825"/>
              <pc:sldLayoutMk cId="4055740924" sldId="2147483831"/>
              <ac:spMk id="3" creationId="{6D3E03D0-8025-60A0-66DA-0F449AA82AB7}"/>
            </ac:spMkLst>
          </pc:spChg>
        </pc:sldLayoutChg>
      </pc:sldMasterChg>
      <pc:sldMasterChg chg="delSldLayout">
        <pc:chgData name="Jenny Kurjenniemi" userId="45855882-34ab-471a-89ec-eb9e2f56cbe8" providerId="ADAL" clId="{E6F4BB98-3518-4F2B-848C-900D845A2BDF}" dt="2026-03-25T17:29:19.200" v="8883" actId="2696"/>
        <pc:sldMasterMkLst>
          <pc:docMk/>
          <pc:sldMasterMk cId="2077000901" sldId="2147483839"/>
        </pc:sldMasterMkLst>
        <pc:sldLayoutChg chg="del">
          <pc:chgData name="Jenny Kurjenniemi" userId="45855882-34ab-471a-89ec-eb9e2f56cbe8" providerId="ADAL" clId="{E6F4BB98-3518-4F2B-848C-900D845A2BDF}" dt="2026-03-25T17:29:19.200" v="8883" actId="2696"/>
          <pc:sldLayoutMkLst>
            <pc:docMk/>
            <pc:sldMasterMk cId="2077000901" sldId="2147483839"/>
            <pc:sldLayoutMk cId="1143598986" sldId="2147483932"/>
          </pc:sldLayoutMkLst>
        </pc:sldLayoutChg>
      </pc:sldMasterChg>
      <pc:sldMasterChg chg="del delSldLayout">
        <pc:chgData name="Jenny Kurjenniemi" userId="45855882-34ab-471a-89ec-eb9e2f56cbe8" providerId="ADAL" clId="{E6F4BB98-3518-4F2B-848C-900D845A2BDF}" dt="2026-03-25T15:57:43.982" v="6179" actId="2696"/>
        <pc:sldMasterMkLst>
          <pc:docMk/>
          <pc:sldMasterMk cId="988297352" sldId="2147483933"/>
        </pc:sldMasterMkLst>
        <pc:sldLayoutChg chg="del">
          <pc:chgData name="Jenny Kurjenniemi" userId="45855882-34ab-471a-89ec-eb9e2f56cbe8" providerId="ADAL" clId="{E6F4BB98-3518-4F2B-848C-900D845A2BDF}" dt="2026-03-25T15:57:43.982" v="6179" actId="2696"/>
          <pc:sldLayoutMkLst>
            <pc:docMk/>
            <pc:sldMasterMk cId="988297352" sldId="2147483933"/>
            <pc:sldLayoutMk cId="1897441490" sldId="2147483934"/>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2322425102" sldId="2147483935"/>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263902286" sldId="2147483936"/>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1799680049" sldId="2147483937"/>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2995032498" sldId="2147483938"/>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3140930161" sldId="2147483939"/>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981587810" sldId="2147483940"/>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2782408171" sldId="2147483941"/>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2329875295" sldId="2147483942"/>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4030618190" sldId="2147483943"/>
          </pc:sldLayoutMkLst>
        </pc:sldLayoutChg>
        <pc:sldLayoutChg chg="del">
          <pc:chgData name="Jenny Kurjenniemi" userId="45855882-34ab-471a-89ec-eb9e2f56cbe8" providerId="ADAL" clId="{E6F4BB98-3518-4F2B-848C-900D845A2BDF}" dt="2026-03-25T15:57:43.982" v="6179" actId="2696"/>
          <pc:sldLayoutMkLst>
            <pc:docMk/>
            <pc:sldMasterMk cId="988297352" sldId="2147483933"/>
            <pc:sldLayoutMk cId="3577208896" sldId="214748394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Ty&#246;kirja2"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57150">
              <a:solidFill>
                <a:schemeClr val="bg1"/>
              </a:solidFill>
            </a:ln>
          </c:spPr>
          <c:dPt>
            <c:idx val="0"/>
            <c:bubble3D val="0"/>
            <c:spPr>
              <a:solidFill>
                <a:schemeClr val="accent1"/>
              </a:solidFill>
              <a:ln w="57150">
                <a:solidFill>
                  <a:schemeClr val="bg1"/>
                </a:solidFill>
              </a:ln>
              <a:effectLst/>
            </c:spPr>
            <c:extLst>
              <c:ext xmlns:c16="http://schemas.microsoft.com/office/drawing/2014/chart" uri="{C3380CC4-5D6E-409C-BE32-E72D297353CC}">
                <c16:uniqueId val="{00000001-204C-5343-9BD7-8467AE8CC72A}"/>
              </c:ext>
            </c:extLst>
          </c:dPt>
          <c:dPt>
            <c:idx val="1"/>
            <c:bubble3D val="0"/>
            <c:spPr>
              <a:solidFill>
                <a:schemeClr val="bg1">
                  <a:lumMod val="85000"/>
                </a:schemeClr>
              </a:solidFill>
              <a:ln w="57150">
                <a:solidFill>
                  <a:schemeClr val="bg1"/>
                </a:solidFill>
              </a:ln>
              <a:effectLst/>
            </c:spPr>
            <c:extLst>
              <c:ext xmlns:c16="http://schemas.microsoft.com/office/drawing/2014/chart" uri="{C3380CC4-5D6E-409C-BE32-E72D297353CC}">
                <c16:uniqueId val="{00000003-204C-5343-9BD7-8467AE8CC72A}"/>
              </c:ext>
            </c:extLst>
          </c:dPt>
          <c:dPt>
            <c:idx val="2"/>
            <c:bubble3D val="0"/>
            <c:spPr>
              <a:solidFill>
                <a:schemeClr val="accent3"/>
              </a:solidFill>
              <a:ln w="57150">
                <a:solidFill>
                  <a:schemeClr val="bg1"/>
                </a:solidFill>
              </a:ln>
              <a:effectLst/>
            </c:spPr>
            <c:extLst>
              <c:ext xmlns:c16="http://schemas.microsoft.com/office/drawing/2014/chart" uri="{C3380CC4-5D6E-409C-BE32-E72D297353CC}">
                <c16:uniqueId val="{00000005-204C-5343-9BD7-8467AE8CC72A}"/>
              </c:ext>
            </c:extLst>
          </c:dPt>
          <c:dPt>
            <c:idx val="3"/>
            <c:bubble3D val="0"/>
            <c:spPr>
              <a:solidFill>
                <a:schemeClr val="accent4"/>
              </a:solidFill>
              <a:ln w="57150">
                <a:solidFill>
                  <a:schemeClr val="bg1"/>
                </a:solidFill>
              </a:ln>
              <a:effectLst/>
            </c:spPr>
            <c:extLst>
              <c:ext xmlns:c16="http://schemas.microsoft.com/office/drawing/2014/chart" uri="{C3380CC4-5D6E-409C-BE32-E72D297353CC}">
                <c16:uniqueId val="{00000007-204C-5343-9BD7-8467AE8CC72A}"/>
              </c:ext>
            </c:extLst>
          </c:dPt>
          <c:cat>
            <c:strRef>
              <c:f>Sheet1!$A$2:$A$5</c:f>
              <c:strCache>
                <c:ptCount val="2"/>
                <c:pt idx="0">
                  <c:v>1st Qtr</c:v>
                </c:pt>
                <c:pt idx="1">
                  <c:v>2nd Qtr</c:v>
                </c:pt>
              </c:strCache>
            </c:strRef>
          </c:cat>
          <c:val>
            <c:numRef>
              <c:f>Sheet1!$B$2:$B$5</c:f>
              <c:numCache>
                <c:formatCode>General</c:formatCode>
                <c:ptCount val="4"/>
                <c:pt idx="0">
                  <c:v>40</c:v>
                </c:pt>
                <c:pt idx="1">
                  <c:v>15</c:v>
                </c:pt>
              </c:numCache>
            </c:numRef>
          </c:val>
          <c:extLst>
            <c:ext xmlns:c16="http://schemas.microsoft.com/office/drawing/2014/chart" uri="{C3380CC4-5D6E-409C-BE32-E72D297353CC}">
              <c16:uniqueId val="{00000008-204C-5343-9BD7-8467AE8CC72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57150">
              <a:solidFill>
                <a:schemeClr val="bg1"/>
              </a:solidFill>
            </a:ln>
          </c:spPr>
          <c:dPt>
            <c:idx val="0"/>
            <c:bubble3D val="0"/>
            <c:spPr>
              <a:solidFill>
                <a:schemeClr val="tx2"/>
              </a:solidFill>
              <a:ln w="57150">
                <a:solidFill>
                  <a:schemeClr val="bg1"/>
                </a:solidFill>
              </a:ln>
              <a:effectLst/>
            </c:spPr>
            <c:extLst>
              <c:ext xmlns:c16="http://schemas.microsoft.com/office/drawing/2014/chart" uri="{C3380CC4-5D6E-409C-BE32-E72D297353CC}">
                <c16:uniqueId val="{00000001-CC32-0B48-BD6D-99F9AE354DC6}"/>
              </c:ext>
            </c:extLst>
          </c:dPt>
          <c:dPt>
            <c:idx val="1"/>
            <c:bubble3D val="0"/>
            <c:spPr>
              <a:solidFill>
                <a:schemeClr val="bg1">
                  <a:lumMod val="85000"/>
                </a:schemeClr>
              </a:solidFill>
              <a:ln w="57150">
                <a:solidFill>
                  <a:schemeClr val="bg1"/>
                </a:solidFill>
              </a:ln>
              <a:effectLst/>
            </c:spPr>
            <c:extLst>
              <c:ext xmlns:c16="http://schemas.microsoft.com/office/drawing/2014/chart" uri="{C3380CC4-5D6E-409C-BE32-E72D297353CC}">
                <c16:uniqueId val="{00000003-CC32-0B48-BD6D-99F9AE354DC6}"/>
              </c:ext>
            </c:extLst>
          </c:dPt>
          <c:dPt>
            <c:idx val="2"/>
            <c:bubble3D val="0"/>
            <c:spPr>
              <a:solidFill>
                <a:schemeClr val="accent3"/>
              </a:solidFill>
              <a:ln w="57150">
                <a:solidFill>
                  <a:schemeClr val="bg1"/>
                </a:solidFill>
              </a:ln>
              <a:effectLst/>
            </c:spPr>
            <c:extLst>
              <c:ext xmlns:c16="http://schemas.microsoft.com/office/drawing/2014/chart" uri="{C3380CC4-5D6E-409C-BE32-E72D297353CC}">
                <c16:uniqueId val="{00000005-CC32-0B48-BD6D-99F9AE354DC6}"/>
              </c:ext>
            </c:extLst>
          </c:dPt>
          <c:dPt>
            <c:idx val="3"/>
            <c:bubble3D val="0"/>
            <c:spPr>
              <a:solidFill>
                <a:schemeClr val="accent4"/>
              </a:solidFill>
              <a:ln w="57150">
                <a:solidFill>
                  <a:schemeClr val="bg1"/>
                </a:solidFill>
              </a:ln>
              <a:effectLst/>
            </c:spPr>
            <c:extLst>
              <c:ext xmlns:c16="http://schemas.microsoft.com/office/drawing/2014/chart" uri="{C3380CC4-5D6E-409C-BE32-E72D297353CC}">
                <c16:uniqueId val="{00000007-CC32-0B48-BD6D-99F9AE354DC6}"/>
              </c:ext>
            </c:extLst>
          </c:dPt>
          <c:cat>
            <c:strRef>
              <c:f>Sheet1!$A$2:$A$5</c:f>
              <c:strCache>
                <c:ptCount val="1"/>
                <c:pt idx="0">
                  <c:v>1st Qtr</c:v>
                </c:pt>
              </c:strCache>
            </c:strRef>
          </c:cat>
          <c:val>
            <c:numRef>
              <c:f>Sheet1!$B$2:$B$5</c:f>
              <c:numCache>
                <c:formatCode>General</c:formatCode>
                <c:ptCount val="4"/>
                <c:pt idx="0">
                  <c:v>20</c:v>
                </c:pt>
                <c:pt idx="1">
                  <c:v>10</c:v>
                </c:pt>
              </c:numCache>
            </c:numRef>
          </c:val>
          <c:extLst>
            <c:ext xmlns:c16="http://schemas.microsoft.com/office/drawing/2014/chart" uri="{C3380CC4-5D6E-409C-BE32-E72D297353CC}">
              <c16:uniqueId val="{00000008-CC32-0B48-BD6D-99F9AE354DC6}"/>
            </c:ext>
          </c:extLst>
        </c:ser>
        <c:dLbls>
          <c:showLegendKey val="0"/>
          <c:showVal val="0"/>
          <c:showCatName val="0"/>
          <c:showSerName val="0"/>
          <c:showPercent val="0"/>
          <c:showBubbleSize val="0"/>
          <c:showLeaderLines val="1"/>
        </c:dLbls>
        <c:firstSliceAng val="121"/>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57150">
              <a:solidFill>
                <a:schemeClr val="bg1"/>
              </a:solidFill>
            </a:ln>
          </c:spPr>
          <c:dPt>
            <c:idx val="0"/>
            <c:bubble3D val="0"/>
            <c:spPr>
              <a:solidFill>
                <a:schemeClr val="accent2"/>
              </a:solidFill>
              <a:ln w="57150">
                <a:solidFill>
                  <a:schemeClr val="bg1"/>
                </a:solidFill>
              </a:ln>
              <a:effectLst/>
            </c:spPr>
            <c:extLst>
              <c:ext xmlns:c16="http://schemas.microsoft.com/office/drawing/2014/chart" uri="{C3380CC4-5D6E-409C-BE32-E72D297353CC}">
                <c16:uniqueId val="{00000001-64E6-0942-9BE6-1F8D1E0481F9}"/>
              </c:ext>
            </c:extLst>
          </c:dPt>
          <c:dPt>
            <c:idx val="1"/>
            <c:bubble3D val="0"/>
            <c:spPr>
              <a:solidFill>
                <a:schemeClr val="bg1">
                  <a:lumMod val="85000"/>
                </a:schemeClr>
              </a:solidFill>
              <a:ln w="57150">
                <a:solidFill>
                  <a:schemeClr val="bg1"/>
                </a:solidFill>
              </a:ln>
              <a:effectLst/>
            </c:spPr>
            <c:extLst>
              <c:ext xmlns:c16="http://schemas.microsoft.com/office/drawing/2014/chart" uri="{C3380CC4-5D6E-409C-BE32-E72D297353CC}">
                <c16:uniqueId val="{00000003-64E6-0942-9BE6-1F8D1E0481F9}"/>
              </c:ext>
            </c:extLst>
          </c:dPt>
          <c:dPt>
            <c:idx val="2"/>
            <c:bubble3D val="0"/>
            <c:spPr>
              <a:solidFill>
                <a:schemeClr val="accent3"/>
              </a:solidFill>
              <a:ln w="57150">
                <a:solidFill>
                  <a:schemeClr val="bg1"/>
                </a:solidFill>
              </a:ln>
              <a:effectLst/>
            </c:spPr>
            <c:extLst>
              <c:ext xmlns:c16="http://schemas.microsoft.com/office/drawing/2014/chart" uri="{C3380CC4-5D6E-409C-BE32-E72D297353CC}">
                <c16:uniqueId val="{00000005-64E6-0942-9BE6-1F8D1E0481F9}"/>
              </c:ext>
            </c:extLst>
          </c:dPt>
          <c:dPt>
            <c:idx val="3"/>
            <c:bubble3D val="0"/>
            <c:spPr>
              <a:solidFill>
                <a:schemeClr val="accent4"/>
              </a:solidFill>
              <a:ln w="57150">
                <a:solidFill>
                  <a:schemeClr val="bg1"/>
                </a:solidFill>
              </a:ln>
              <a:effectLst/>
            </c:spPr>
            <c:extLst>
              <c:ext xmlns:c16="http://schemas.microsoft.com/office/drawing/2014/chart" uri="{C3380CC4-5D6E-409C-BE32-E72D297353CC}">
                <c16:uniqueId val="{00000007-64E6-0942-9BE6-1F8D1E0481F9}"/>
              </c:ext>
            </c:extLst>
          </c:dPt>
          <c:cat>
            <c:strRef>
              <c:f>Sheet1!$A$2:$A$5</c:f>
              <c:strCache>
                <c:ptCount val="2"/>
                <c:pt idx="0">
                  <c:v>1st Qtr</c:v>
                </c:pt>
                <c:pt idx="1">
                  <c:v>2nd Qtr</c:v>
                </c:pt>
              </c:strCache>
            </c:strRef>
          </c:cat>
          <c:val>
            <c:numRef>
              <c:f>Sheet1!$B$2:$B$5</c:f>
              <c:numCache>
                <c:formatCode>General</c:formatCode>
                <c:ptCount val="4"/>
                <c:pt idx="0">
                  <c:v>40</c:v>
                </c:pt>
                <c:pt idx="1">
                  <c:v>10</c:v>
                </c:pt>
              </c:numCache>
            </c:numRef>
          </c:val>
          <c:extLst>
            <c:ext xmlns:c16="http://schemas.microsoft.com/office/drawing/2014/chart" uri="{C3380CC4-5D6E-409C-BE32-E72D297353CC}">
              <c16:uniqueId val="{00000008-64E6-0942-9BE6-1F8D1E0481F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57150">
              <a:solidFill>
                <a:schemeClr val="bg1"/>
              </a:solidFill>
            </a:ln>
          </c:spPr>
          <c:dPt>
            <c:idx val="0"/>
            <c:bubble3D val="0"/>
            <c:spPr>
              <a:solidFill>
                <a:schemeClr val="accent3"/>
              </a:solidFill>
              <a:ln w="57150">
                <a:solidFill>
                  <a:schemeClr val="bg1"/>
                </a:solidFill>
              </a:ln>
              <a:effectLst/>
            </c:spPr>
            <c:extLst>
              <c:ext xmlns:c16="http://schemas.microsoft.com/office/drawing/2014/chart" uri="{C3380CC4-5D6E-409C-BE32-E72D297353CC}">
                <c16:uniqueId val="{00000001-A77F-2344-8019-DC7E1DEC12A3}"/>
              </c:ext>
            </c:extLst>
          </c:dPt>
          <c:dPt>
            <c:idx val="1"/>
            <c:bubble3D val="0"/>
            <c:spPr>
              <a:solidFill>
                <a:schemeClr val="bg1">
                  <a:lumMod val="85000"/>
                </a:schemeClr>
              </a:solidFill>
              <a:ln w="57150">
                <a:solidFill>
                  <a:schemeClr val="bg1"/>
                </a:solidFill>
              </a:ln>
              <a:effectLst/>
            </c:spPr>
            <c:extLst>
              <c:ext xmlns:c16="http://schemas.microsoft.com/office/drawing/2014/chart" uri="{C3380CC4-5D6E-409C-BE32-E72D297353CC}">
                <c16:uniqueId val="{00000003-A77F-2344-8019-DC7E1DEC12A3}"/>
              </c:ext>
            </c:extLst>
          </c:dPt>
          <c:dPt>
            <c:idx val="2"/>
            <c:bubble3D val="0"/>
            <c:spPr>
              <a:solidFill>
                <a:schemeClr val="accent3"/>
              </a:solidFill>
              <a:ln w="57150">
                <a:solidFill>
                  <a:schemeClr val="bg1"/>
                </a:solidFill>
              </a:ln>
              <a:effectLst/>
            </c:spPr>
            <c:extLst>
              <c:ext xmlns:c16="http://schemas.microsoft.com/office/drawing/2014/chart" uri="{C3380CC4-5D6E-409C-BE32-E72D297353CC}">
                <c16:uniqueId val="{00000005-A77F-2344-8019-DC7E1DEC12A3}"/>
              </c:ext>
            </c:extLst>
          </c:dPt>
          <c:dPt>
            <c:idx val="3"/>
            <c:bubble3D val="0"/>
            <c:spPr>
              <a:solidFill>
                <a:schemeClr val="accent4"/>
              </a:solidFill>
              <a:ln w="57150">
                <a:solidFill>
                  <a:schemeClr val="bg1"/>
                </a:solidFill>
              </a:ln>
              <a:effectLst/>
            </c:spPr>
            <c:extLst>
              <c:ext xmlns:c16="http://schemas.microsoft.com/office/drawing/2014/chart" uri="{C3380CC4-5D6E-409C-BE32-E72D297353CC}">
                <c16:uniqueId val="{00000007-A77F-2344-8019-DC7E1DEC12A3}"/>
              </c:ext>
            </c:extLst>
          </c:dPt>
          <c:cat>
            <c:strRef>
              <c:f>Sheet1!$A$2:$A$5</c:f>
              <c:strCache>
                <c:ptCount val="1"/>
                <c:pt idx="0">
                  <c:v>1st Qtr</c:v>
                </c:pt>
              </c:strCache>
            </c:strRef>
          </c:cat>
          <c:val>
            <c:numRef>
              <c:f>Sheet1!$B$2:$B$5</c:f>
              <c:numCache>
                <c:formatCode>General</c:formatCode>
                <c:ptCount val="4"/>
                <c:pt idx="0">
                  <c:v>60</c:v>
                </c:pt>
                <c:pt idx="1">
                  <c:v>10</c:v>
                </c:pt>
              </c:numCache>
            </c:numRef>
          </c:val>
          <c:extLst>
            <c:ext xmlns:c16="http://schemas.microsoft.com/office/drawing/2014/chart" uri="{C3380CC4-5D6E-409C-BE32-E72D297353CC}">
              <c16:uniqueId val="{00000008-A77F-2344-8019-DC7E1DEC12A3}"/>
            </c:ext>
          </c:extLst>
        </c:ser>
        <c:dLbls>
          <c:showLegendKey val="0"/>
          <c:showVal val="0"/>
          <c:showCatName val="0"/>
          <c:showSerName val="0"/>
          <c:showPercent val="0"/>
          <c:showBubbleSize val="0"/>
          <c:showLeaderLines val="1"/>
        </c:dLbls>
        <c:firstSliceAng val="121"/>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pivotSource>
    <c:name>[export_Virtu 8123 (final).xlsx]Sheet6!PivotTable11</c:name>
    <c:fmtId val="-1"/>
  </c:pivotSource>
  <c:chart>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3.3501426565294957E-2"/>
          <c:y val="3.3054597345552571E-2"/>
          <c:w val="0.95390195048382032"/>
          <c:h val="0.71029289875095269"/>
        </c:manualLayout>
      </c:layout>
      <c:barChart>
        <c:barDir val="col"/>
        <c:grouping val="clustered"/>
        <c:varyColors val="0"/>
        <c:ser>
          <c:idx val="0"/>
          <c:order val="0"/>
          <c:tx>
            <c:strRef>
              <c:f>Sheet6!$B$1</c:f>
              <c:strCache>
                <c:ptCount val="1"/>
                <c:pt idx="0">
                  <c:v>Sum of GWP new (kgCO2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6!$A$2:$A$12</c:f>
              <c:multiLvlStrCache>
                <c:ptCount val="5"/>
                <c:lvl>
                  <c:pt idx="0">
                    <c:v>Component sourcing</c:v>
                  </c:pt>
                  <c:pt idx="1">
                    <c:v>Manufacturing</c:v>
                  </c:pt>
                  <c:pt idx="2">
                    <c:v>Logistics</c:v>
                  </c:pt>
                  <c:pt idx="3">
                    <c:v>Use phase </c:v>
                  </c:pt>
                  <c:pt idx="4">
                    <c:v>End-of-Life</c:v>
                  </c:pt>
                </c:lvl>
                <c:lvl>
                  <c:pt idx="0">
                    <c:v>1.</c:v>
                  </c:pt>
                  <c:pt idx="1">
                    <c:v>2.</c:v>
                  </c:pt>
                  <c:pt idx="2">
                    <c:v>3.</c:v>
                  </c:pt>
                  <c:pt idx="3">
                    <c:v>4.</c:v>
                  </c:pt>
                  <c:pt idx="4">
                    <c:v>5.</c:v>
                  </c:pt>
                </c:lvl>
              </c:multiLvlStrCache>
            </c:multiLvlStrRef>
          </c:cat>
          <c:val>
            <c:numRef>
              <c:f>Sheet6!$B$2:$B$12</c:f>
              <c:numCache>
                <c:formatCode>General</c:formatCode>
                <c:ptCount val="5"/>
                <c:pt idx="0">
                  <c:v>150.24</c:v>
                </c:pt>
                <c:pt idx="1">
                  <c:v>46</c:v>
                </c:pt>
                <c:pt idx="2">
                  <c:v>7</c:v>
                </c:pt>
                <c:pt idx="3">
                  <c:v>769</c:v>
                </c:pt>
                <c:pt idx="4">
                  <c:v>43</c:v>
                </c:pt>
              </c:numCache>
            </c:numRef>
          </c:val>
          <c:extLst>
            <c:ext xmlns:c16="http://schemas.microsoft.com/office/drawing/2014/chart" uri="{C3380CC4-5D6E-409C-BE32-E72D297353CC}">
              <c16:uniqueId val="{00000000-0F80-5A4A-9319-F5EC6F74520E}"/>
            </c:ext>
          </c:extLst>
        </c:ser>
        <c:ser>
          <c:idx val="1"/>
          <c:order val="1"/>
          <c:tx>
            <c:strRef>
              <c:f>Sheet6!$C$1</c:f>
              <c:strCache>
                <c:ptCount val="1"/>
                <c:pt idx="0">
                  <c:v>Sum of GWP ref (kgCO2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6!$A$2:$A$12</c:f>
              <c:multiLvlStrCache>
                <c:ptCount val="5"/>
                <c:lvl>
                  <c:pt idx="0">
                    <c:v>Component sourcing</c:v>
                  </c:pt>
                  <c:pt idx="1">
                    <c:v>Manufacturing</c:v>
                  </c:pt>
                  <c:pt idx="2">
                    <c:v>Logistics</c:v>
                  </c:pt>
                  <c:pt idx="3">
                    <c:v>Use phase </c:v>
                  </c:pt>
                  <c:pt idx="4">
                    <c:v>End-of-Life</c:v>
                  </c:pt>
                </c:lvl>
                <c:lvl>
                  <c:pt idx="0">
                    <c:v>1.</c:v>
                  </c:pt>
                  <c:pt idx="1">
                    <c:v>2.</c:v>
                  </c:pt>
                  <c:pt idx="2">
                    <c:v>3.</c:v>
                  </c:pt>
                  <c:pt idx="3">
                    <c:v>4.</c:v>
                  </c:pt>
                  <c:pt idx="4">
                    <c:v>5.</c:v>
                  </c:pt>
                </c:lvl>
              </c:multiLvlStrCache>
            </c:multiLvlStrRef>
          </c:cat>
          <c:val>
            <c:numRef>
              <c:f>Sheet6!$C$2:$C$12</c:f>
              <c:numCache>
                <c:formatCode>General</c:formatCode>
                <c:ptCount val="5"/>
                <c:pt idx="0">
                  <c:v>3.82</c:v>
                </c:pt>
                <c:pt idx="1">
                  <c:v>3.11</c:v>
                </c:pt>
                <c:pt idx="2">
                  <c:v>0.36</c:v>
                </c:pt>
                <c:pt idx="3">
                  <c:v>773.39</c:v>
                </c:pt>
                <c:pt idx="4">
                  <c:v>44.52</c:v>
                </c:pt>
              </c:numCache>
            </c:numRef>
          </c:val>
          <c:extLst>
            <c:ext xmlns:c16="http://schemas.microsoft.com/office/drawing/2014/chart" uri="{C3380CC4-5D6E-409C-BE32-E72D297353CC}">
              <c16:uniqueId val="{00000001-0F80-5A4A-9319-F5EC6F74520E}"/>
            </c:ext>
          </c:extLst>
        </c:ser>
        <c:dLbls>
          <c:showLegendKey val="0"/>
          <c:showVal val="0"/>
          <c:showCatName val="0"/>
          <c:showSerName val="0"/>
          <c:showPercent val="0"/>
          <c:showBubbleSize val="0"/>
        </c:dLbls>
        <c:gapWidth val="0"/>
        <c:axId val="1972180031"/>
        <c:axId val="1625362511"/>
      </c:barChart>
      <c:catAx>
        <c:axId val="197218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fi-FI"/>
          </a:p>
        </c:txPr>
        <c:crossAx val="1625362511"/>
        <c:crosses val="autoZero"/>
        <c:auto val="1"/>
        <c:lblAlgn val="ctr"/>
        <c:lblOffset val="100"/>
        <c:noMultiLvlLbl val="0"/>
      </c:catAx>
      <c:valAx>
        <c:axId val="1625362511"/>
        <c:scaling>
          <c:orientation val="minMax"/>
          <c:max val="8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fi-FI"/>
          </a:p>
        </c:txPr>
        <c:crossAx val="1972180031"/>
        <c:crosses val="autoZero"/>
        <c:crossBetween val="between"/>
      </c:valAx>
      <c:spPr>
        <a:noFill/>
        <a:ln>
          <a:noFill/>
        </a:ln>
        <a:effectLst/>
      </c:spPr>
    </c:plotArea>
    <c:legend>
      <c:legendPos val="b"/>
      <c:layout>
        <c:manualLayout>
          <c:xMode val="edge"/>
          <c:yMode val="edge"/>
          <c:x val="0.8127642292697187"/>
          <c:y val="0.88596305882558923"/>
          <c:w val="0.18065541031718424"/>
          <c:h val="8.699227061895857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fi-FI"/>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fi-FI"/>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Kierrätetyn</a:t>
            </a:r>
            <a:r>
              <a:rPr lang="en-US" dirty="0"/>
              <a:t> </a:t>
            </a:r>
            <a:r>
              <a:rPr lang="en-US" dirty="0" err="1"/>
              <a:t>laiteen</a:t>
            </a:r>
            <a:r>
              <a:rPr lang="en-US" baseline="0" dirty="0"/>
              <a:t> </a:t>
            </a:r>
            <a:r>
              <a:rPr lang="en-US" baseline="0" dirty="0" err="1"/>
              <a:t>elinkaaren</a:t>
            </a:r>
            <a:r>
              <a:rPr lang="en-US" baseline="0" dirty="0"/>
              <a:t> </a:t>
            </a:r>
            <a:r>
              <a:rPr lang="en-US" baseline="0" dirty="0" err="1"/>
              <a:t>aikaisen</a:t>
            </a:r>
            <a:r>
              <a:rPr lang="en-US" baseline="0" dirty="0"/>
              <a:t> </a:t>
            </a:r>
            <a:r>
              <a:rPr lang="en-US" dirty="0"/>
              <a:t>CO2 e</a:t>
            </a:r>
            <a:r>
              <a:rPr lang="en-US" baseline="0" dirty="0"/>
              <a:t>-kg </a:t>
            </a:r>
            <a:r>
              <a:rPr lang="en-US" baseline="0" dirty="0" err="1"/>
              <a:t>päästöjen</a:t>
            </a:r>
            <a:r>
              <a:rPr lang="en-US" baseline="0" dirty="0"/>
              <a:t> </a:t>
            </a:r>
            <a:r>
              <a:rPr lang="en-US" baseline="0" dirty="0" err="1"/>
              <a:t>jakauma</a:t>
            </a:r>
            <a:r>
              <a:rPr lang="en-US" baseline="0" dirty="0"/>
              <a:t>-</a:t>
            </a:r>
            <a:r>
              <a:rPr lang="en-US" dirty="0"/>
              <a:t>%</a:t>
            </a:r>
          </a:p>
        </c:rich>
      </c:tx>
      <c:layout>
        <c:manualLayout>
          <c:xMode val="edge"/>
          <c:yMode val="edge"/>
          <c:x val="0"/>
          <c:y val="6.2089740208215744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pieChart>
        <c:varyColors val="1"/>
        <c:ser>
          <c:idx val="0"/>
          <c:order val="0"/>
          <c:tx>
            <c:strRef>
              <c:f>'Laite co2'!$D$10</c:f>
              <c:strCache>
                <c:ptCount val="1"/>
                <c:pt idx="0">
                  <c:v>Lifecycle 2 lives (kgCO2e) %</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5EAD-4B59-A310-8C3F2D9889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EAD-4B59-A310-8C3F2D9889D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EAD-4B59-A310-8C3F2D9889D5}"/>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i-FI"/>
                </a:p>
              </c:txPr>
              <c:showLegendKey val="0"/>
              <c:showVal val="1"/>
              <c:showCatName val="0"/>
              <c:showSerName val="0"/>
              <c:showPercent val="0"/>
              <c:showBubbleSize val="0"/>
              <c:extLst>
                <c:ext xmlns:c16="http://schemas.microsoft.com/office/drawing/2014/chart" uri="{C3380CC4-5D6E-409C-BE32-E72D297353CC}">
                  <c16:uniqueId val="{00000001-5EAD-4B59-A310-8C3F2D9889D5}"/>
                </c:ext>
              </c:extLst>
            </c:dLbl>
            <c:dLbl>
              <c:idx val="1"/>
              <c:layout>
                <c:manualLayout>
                  <c:x val="7.0045216215722461E-2"/>
                  <c:y val="-0.267690870339266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EAD-4B59-A310-8C3F2D9889D5}"/>
                </c:ext>
              </c:extLst>
            </c:dLbl>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i-FI"/>
                </a:p>
              </c:txPr>
              <c:showLegendKey val="0"/>
              <c:showVal val="1"/>
              <c:showCatName val="0"/>
              <c:showSerName val="0"/>
              <c:showPercent val="0"/>
              <c:showBubbleSize val="0"/>
              <c:extLst>
                <c:ext xmlns:c16="http://schemas.microsoft.com/office/drawing/2014/chart" uri="{C3380CC4-5D6E-409C-BE32-E72D297353CC}">
                  <c16:uniqueId val="{00000005-5EAD-4B59-A310-8C3F2D9889D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aite co2'!$B$11:$B$13</c:f>
              <c:strCache>
                <c:ptCount val="3"/>
                <c:pt idx="0">
                  <c:v>1. Valmistus</c:v>
                </c:pt>
                <c:pt idx="1">
                  <c:v>2. Käyttövaihe</c:v>
                </c:pt>
                <c:pt idx="2">
                  <c:v>3. Elinkaaren loppu</c:v>
                </c:pt>
              </c:strCache>
            </c:strRef>
          </c:cat>
          <c:val>
            <c:numRef>
              <c:f>'Laite co2'!$D$11:$D$13</c:f>
              <c:numCache>
                <c:formatCode>0%</c:formatCode>
                <c:ptCount val="3"/>
                <c:pt idx="0">
                  <c:v>0.12916664110288301</c:v>
                </c:pt>
                <c:pt idx="1">
                  <c:v>0.94630378364449574</c:v>
                </c:pt>
                <c:pt idx="2">
                  <c:v>5.3696216355504305E-2</c:v>
                </c:pt>
              </c:numCache>
            </c:numRef>
          </c:val>
          <c:extLst>
            <c:ext xmlns:c16="http://schemas.microsoft.com/office/drawing/2014/chart" uri="{C3380CC4-5D6E-409C-BE32-E72D297353CC}">
              <c16:uniqueId val="{00000006-5EAD-4B59-A310-8C3F2D9889D5}"/>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5778961214534959"/>
          <c:y val="0.37119886732669199"/>
          <c:w val="0.32828927416555531"/>
          <c:h val="0.3855068857277443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CC4D20-120F-4066-957A-2FAFFC3DF5C2}" type="doc">
      <dgm:prSet loTypeId="urn:microsoft.com/office/officeart/2011/layout/CircleProcess" loCatId="process" qsTypeId="urn:microsoft.com/office/officeart/2005/8/quickstyle/simple1" qsCatId="simple" csTypeId="urn:microsoft.com/office/officeart/2005/8/colors/colorful1" csCatId="colorful" phldr="1"/>
      <dgm:spPr/>
      <dgm:t>
        <a:bodyPr/>
        <a:lstStyle/>
        <a:p>
          <a:endParaRPr lang="LID4096"/>
        </a:p>
      </dgm:t>
    </dgm:pt>
    <dgm:pt modelId="{6D59EEDA-CF66-4796-AB3B-2787B6F4180D}">
      <dgm:prSet phldrT="[Text]" custT="1"/>
      <dgm:spPr/>
      <dgm:t>
        <a:bodyPr/>
        <a:lstStyle/>
        <a:p>
          <a:r>
            <a:rPr lang="fi-FI" sz="1200"/>
            <a:t>2. </a:t>
          </a:r>
        </a:p>
        <a:p>
          <a:r>
            <a:rPr lang="fi-FI" sz="1200"/>
            <a:t>Kalkinpoisto</a:t>
          </a:r>
          <a:endParaRPr lang="LID4096" sz="1200"/>
        </a:p>
      </dgm:t>
    </dgm:pt>
    <dgm:pt modelId="{1CDA0206-C06E-49A7-B1F7-901DCFA2AB6B}" type="parTrans" cxnId="{C93F1054-0595-4E02-8D81-082CB5632EDA}">
      <dgm:prSet/>
      <dgm:spPr/>
      <dgm:t>
        <a:bodyPr/>
        <a:lstStyle/>
        <a:p>
          <a:endParaRPr lang="LID4096"/>
        </a:p>
      </dgm:t>
    </dgm:pt>
    <dgm:pt modelId="{47A119A1-F462-4774-BE45-AD524E998AC6}" type="sibTrans" cxnId="{C93F1054-0595-4E02-8D81-082CB5632EDA}">
      <dgm:prSet/>
      <dgm:spPr/>
      <dgm:t>
        <a:bodyPr/>
        <a:lstStyle/>
        <a:p>
          <a:endParaRPr lang="LID4096"/>
        </a:p>
      </dgm:t>
    </dgm:pt>
    <dgm:pt modelId="{157864BC-7DFA-4B14-93FD-33BFB2CBB4A3}">
      <dgm:prSet phldrT="[Text]" custT="1"/>
      <dgm:spPr/>
      <dgm:t>
        <a:bodyPr/>
        <a:lstStyle/>
        <a:p>
          <a:r>
            <a:rPr lang="fi-FI" sz="1200"/>
            <a:t>3. </a:t>
          </a:r>
        </a:p>
        <a:p>
          <a:r>
            <a:rPr lang="fi-FI" sz="1200"/>
            <a:t>Laitteen</a:t>
          </a:r>
        </a:p>
        <a:p>
          <a:r>
            <a:rPr lang="fi-FI" sz="1200"/>
            <a:t> purku</a:t>
          </a:r>
          <a:endParaRPr lang="LID4096" sz="1200"/>
        </a:p>
      </dgm:t>
    </dgm:pt>
    <dgm:pt modelId="{E2E14B58-AA3D-40AE-9F59-0CA13B8306B7}" type="parTrans" cxnId="{69625A0F-A9B5-4731-9CC7-54BD708B1A90}">
      <dgm:prSet/>
      <dgm:spPr/>
      <dgm:t>
        <a:bodyPr/>
        <a:lstStyle/>
        <a:p>
          <a:endParaRPr lang="LID4096"/>
        </a:p>
      </dgm:t>
    </dgm:pt>
    <dgm:pt modelId="{FC50196F-896B-4461-BF95-0A9E3CDC492A}" type="sibTrans" cxnId="{69625A0F-A9B5-4731-9CC7-54BD708B1A90}">
      <dgm:prSet/>
      <dgm:spPr/>
      <dgm:t>
        <a:bodyPr/>
        <a:lstStyle/>
        <a:p>
          <a:endParaRPr lang="LID4096"/>
        </a:p>
      </dgm:t>
    </dgm:pt>
    <dgm:pt modelId="{1FB0A179-F708-46CC-B39E-7CA5E46048DD}">
      <dgm:prSet phldrT="[Text]"/>
      <dgm:spPr/>
      <dgm:t>
        <a:bodyPr/>
        <a:lstStyle/>
        <a:p>
          <a:r>
            <a:rPr lang="fi-FI"/>
            <a:t>Valmis käyttöön</a:t>
          </a:r>
          <a:endParaRPr lang="LID4096"/>
        </a:p>
      </dgm:t>
    </dgm:pt>
    <dgm:pt modelId="{D6DF9565-7462-435D-ADFA-F1066287C1DE}" type="parTrans" cxnId="{D8534BA8-CA9B-42A0-BD34-42663AC6DBBA}">
      <dgm:prSet/>
      <dgm:spPr/>
      <dgm:t>
        <a:bodyPr/>
        <a:lstStyle/>
        <a:p>
          <a:endParaRPr lang="LID4096"/>
        </a:p>
      </dgm:t>
    </dgm:pt>
    <dgm:pt modelId="{32FC8649-B72E-4EA0-A923-AF1F7AC03400}" type="sibTrans" cxnId="{D8534BA8-CA9B-42A0-BD34-42663AC6DBBA}">
      <dgm:prSet/>
      <dgm:spPr/>
      <dgm:t>
        <a:bodyPr/>
        <a:lstStyle/>
        <a:p>
          <a:endParaRPr lang="LID4096"/>
        </a:p>
      </dgm:t>
    </dgm:pt>
    <dgm:pt modelId="{4B589EF7-CADD-4548-BA4C-064D1B21D216}">
      <dgm:prSet custT="1"/>
      <dgm:spPr/>
      <dgm:t>
        <a:bodyPr/>
        <a:lstStyle/>
        <a:p>
          <a:r>
            <a:rPr lang="fi-FI" sz="1200" dirty="0"/>
            <a:t>4. </a:t>
          </a:r>
        </a:p>
        <a:p>
          <a:r>
            <a:rPr lang="fi-FI" sz="1200" dirty="0"/>
            <a:t>Osat pestään ja käydään läpi</a:t>
          </a:r>
          <a:endParaRPr lang="LID4096" sz="1200" dirty="0"/>
        </a:p>
      </dgm:t>
    </dgm:pt>
    <dgm:pt modelId="{A9A228FB-FC46-42CB-8976-8B44D17485FD}" type="parTrans" cxnId="{4C0CCF14-7A39-4B60-8AD8-2C9D51AF51D7}">
      <dgm:prSet/>
      <dgm:spPr/>
      <dgm:t>
        <a:bodyPr/>
        <a:lstStyle/>
        <a:p>
          <a:endParaRPr lang="LID4096"/>
        </a:p>
      </dgm:t>
    </dgm:pt>
    <dgm:pt modelId="{B68DC085-24E8-49EB-8FF6-14505279A252}" type="sibTrans" cxnId="{4C0CCF14-7A39-4B60-8AD8-2C9D51AF51D7}">
      <dgm:prSet/>
      <dgm:spPr/>
      <dgm:t>
        <a:bodyPr/>
        <a:lstStyle/>
        <a:p>
          <a:endParaRPr lang="LID4096"/>
        </a:p>
      </dgm:t>
    </dgm:pt>
    <dgm:pt modelId="{A354129C-A4CB-4BF1-AF4B-87767A7E5882}">
      <dgm:prSet custT="1"/>
      <dgm:spPr/>
      <dgm:t>
        <a:bodyPr/>
        <a:lstStyle/>
        <a:p>
          <a:r>
            <a:rPr lang="fi-FI" sz="1200"/>
            <a:t>6. </a:t>
          </a:r>
        </a:p>
        <a:p>
          <a:r>
            <a:rPr lang="fi-FI" sz="1200"/>
            <a:t>Toiminta-varmuuden tarkistaminen </a:t>
          </a:r>
          <a:endParaRPr lang="LID4096" sz="1200"/>
        </a:p>
      </dgm:t>
    </dgm:pt>
    <dgm:pt modelId="{38CB157B-6A20-423B-807B-E82A5FD85526}" type="parTrans" cxnId="{4216E6C5-1AB6-483F-A2A7-C5E9048BA055}">
      <dgm:prSet/>
      <dgm:spPr/>
      <dgm:t>
        <a:bodyPr/>
        <a:lstStyle/>
        <a:p>
          <a:endParaRPr lang="LID4096"/>
        </a:p>
      </dgm:t>
    </dgm:pt>
    <dgm:pt modelId="{94EA280F-4308-4870-B8B0-33E3118ACA40}" type="sibTrans" cxnId="{4216E6C5-1AB6-483F-A2A7-C5E9048BA055}">
      <dgm:prSet/>
      <dgm:spPr/>
      <dgm:t>
        <a:bodyPr/>
        <a:lstStyle/>
        <a:p>
          <a:endParaRPr lang="LID4096"/>
        </a:p>
      </dgm:t>
    </dgm:pt>
    <dgm:pt modelId="{07DEFECA-3528-45B1-B56E-A7586DC04F16}">
      <dgm:prSet custT="1"/>
      <dgm:spPr/>
      <dgm:t>
        <a:bodyPr/>
        <a:lstStyle/>
        <a:p>
          <a:r>
            <a:rPr lang="fi-FI" sz="1200"/>
            <a:t>5.</a:t>
          </a:r>
        </a:p>
        <a:p>
          <a:r>
            <a:rPr lang="fi-FI" sz="1200"/>
            <a:t>Uudelleen kasaaminen</a:t>
          </a:r>
        </a:p>
      </dgm:t>
    </dgm:pt>
    <dgm:pt modelId="{577E0697-FE27-498A-965D-7D639C1377F9}" type="parTrans" cxnId="{3B2C04D0-8AAC-47AA-AAFE-A899892D74A0}">
      <dgm:prSet/>
      <dgm:spPr/>
      <dgm:t>
        <a:bodyPr/>
        <a:lstStyle/>
        <a:p>
          <a:endParaRPr lang="LID4096"/>
        </a:p>
      </dgm:t>
    </dgm:pt>
    <dgm:pt modelId="{A0557488-1E91-4AF3-9F5B-F619FEB22B72}" type="sibTrans" cxnId="{3B2C04D0-8AAC-47AA-AAFE-A899892D74A0}">
      <dgm:prSet/>
      <dgm:spPr/>
      <dgm:t>
        <a:bodyPr/>
        <a:lstStyle/>
        <a:p>
          <a:endParaRPr lang="LID4096"/>
        </a:p>
      </dgm:t>
    </dgm:pt>
    <dgm:pt modelId="{C135C35F-0CCD-4D80-8A73-8105B0EECF46}">
      <dgm:prSet custT="1"/>
      <dgm:spPr/>
      <dgm:t>
        <a:bodyPr/>
        <a:lstStyle/>
        <a:p>
          <a:r>
            <a:rPr lang="fi-FI" sz="1200"/>
            <a:t>1. </a:t>
          </a:r>
        </a:p>
        <a:p>
          <a:r>
            <a:rPr lang="fi-FI" sz="1200"/>
            <a:t>Kunnostus-arviointi</a:t>
          </a:r>
          <a:endParaRPr lang="LID4096" sz="1200"/>
        </a:p>
      </dgm:t>
    </dgm:pt>
    <dgm:pt modelId="{03C8C4FD-CB48-4843-B74F-C89FE0896081}" type="parTrans" cxnId="{6D7502E7-02B2-49B1-B2E2-4C5702BDB65C}">
      <dgm:prSet/>
      <dgm:spPr/>
      <dgm:t>
        <a:bodyPr/>
        <a:lstStyle/>
        <a:p>
          <a:endParaRPr lang="LID4096"/>
        </a:p>
      </dgm:t>
    </dgm:pt>
    <dgm:pt modelId="{69532E34-78C3-4728-B9FC-C4D502FC9C9D}" type="sibTrans" cxnId="{6D7502E7-02B2-49B1-B2E2-4C5702BDB65C}">
      <dgm:prSet/>
      <dgm:spPr/>
      <dgm:t>
        <a:bodyPr/>
        <a:lstStyle/>
        <a:p>
          <a:endParaRPr lang="LID4096"/>
        </a:p>
      </dgm:t>
    </dgm:pt>
    <dgm:pt modelId="{F35DC94F-0617-48DD-978C-BE9746A0843E}" type="pres">
      <dgm:prSet presAssocID="{DDCC4D20-120F-4066-957A-2FAFFC3DF5C2}" presName="Name0" presStyleCnt="0">
        <dgm:presLayoutVars>
          <dgm:chMax val="11"/>
          <dgm:chPref val="11"/>
          <dgm:dir/>
          <dgm:resizeHandles/>
        </dgm:presLayoutVars>
      </dgm:prSet>
      <dgm:spPr/>
    </dgm:pt>
    <dgm:pt modelId="{D6956A2A-0551-4FB9-ABAD-D416627C3560}" type="pres">
      <dgm:prSet presAssocID="{1FB0A179-F708-46CC-B39E-7CA5E46048DD}" presName="Accent7" presStyleCnt="0"/>
      <dgm:spPr/>
    </dgm:pt>
    <dgm:pt modelId="{4F248167-4099-40EF-A157-165FD88E6821}" type="pres">
      <dgm:prSet presAssocID="{1FB0A179-F708-46CC-B39E-7CA5E46048DD}" presName="Accent" presStyleLbl="node1" presStyleIdx="0" presStyleCnt="7"/>
      <dgm:spPr/>
    </dgm:pt>
    <dgm:pt modelId="{9A757397-1110-4EB3-AF4B-3B82F4293C17}" type="pres">
      <dgm:prSet presAssocID="{1FB0A179-F708-46CC-B39E-7CA5E46048DD}" presName="ParentBackground7" presStyleCnt="0"/>
      <dgm:spPr/>
    </dgm:pt>
    <dgm:pt modelId="{8B13FA93-0431-417B-85A9-9DDDE60B15C0}" type="pres">
      <dgm:prSet presAssocID="{1FB0A179-F708-46CC-B39E-7CA5E46048DD}" presName="ParentBackground" presStyleLbl="fgAcc1" presStyleIdx="0" presStyleCnt="7"/>
      <dgm:spPr/>
    </dgm:pt>
    <dgm:pt modelId="{628FF241-EA6A-4D87-8459-C0EB31A05443}" type="pres">
      <dgm:prSet presAssocID="{1FB0A179-F708-46CC-B39E-7CA5E46048DD}" presName="Parent7" presStyleLbl="revTx" presStyleIdx="0" presStyleCnt="0">
        <dgm:presLayoutVars>
          <dgm:chMax val="1"/>
          <dgm:chPref val="1"/>
          <dgm:bulletEnabled val="1"/>
        </dgm:presLayoutVars>
      </dgm:prSet>
      <dgm:spPr/>
    </dgm:pt>
    <dgm:pt modelId="{6E596E27-293E-4E1D-AB30-5D4F440712A4}" type="pres">
      <dgm:prSet presAssocID="{A354129C-A4CB-4BF1-AF4B-87767A7E5882}" presName="Accent6" presStyleCnt="0"/>
      <dgm:spPr/>
    </dgm:pt>
    <dgm:pt modelId="{4C352171-2652-4202-AF08-629F3CEF6CEA}" type="pres">
      <dgm:prSet presAssocID="{A354129C-A4CB-4BF1-AF4B-87767A7E5882}" presName="Accent" presStyleLbl="node1" presStyleIdx="1" presStyleCnt="7"/>
      <dgm:spPr/>
    </dgm:pt>
    <dgm:pt modelId="{057857E2-FBEA-473C-8015-03107E1DEA92}" type="pres">
      <dgm:prSet presAssocID="{A354129C-A4CB-4BF1-AF4B-87767A7E5882}" presName="ParentBackground6" presStyleCnt="0"/>
      <dgm:spPr/>
    </dgm:pt>
    <dgm:pt modelId="{F1538BA0-9019-493E-9A29-835139E3DC23}" type="pres">
      <dgm:prSet presAssocID="{A354129C-A4CB-4BF1-AF4B-87767A7E5882}" presName="ParentBackground" presStyleLbl="fgAcc1" presStyleIdx="1" presStyleCnt="7"/>
      <dgm:spPr/>
    </dgm:pt>
    <dgm:pt modelId="{2BE49A63-E2ED-4894-B49F-21A6C27C0A04}" type="pres">
      <dgm:prSet presAssocID="{A354129C-A4CB-4BF1-AF4B-87767A7E5882}" presName="Parent6" presStyleLbl="revTx" presStyleIdx="0" presStyleCnt="0">
        <dgm:presLayoutVars>
          <dgm:chMax val="1"/>
          <dgm:chPref val="1"/>
          <dgm:bulletEnabled val="1"/>
        </dgm:presLayoutVars>
      </dgm:prSet>
      <dgm:spPr/>
    </dgm:pt>
    <dgm:pt modelId="{57895967-9C89-45EA-B853-ED365B7AA0A7}" type="pres">
      <dgm:prSet presAssocID="{07DEFECA-3528-45B1-B56E-A7586DC04F16}" presName="Accent5" presStyleCnt="0"/>
      <dgm:spPr/>
    </dgm:pt>
    <dgm:pt modelId="{3D777745-BCFF-4F04-97DD-646FFD6663C7}" type="pres">
      <dgm:prSet presAssocID="{07DEFECA-3528-45B1-B56E-A7586DC04F16}" presName="Accent" presStyleLbl="node1" presStyleIdx="2" presStyleCnt="7"/>
      <dgm:spPr/>
    </dgm:pt>
    <dgm:pt modelId="{186B78CB-4541-4B81-B278-54E2A462E34B}" type="pres">
      <dgm:prSet presAssocID="{07DEFECA-3528-45B1-B56E-A7586DC04F16}" presName="ParentBackground5" presStyleCnt="0"/>
      <dgm:spPr/>
    </dgm:pt>
    <dgm:pt modelId="{18619F5D-6716-4504-8B32-0047F601B191}" type="pres">
      <dgm:prSet presAssocID="{07DEFECA-3528-45B1-B56E-A7586DC04F16}" presName="ParentBackground" presStyleLbl="fgAcc1" presStyleIdx="2" presStyleCnt="7"/>
      <dgm:spPr/>
    </dgm:pt>
    <dgm:pt modelId="{968E228F-4DD5-442D-853D-90443B9095F8}" type="pres">
      <dgm:prSet presAssocID="{07DEFECA-3528-45B1-B56E-A7586DC04F16}" presName="Parent5" presStyleLbl="revTx" presStyleIdx="0" presStyleCnt="0">
        <dgm:presLayoutVars>
          <dgm:chMax val="1"/>
          <dgm:chPref val="1"/>
          <dgm:bulletEnabled val="1"/>
        </dgm:presLayoutVars>
      </dgm:prSet>
      <dgm:spPr/>
    </dgm:pt>
    <dgm:pt modelId="{D18F2667-20AE-468D-B6AB-109ED176AC8C}" type="pres">
      <dgm:prSet presAssocID="{4B589EF7-CADD-4548-BA4C-064D1B21D216}" presName="Accent4" presStyleCnt="0"/>
      <dgm:spPr/>
    </dgm:pt>
    <dgm:pt modelId="{40253377-5AD8-43DF-A67D-30939F200F80}" type="pres">
      <dgm:prSet presAssocID="{4B589EF7-CADD-4548-BA4C-064D1B21D216}" presName="Accent" presStyleLbl="node1" presStyleIdx="3" presStyleCnt="7"/>
      <dgm:spPr/>
    </dgm:pt>
    <dgm:pt modelId="{9ACE2C0E-0B04-4A5D-ABBE-3DE01669936D}" type="pres">
      <dgm:prSet presAssocID="{4B589EF7-CADD-4548-BA4C-064D1B21D216}" presName="ParentBackground4" presStyleCnt="0"/>
      <dgm:spPr/>
    </dgm:pt>
    <dgm:pt modelId="{CA5DC79C-A740-4AFA-B783-C2074F8A7109}" type="pres">
      <dgm:prSet presAssocID="{4B589EF7-CADD-4548-BA4C-064D1B21D216}" presName="ParentBackground" presStyleLbl="fgAcc1" presStyleIdx="3" presStyleCnt="7"/>
      <dgm:spPr/>
    </dgm:pt>
    <dgm:pt modelId="{84B3F91B-E1ED-4E28-AD4A-26D412160E51}" type="pres">
      <dgm:prSet presAssocID="{4B589EF7-CADD-4548-BA4C-064D1B21D216}" presName="Parent4" presStyleLbl="revTx" presStyleIdx="0" presStyleCnt="0">
        <dgm:presLayoutVars>
          <dgm:chMax val="1"/>
          <dgm:chPref val="1"/>
          <dgm:bulletEnabled val="1"/>
        </dgm:presLayoutVars>
      </dgm:prSet>
      <dgm:spPr/>
    </dgm:pt>
    <dgm:pt modelId="{F5E4C275-8B29-4115-B41C-589A8B681222}" type="pres">
      <dgm:prSet presAssocID="{157864BC-7DFA-4B14-93FD-33BFB2CBB4A3}" presName="Accent3" presStyleCnt="0"/>
      <dgm:spPr/>
    </dgm:pt>
    <dgm:pt modelId="{DCE7587E-5B11-4C64-874D-8BFBBD7C1CA2}" type="pres">
      <dgm:prSet presAssocID="{157864BC-7DFA-4B14-93FD-33BFB2CBB4A3}" presName="Accent" presStyleLbl="node1" presStyleIdx="4" presStyleCnt="7"/>
      <dgm:spPr/>
    </dgm:pt>
    <dgm:pt modelId="{EFB20785-FA8E-4E51-AE1F-D32691F36D86}" type="pres">
      <dgm:prSet presAssocID="{157864BC-7DFA-4B14-93FD-33BFB2CBB4A3}" presName="ParentBackground3" presStyleCnt="0"/>
      <dgm:spPr/>
    </dgm:pt>
    <dgm:pt modelId="{B0590F5A-E521-4EE4-A2D1-EB99F82A7C99}" type="pres">
      <dgm:prSet presAssocID="{157864BC-7DFA-4B14-93FD-33BFB2CBB4A3}" presName="ParentBackground" presStyleLbl="fgAcc1" presStyleIdx="4" presStyleCnt="7"/>
      <dgm:spPr/>
    </dgm:pt>
    <dgm:pt modelId="{8B960E92-87D4-4A35-B13C-F939E37AB2E6}" type="pres">
      <dgm:prSet presAssocID="{157864BC-7DFA-4B14-93FD-33BFB2CBB4A3}" presName="Parent3" presStyleLbl="revTx" presStyleIdx="0" presStyleCnt="0">
        <dgm:presLayoutVars>
          <dgm:chMax val="1"/>
          <dgm:chPref val="1"/>
          <dgm:bulletEnabled val="1"/>
        </dgm:presLayoutVars>
      </dgm:prSet>
      <dgm:spPr/>
    </dgm:pt>
    <dgm:pt modelId="{AE3F9FC1-B3D7-4A5E-AE39-6DE23B39F338}" type="pres">
      <dgm:prSet presAssocID="{6D59EEDA-CF66-4796-AB3B-2787B6F4180D}" presName="Accent2" presStyleCnt="0"/>
      <dgm:spPr/>
    </dgm:pt>
    <dgm:pt modelId="{657A9C9B-7330-4F78-A551-F84CC53116E3}" type="pres">
      <dgm:prSet presAssocID="{6D59EEDA-CF66-4796-AB3B-2787B6F4180D}" presName="Accent" presStyleLbl="node1" presStyleIdx="5" presStyleCnt="7"/>
      <dgm:spPr/>
    </dgm:pt>
    <dgm:pt modelId="{0131650E-4785-476A-86ED-212E7E99977F}" type="pres">
      <dgm:prSet presAssocID="{6D59EEDA-CF66-4796-AB3B-2787B6F4180D}" presName="ParentBackground2" presStyleCnt="0"/>
      <dgm:spPr/>
    </dgm:pt>
    <dgm:pt modelId="{476F635A-0741-4E26-8390-00CF9623E891}" type="pres">
      <dgm:prSet presAssocID="{6D59EEDA-CF66-4796-AB3B-2787B6F4180D}" presName="ParentBackground" presStyleLbl="fgAcc1" presStyleIdx="5" presStyleCnt="7"/>
      <dgm:spPr/>
    </dgm:pt>
    <dgm:pt modelId="{A97F47B5-CEF1-4009-AC9F-6FA31C44A3D0}" type="pres">
      <dgm:prSet presAssocID="{6D59EEDA-CF66-4796-AB3B-2787B6F4180D}" presName="Parent2" presStyleLbl="revTx" presStyleIdx="0" presStyleCnt="0">
        <dgm:presLayoutVars>
          <dgm:chMax val="1"/>
          <dgm:chPref val="1"/>
          <dgm:bulletEnabled val="1"/>
        </dgm:presLayoutVars>
      </dgm:prSet>
      <dgm:spPr/>
    </dgm:pt>
    <dgm:pt modelId="{28014DC1-F527-4A4D-ACA4-B93A18526509}" type="pres">
      <dgm:prSet presAssocID="{C135C35F-0CCD-4D80-8A73-8105B0EECF46}" presName="Accent1" presStyleCnt="0"/>
      <dgm:spPr/>
    </dgm:pt>
    <dgm:pt modelId="{BDAC5744-4F4C-4DAE-8AB7-D8C3C7EC97C2}" type="pres">
      <dgm:prSet presAssocID="{C135C35F-0CCD-4D80-8A73-8105B0EECF46}" presName="Accent" presStyleLbl="node1" presStyleIdx="6" presStyleCnt="7"/>
      <dgm:spPr/>
    </dgm:pt>
    <dgm:pt modelId="{BF12D4F8-84FB-44E6-8EED-208F34F52641}" type="pres">
      <dgm:prSet presAssocID="{C135C35F-0CCD-4D80-8A73-8105B0EECF46}" presName="ParentBackground1" presStyleCnt="0"/>
      <dgm:spPr/>
    </dgm:pt>
    <dgm:pt modelId="{6EC90E3C-8567-447A-BAC9-5AA5B5AB02B0}" type="pres">
      <dgm:prSet presAssocID="{C135C35F-0CCD-4D80-8A73-8105B0EECF46}" presName="ParentBackground" presStyleLbl="fgAcc1" presStyleIdx="6" presStyleCnt="7"/>
      <dgm:spPr/>
    </dgm:pt>
    <dgm:pt modelId="{C423B98E-FC5E-4CBE-AF77-3511A9B2AB59}" type="pres">
      <dgm:prSet presAssocID="{C135C35F-0CCD-4D80-8A73-8105B0EECF46}" presName="Parent1" presStyleLbl="revTx" presStyleIdx="0" presStyleCnt="0">
        <dgm:presLayoutVars>
          <dgm:chMax val="1"/>
          <dgm:chPref val="1"/>
          <dgm:bulletEnabled val="1"/>
        </dgm:presLayoutVars>
      </dgm:prSet>
      <dgm:spPr/>
    </dgm:pt>
  </dgm:ptLst>
  <dgm:cxnLst>
    <dgm:cxn modelId="{9E01A407-56FF-4F08-A1AC-200179C79D13}" type="presOf" srcId="{157864BC-7DFA-4B14-93FD-33BFB2CBB4A3}" destId="{B0590F5A-E521-4EE4-A2D1-EB99F82A7C99}" srcOrd="0" destOrd="0" presId="urn:microsoft.com/office/officeart/2011/layout/CircleProcess"/>
    <dgm:cxn modelId="{69625A0F-A9B5-4731-9CC7-54BD708B1A90}" srcId="{DDCC4D20-120F-4066-957A-2FAFFC3DF5C2}" destId="{157864BC-7DFA-4B14-93FD-33BFB2CBB4A3}" srcOrd="2" destOrd="0" parTransId="{E2E14B58-AA3D-40AE-9F59-0CA13B8306B7}" sibTransId="{FC50196F-896B-4461-BF95-0A9E3CDC492A}"/>
    <dgm:cxn modelId="{31FCB310-809B-49BF-BD60-C058E4EC5360}" type="presOf" srcId="{07DEFECA-3528-45B1-B56E-A7586DC04F16}" destId="{18619F5D-6716-4504-8B32-0047F601B191}" srcOrd="0" destOrd="0" presId="urn:microsoft.com/office/officeart/2011/layout/CircleProcess"/>
    <dgm:cxn modelId="{4C0CCF14-7A39-4B60-8AD8-2C9D51AF51D7}" srcId="{DDCC4D20-120F-4066-957A-2FAFFC3DF5C2}" destId="{4B589EF7-CADD-4548-BA4C-064D1B21D216}" srcOrd="3" destOrd="0" parTransId="{A9A228FB-FC46-42CB-8976-8B44D17485FD}" sibTransId="{B68DC085-24E8-49EB-8FF6-14505279A252}"/>
    <dgm:cxn modelId="{B412811A-9AC0-4B7D-85E3-D800200E2E39}" type="presOf" srcId="{DDCC4D20-120F-4066-957A-2FAFFC3DF5C2}" destId="{F35DC94F-0617-48DD-978C-BE9746A0843E}" srcOrd="0" destOrd="0" presId="urn:microsoft.com/office/officeart/2011/layout/CircleProcess"/>
    <dgm:cxn modelId="{E51FC763-BD61-4DF5-AB47-7488F5F1D212}" type="presOf" srcId="{1FB0A179-F708-46CC-B39E-7CA5E46048DD}" destId="{628FF241-EA6A-4D87-8459-C0EB31A05443}" srcOrd="1" destOrd="0" presId="urn:microsoft.com/office/officeart/2011/layout/CircleProcess"/>
    <dgm:cxn modelId="{21A4DB4B-8DFD-488A-A3CA-8C3A5E676F80}" type="presOf" srcId="{4B589EF7-CADD-4548-BA4C-064D1B21D216}" destId="{84B3F91B-E1ED-4E28-AD4A-26D412160E51}" srcOrd="1" destOrd="0" presId="urn:microsoft.com/office/officeart/2011/layout/CircleProcess"/>
    <dgm:cxn modelId="{C93F1054-0595-4E02-8D81-082CB5632EDA}" srcId="{DDCC4D20-120F-4066-957A-2FAFFC3DF5C2}" destId="{6D59EEDA-CF66-4796-AB3B-2787B6F4180D}" srcOrd="1" destOrd="0" parTransId="{1CDA0206-C06E-49A7-B1F7-901DCFA2AB6B}" sibTransId="{47A119A1-F462-4774-BE45-AD524E998AC6}"/>
    <dgm:cxn modelId="{670CB354-8E8F-45CA-A48F-C8F1F07F8A50}" type="presOf" srcId="{A354129C-A4CB-4BF1-AF4B-87767A7E5882}" destId="{F1538BA0-9019-493E-9A29-835139E3DC23}" srcOrd="0" destOrd="0" presId="urn:microsoft.com/office/officeart/2011/layout/CircleProcess"/>
    <dgm:cxn modelId="{06AD1977-AAE1-418C-9DDC-35F0F9FAA984}" type="presOf" srcId="{A354129C-A4CB-4BF1-AF4B-87767A7E5882}" destId="{2BE49A63-E2ED-4894-B49F-21A6C27C0A04}" srcOrd="1" destOrd="0" presId="urn:microsoft.com/office/officeart/2011/layout/CircleProcess"/>
    <dgm:cxn modelId="{05446E9D-43E9-46FE-AC19-0F44B5B95924}" type="presOf" srcId="{4B589EF7-CADD-4548-BA4C-064D1B21D216}" destId="{CA5DC79C-A740-4AFA-B783-C2074F8A7109}" srcOrd="0" destOrd="0" presId="urn:microsoft.com/office/officeart/2011/layout/CircleProcess"/>
    <dgm:cxn modelId="{E7E866A5-5508-4B61-A90B-6ABCA5365623}" type="presOf" srcId="{6D59EEDA-CF66-4796-AB3B-2787B6F4180D}" destId="{A97F47B5-CEF1-4009-AC9F-6FA31C44A3D0}" srcOrd="1" destOrd="0" presId="urn:microsoft.com/office/officeart/2011/layout/CircleProcess"/>
    <dgm:cxn modelId="{D8534BA8-CA9B-42A0-BD34-42663AC6DBBA}" srcId="{DDCC4D20-120F-4066-957A-2FAFFC3DF5C2}" destId="{1FB0A179-F708-46CC-B39E-7CA5E46048DD}" srcOrd="6" destOrd="0" parTransId="{D6DF9565-7462-435D-ADFA-F1066287C1DE}" sibTransId="{32FC8649-B72E-4EA0-A923-AF1F7AC03400}"/>
    <dgm:cxn modelId="{F8EB7EAE-7AFD-4F38-B17F-296FEBC86E33}" type="presOf" srcId="{C135C35F-0CCD-4D80-8A73-8105B0EECF46}" destId="{6EC90E3C-8567-447A-BAC9-5AA5B5AB02B0}" srcOrd="0" destOrd="0" presId="urn:microsoft.com/office/officeart/2011/layout/CircleProcess"/>
    <dgm:cxn modelId="{4216E6C5-1AB6-483F-A2A7-C5E9048BA055}" srcId="{DDCC4D20-120F-4066-957A-2FAFFC3DF5C2}" destId="{A354129C-A4CB-4BF1-AF4B-87767A7E5882}" srcOrd="5" destOrd="0" parTransId="{38CB157B-6A20-423B-807B-E82A5FD85526}" sibTransId="{94EA280F-4308-4870-B8B0-33E3118ACA40}"/>
    <dgm:cxn modelId="{3B2C04D0-8AAC-47AA-AAFE-A899892D74A0}" srcId="{DDCC4D20-120F-4066-957A-2FAFFC3DF5C2}" destId="{07DEFECA-3528-45B1-B56E-A7586DC04F16}" srcOrd="4" destOrd="0" parTransId="{577E0697-FE27-498A-965D-7D639C1377F9}" sibTransId="{A0557488-1E91-4AF3-9F5B-F619FEB22B72}"/>
    <dgm:cxn modelId="{9F21BED9-B7F3-43F9-BD44-90DB5F308840}" type="presOf" srcId="{1FB0A179-F708-46CC-B39E-7CA5E46048DD}" destId="{8B13FA93-0431-417B-85A9-9DDDE60B15C0}" srcOrd="0" destOrd="0" presId="urn:microsoft.com/office/officeart/2011/layout/CircleProcess"/>
    <dgm:cxn modelId="{BAA294DE-293C-410C-911A-96E1F884C192}" type="presOf" srcId="{C135C35F-0CCD-4D80-8A73-8105B0EECF46}" destId="{C423B98E-FC5E-4CBE-AF77-3511A9B2AB59}" srcOrd="1" destOrd="0" presId="urn:microsoft.com/office/officeart/2011/layout/CircleProcess"/>
    <dgm:cxn modelId="{785E90DF-45E9-4E0B-BF8B-874CDAEAA1EF}" type="presOf" srcId="{157864BC-7DFA-4B14-93FD-33BFB2CBB4A3}" destId="{8B960E92-87D4-4A35-B13C-F939E37AB2E6}" srcOrd="1" destOrd="0" presId="urn:microsoft.com/office/officeart/2011/layout/CircleProcess"/>
    <dgm:cxn modelId="{6D7502E7-02B2-49B1-B2E2-4C5702BDB65C}" srcId="{DDCC4D20-120F-4066-957A-2FAFFC3DF5C2}" destId="{C135C35F-0CCD-4D80-8A73-8105B0EECF46}" srcOrd="0" destOrd="0" parTransId="{03C8C4FD-CB48-4843-B74F-C89FE0896081}" sibTransId="{69532E34-78C3-4728-B9FC-C4D502FC9C9D}"/>
    <dgm:cxn modelId="{A26E42F0-9BD2-4B72-B641-CF5CA50F88F9}" type="presOf" srcId="{6D59EEDA-CF66-4796-AB3B-2787B6F4180D}" destId="{476F635A-0741-4E26-8390-00CF9623E891}" srcOrd="0" destOrd="0" presId="urn:microsoft.com/office/officeart/2011/layout/CircleProcess"/>
    <dgm:cxn modelId="{BF9863FA-D1EC-4E37-A87B-1FEE7C3CC211}" type="presOf" srcId="{07DEFECA-3528-45B1-B56E-A7586DC04F16}" destId="{968E228F-4DD5-442D-853D-90443B9095F8}" srcOrd="1" destOrd="0" presId="urn:microsoft.com/office/officeart/2011/layout/CircleProcess"/>
    <dgm:cxn modelId="{F2AFC348-E04D-47D5-A402-173F1BEB7E9B}" type="presParOf" srcId="{F35DC94F-0617-48DD-978C-BE9746A0843E}" destId="{D6956A2A-0551-4FB9-ABAD-D416627C3560}" srcOrd="0" destOrd="0" presId="urn:microsoft.com/office/officeart/2011/layout/CircleProcess"/>
    <dgm:cxn modelId="{3870F4BD-F224-4825-94A1-3C287F06ACDE}" type="presParOf" srcId="{D6956A2A-0551-4FB9-ABAD-D416627C3560}" destId="{4F248167-4099-40EF-A157-165FD88E6821}" srcOrd="0" destOrd="0" presId="urn:microsoft.com/office/officeart/2011/layout/CircleProcess"/>
    <dgm:cxn modelId="{F2F8F95A-3BB9-4E0D-8E03-24B5E621B5B7}" type="presParOf" srcId="{F35DC94F-0617-48DD-978C-BE9746A0843E}" destId="{9A757397-1110-4EB3-AF4B-3B82F4293C17}" srcOrd="1" destOrd="0" presId="urn:microsoft.com/office/officeart/2011/layout/CircleProcess"/>
    <dgm:cxn modelId="{81E052D2-10C6-43F2-A347-B7092352E43F}" type="presParOf" srcId="{9A757397-1110-4EB3-AF4B-3B82F4293C17}" destId="{8B13FA93-0431-417B-85A9-9DDDE60B15C0}" srcOrd="0" destOrd="0" presId="urn:microsoft.com/office/officeart/2011/layout/CircleProcess"/>
    <dgm:cxn modelId="{AB5186E3-377B-4D6F-991B-C11C02FB6146}" type="presParOf" srcId="{F35DC94F-0617-48DD-978C-BE9746A0843E}" destId="{628FF241-EA6A-4D87-8459-C0EB31A05443}" srcOrd="2" destOrd="0" presId="urn:microsoft.com/office/officeart/2011/layout/CircleProcess"/>
    <dgm:cxn modelId="{8BD55255-AD7A-44BC-AE82-809A29ED0F2E}" type="presParOf" srcId="{F35DC94F-0617-48DD-978C-BE9746A0843E}" destId="{6E596E27-293E-4E1D-AB30-5D4F440712A4}" srcOrd="3" destOrd="0" presId="urn:microsoft.com/office/officeart/2011/layout/CircleProcess"/>
    <dgm:cxn modelId="{1CC4DBED-D266-43F7-8EDC-7933E924BCFE}" type="presParOf" srcId="{6E596E27-293E-4E1D-AB30-5D4F440712A4}" destId="{4C352171-2652-4202-AF08-629F3CEF6CEA}" srcOrd="0" destOrd="0" presId="urn:microsoft.com/office/officeart/2011/layout/CircleProcess"/>
    <dgm:cxn modelId="{FED46731-6DD0-4BE7-B8E4-B80AED0C3CE4}" type="presParOf" srcId="{F35DC94F-0617-48DD-978C-BE9746A0843E}" destId="{057857E2-FBEA-473C-8015-03107E1DEA92}" srcOrd="4" destOrd="0" presId="urn:microsoft.com/office/officeart/2011/layout/CircleProcess"/>
    <dgm:cxn modelId="{5A72AFF8-0FE8-4578-8343-7D8800C6B3B8}" type="presParOf" srcId="{057857E2-FBEA-473C-8015-03107E1DEA92}" destId="{F1538BA0-9019-493E-9A29-835139E3DC23}" srcOrd="0" destOrd="0" presId="urn:microsoft.com/office/officeart/2011/layout/CircleProcess"/>
    <dgm:cxn modelId="{0C47F6D8-EDA0-41F6-82B6-43101F12F775}" type="presParOf" srcId="{F35DC94F-0617-48DD-978C-BE9746A0843E}" destId="{2BE49A63-E2ED-4894-B49F-21A6C27C0A04}" srcOrd="5" destOrd="0" presId="urn:microsoft.com/office/officeart/2011/layout/CircleProcess"/>
    <dgm:cxn modelId="{1C85340B-D402-4A5F-8BB6-41AD586BD30C}" type="presParOf" srcId="{F35DC94F-0617-48DD-978C-BE9746A0843E}" destId="{57895967-9C89-45EA-B853-ED365B7AA0A7}" srcOrd="6" destOrd="0" presId="urn:microsoft.com/office/officeart/2011/layout/CircleProcess"/>
    <dgm:cxn modelId="{894C5A01-2CD9-4014-A2B6-A96AACE86AE1}" type="presParOf" srcId="{57895967-9C89-45EA-B853-ED365B7AA0A7}" destId="{3D777745-BCFF-4F04-97DD-646FFD6663C7}" srcOrd="0" destOrd="0" presId="urn:microsoft.com/office/officeart/2011/layout/CircleProcess"/>
    <dgm:cxn modelId="{9484ECBF-6610-4A22-BEE9-7F2384053BB9}" type="presParOf" srcId="{F35DC94F-0617-48DD-978C-BE9746A0843E}" destId="{186B78CB-4541-4B81-B278-54E2A462E34B}" srcOrd="7" destOrd="0" presId="urn:microsoft.com/office/officeart/2011/layout/CircleProcess"/>
    <dgm:cxn modelId="{DC2F04C7-829C-44B1-A878-948AF2DF844D}" type="presParOf" srcId="{186B78CB-4541-4B81-B278-54E2A462E34B}" destId="{18619F5D-6716-4504-8B32-0047F601B191}" srcOrd="0" destOrd="0" presId="urn:microsoft.com/office/officeart/2011/layout/CircleProcess"/>
    <dgm:cxn modelId="{31C6D89D-27AF-4EB8-99E9-2623A9F75C3A}" type="presParOf" srcId="{F35DC94F-0617-48DD-978C-BE9746A0843E}" destId="{968E228F-4DD5-442D-853D-90443B9095F8}" srcOrd="8" destOrd="0" presId="urn:microsoft.com/office/officeart/2011/layout/CircleProcess"/>
    <dgm:cxn modelId="{480847F5-DB9E-4E89-BF6F-FFF6CA907E70}" type="presParOf" srcId="{F35DC94F-0617-48DD-978C-BE9746A0843E}" destId="{D18F2667-20AE-468D-B6AB-109ED176AC8C}" srcOrd="9" destOrd="0" presId="urn:microsoft.com/office/officeart/2011/layout/CircleProcess"/>
    <dgm:cxn modelId="{E39DC988-802D-47BE-AF78-0CD65A33239B}" type="presParOf" srcId="{D18F2667-20AE-468D-B6AB-109ED176AC8C}" destId="{40253377-5AD8-43DF-A67D-30939F200F80}" srcOrd="0" destOrd="0" presId="urn:microsoft.com/office/officeart/2011/layout/CircleProcess"/>
    <dgm:cxn modelId="{2A2C9C0B-9D46-4648-8E53-596DCE24B892}" type="presParOf" srcId="{F35DC94F-0617-48DD-978C-BE9746A0843E}" destId="{9ACE2C0E-0B04-4A5D-ABBE-3DE01669936D}" srcOrd="10" destOrd="0" presId="urn:microsoft.com/office/officeart/2011/layout/CircleProcess"/>
    <dgm:cxn modelId="{B3BE17AD-1C29-4B4A-942A-A88AA603CD43}" type="presParOf" srcId="{9ACE2C0E-0B04-4A5D-ABBE-3DE01669936D}" destId="{CA5DC79C-A740-4AFA-B783-C2074F8A7109}" srcOrd="0" destOrd="0" presId="urn:microsoft.com/office/officeart/2011/layout/CircleProcess"/>
    <dgm:cxn modelId="{378D6FEB-E6A0-4B07-A619-AFDA5646E2F9}" type="presParOf" srcId="{F35DC94F-0617-48DD-978C-BE9746A0843E}" destId="{84B3F91B-E1ED-4E28-AD4A-26D412160E51}" srcOrd="11" destOrd="0" presId="urn:microsoft.com/office/officeart/2011/layout/CircleProcess"/>
    <dgm:cxn modelId="{B190E277-9E85-4665-BF53-62A59CFEBE6A}" type="presParOf" srcId="{F35DC94F-0617-48DD-978C-BE9746A0843E}" destId="{F5E4C275-8B29-4115-B41C-589A8B681222}" srcOrd="12" destOrd="0" presId="urn:microsoft.com/office/officeart/2011/layout/CircleProcess"/>
    <dgm:cxn modelId="{A8EC769E-0972-4BE6-A778-4853436DA8D5}" type="presParOf" srcId="{F5E4C275-8B29-4115-B41C-589A8B681222}" destId="{DCE7587E-5B11-4C64-874D-8BFBBD7C1CA2}" srcOrd="0" destOrd="0" presId="urn:microsoft.com/office/officeart/2011/layout/CircleProcess"/>
    <dgm:cxn modelId="{99C10413-20A4-4CE9-A781-853B68948BC7}" type="presParOf" srcId="{F35DC94F-0617-48DD-978C-BE9746A0843E}" destId="{EFB20785-FA8E-4E51-AE1F-D32691F36D86}" srcOrd="13" destOrd="0" presId="urn:microsoft.com/office/officeart/2011/layout/CircleProcess"/>
    <dgm:cxn modelId="{9F63228B-3F0A-47F1-90F6-7FEBD76E7521}" type="presParOf" srcId="{EFB20785-FA8E-4E51-AE1F-D32691F36D86}" destId="{B0590F5A-E521-4EE4-A2D1-EB99F82A7C99}" srcOrd="0" destOrd="0" presId="urn:microsoft.com/office/officeart/2011/layout/CircleProcess"/>
    <dgm:cxn modelId="{791E98EE-3F2B-4679-9458-431FCD4634C2}" type="presParOf" srcId="{F35DC94F-0617-48DD-978C-BE9746A0843E}" destId="{8B960E92-87D4-4A35-B13C-F939E37AB2E6}" srcOrd="14" destOrd="0" presId="urn:microsoft.com/office/officeart/2011/layout/CircleProcess"/>
    <dgm:cxn modelId="{987FEA72-4F80-462F-9DB8-D626C4C57D0B}" type="presParOf" srcId="{F35DC94F-0617-48DD-978C-BE9746A0843E}" destId="{AE3F9FC1-B3D7-4A5E-AE39-6DE23B39F338}" srcOrd="15" destOrd="0" presId="urn:microsoft.com/office/officeart/2011/layout/CircleProcess"/>
    <dgm:cxn modelId="{5DBF4150-9439-49BF-AAA2-C0A19439FB4B}" type="presParOf" srcId="{AE3F9FC1-B3D7-4A5E-AE39-6DE23B39F338}" destId="{657A9C9B-7330-4F78-A551-F84CC53116E3}" srcOrd="0" destOrd="0" presId="urn:microsoft.com/office/officeart/2011/layout/CircleProcess"/>
    <dgm:cxn modelId="{C4BD94E9-4EA1-4C9D-AFAA-52F15FD87855}" type="presParOf" srcId="{F35DC94F-0617-48DD-978C-BE9746A0843E}" destId="{0131650E-4785-476A-86ED-212E7E99977F}" srcOrd="16" destOrd="0" presId="urn:microsoft.com/office/officeart/2011/layout/CircleProcess"/>
    <dgm:cxn modelId="{3057129B-5981-4FDE-830B-8DB772438AEA}" type="presParOf" srcId="{0131650E-4785-476A-86ED-212E7E99977F}" destId="{476F635A-0741-4E26-8390-00CF9623E891}" srcOrd="0" destOrd="0" presId="urn:microsoft.com/office/officeart/2011/layout/CircleProcess"/>
    <dgm:cxn modelId="{DDD830B2-8090-4D2A-B1FE-487EAD6696A7}" type="presParOf" srcId="{F35DC94F-0617-48DD-978C-BE9746A0843E}" destId="{A97F47B5-CEF1-4009-AC9F-6FA31C44A3D0}" srcOrd="17" destOrd="0" presId="urn:microsoft.com/office/officeart/2011/layout/CircleProcess"/>
    <dgm:cxn modelId="{2A5AEBEB-C1A0-4FC1-BAF5-CA7951719CF4}" type="presParOf" srcId="{F35DC94F-0617-48DD-978C-BE9746A0843E}" destId="{28014DC1-F527-4A4D-ACA4-B93A18526509}" srcOrd="18" destOrd="0" presId="urn:microsoft.com/office/officeart/2011/layout/CircleProcess"/>
    <dgm:cxn modelId="{12F90D06-E944-41A9-AA39-F101005602B4}" type="presParOf" srcId="{28014DC1-F527-4A4D-ACA4-B93A18526509}" destId="{BDAC5744-4F4C-4DAE-8AB7-D8C3C7EC97C2}" srcOrd="0" destOrd="0" presId="urn:microsoft.com/office/officeart/2011/layout/CircleProcess"/>
    <dgm:cxn modelId="{1288E4AF-8238-487A-A70B-D7732E71A03E}" type="presParOf" srcId="{F35DC94F-0617-48DD-978C-BE9746A0843E}" destId="{BF12D4F8-84FB-44E6-8EED-208F34F52641}" srcOrd="19" destOrd="0" presId="urn:microsoft.com/office/officeart/2011/layout/CircleProcess"/>
    <dgm:cxn modelId="{98AA14A9-6FCB-4D10-B10D-0DE84729DBC4}" type="presParOf" srcId="{BF12D4F8-84FB-44E6-8EED-208F34F52641}" destId="{6EC90E3C-8567-447A-BAC9-5AA5B5AB02B0}" srcOrd="0" destOrd="0" presId="urn:microsoft.com/office/officeart/2011/layout/CircleProcess"/>
    <dgm:cxn modelId="{5E3FFF27-005B-4D31-AC6C-74905211169D}" type="presParOf" srcId="{F35DC94F-0617-48DD-978C-BE9746A0843E}" destId="{C423B98E-FC5E-4CBE-AF77-3511A9B2AB59}" srcOrd="20"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248167-4099-40EF-A157-165FD88E6821}">
      <dsp:nvSpPr>
        <dsp:cNvPr id="0" name=""/>
        <dsp:cNvSpPr/>
      </dsp:nvSpPr>
      <dsp:spPr>
        <a:xfrm>
          <a:off x="9214732" y="1997608"/>
          <a:ext cx="1424136" cy="142370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13FA93-0431-417B-85A9-9DDDE60B15C0}">
      <dsp:nvSpPr>
        <dsp:cNvPr id="0" name=""/>
        <dsp:cNvSpPr/>
      </dsp:nvSpPr>
      <dsp:spPr>
        <a:xfrm>
          <a:off x="9263115" y="2045073"/>
          <a:ext cx="1328422" cy="1328770"/>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fi-FI" sz="1800" kern="1200"/>
            <a:t>Valmis käyttöön</a:t>
          </a:r>
          <a:endParaRPr lang="LID4096" sz="1800" kern="1200"/>
        </a:p>
      </dsp:txBody>
      <dsp:txXfrm>
        <a:off x="9452439" y="2234933"/>
        <a:ext cx="948723" cy="949050"/>
      </dsp:txXfrm>
    </dsp:sp>
    <dsp:sp modelId="{4C352171-2652-4202-AF08-629F3CEF6CEA}">
      <dsp:nvSpPr>
        <dsp:cNvPr id="0" name=""/>
        <dsp:cNvSpPr/>
      </dsp:nvSpPr>
      <dsp:spPr>
        <a:xfrm rot="2700000">
          <a:off x="7743974" y="1997448"/>
          <a:ext cx="1423770" cy="1423770"/>
        </a:xfrm>
        <a:prstGeom prst="teardrop">
          <a:avLst>
            <a:gd name="adj" fmla="val 1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538BA0-9019-493E-9A29-835139E3DC23}">
      <dsp:nvSpPr>
        <dsp:cNvPr id="0" name=""/>
        <dsp:cNvSpPr/>
      </dsp:nvSpPr>
      <dsp:spPr>
        <a:xfrm>
          <a:off x="7791647" y="2045073"/>
          <a:ext cx="1328422" cy="1328770"/>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a:t>6. </a:t>
          </a:r>
        </a:p>
        <a:p>
          <a:pPr marL="0" lvl="0" indent="0" algn="ctr" defTabSz="533400">
            <a:lnSpc>
              <a:spcPct val="90000"/>
            </a:lnSpc>
            <a:spcBef>
              <a:spcPct val="0"/>
            </a:spcBef>
            <a:spcAft>
              <a:spcPct val="35000"/>
            </a:spcAft>
            <a:buNone/>
          </a:pPr>
          <a:r>
            <a:rPr lang="fi-FI" sz="1200" kern="1200"/>
            <a:t>Toiminta-varmuuden tarkistaminen </a:t>
          </a:r>
          <a:endParaRPr lang="LID4096" sz="1200" kern="1200"/>
        </a:p>
      </dsp:txBody>
      <dsp:txXfrm>
        <a:off x="7980971" y="2234933"/>
        <a:ext cx="948723" cy="949050"/>
      </dsp:txXfrm>
    </dsp:sp>
    <dsp:sp modelId="{3D777745-BCFF-4F04-97DD-646FFD6663C7}">
      <dsp:nvSpPr>
        <dsp:cNvPr id="0" name=""/>
        <dsp:cNvSpPr/>
      </dsp:nvSpPr>
      <dsp:spPr>
        <a:xfrm rot="2700000">
          <a:off x="6273558" y="1997448"/>
          <a:ext cx="1423770" cy="1423770"/>
        </a:xfrm>
        <a:prstGeom prst="teardrop">
          <a:avLst>
            <a:gd name="adj" fmla="val 10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619F5D-6716-4504-8B32-0047F601B191}">
      <dsp:nvSpPr>
        <dsp:cNvPr id="0" name=""/>
        <dsp:cNvSpPr/>
      </dsp:nvSpPr>
      <dsp:spPr>
        <a:xfrm>
          <a:off x="6320180" y="2045073"/>
          <a:ext cx="1328422" cy="1328770"/>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a:t>5.</a:t>
          </a:r>
        </a:p>
        <a:p>
          <a:pPr marL="0" lvl="0" indent="0" algn="ctr" defTabSz="533400">
            <a:lnSpc>
              <a:spcPct val="90000"/>
            </a:lnSpc>
            <a:spcBef>
              <a:spcPct val="0"/>
            </a:spcBef>
            <a:spcAft>
              <a:spcPct val="35000"/>
            </a:spcAft>
            <a:buNone/>
          </a:pPr>
          <a:r>
            <a:rPr lang="fi-FI" sz="1200" kern="1200"/>
            <a:t>Uudelleen kasaaminen</a:t>
          </a:r>
        </a:p>
      </dsp:txBody>
      <dsp:txXfrm>
        <a:off x="6510556" y="2234933"/>
        <a:ext cx="948723" cy="949050"/>
      </dsp:txXfrm>
    </dsp:sp>
    <dsp:sp modelId="{40253377-5AD8-43DF-A67D-30939F200F80}">
      <dsp:nvSpPr>
        <dsp:cNvPr id="0" name=""/>
        <dsp:cNvSpPr/>
      </dsp:nvSpPr>
      <dsp:spPr>
        <a:xfrm rot="2700000">
          <a:off x="4802091" y="1997448"/>
          <a:ext cx="1423770" cy="1423770"/>
        </a:xfrm>
        <a:prstGeom prst="teardrop">
          <a:avLst>
            <a:gd name="adj" fmla="val 1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5DC79C-A740-4AFA-B783-C2074F8A7109}">
      <dsp:nvSpPr>
        <dsp:cNvPr id="0" name=""/>
        <dsp:cNvSpPr/>
      </dsp:nvSpPr>
      <dsp:spPr>
        <a:xfrm>
          <a:off x="4849764" y="2045073"/>
          <a:ext cx="1328422" cy="1328770"/>
        </a:xfrm>
        <a:prstGeom prst="ellipse">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dirty="0"/>
            <a:t>4. </a:t>
          </a:r>
        </a:p>
        <a:p>
          <a:pPr marL="0" lvl="0" indent="0" algn="ctr" defTabSz="533400">
            <a:lnSpc>
              <a:spcPct val="90000"/>
            </a:lnSpc>
            <a:spcBef>
              <a:spcPct val="0"/>
            </a:spcBef>
            <a:spcAft>
              <a:spcPct val="35000"/>
            </a:spcAft>
            <a:buNone/>
          </a:pPr>
          <a:r>
            <a:rPr lang="fi-FI" sz="1200" kern="1200" dirty="0"/>
            <a:t>Osat pestään ja käydään läpi</a:t>
          </a:r>
          <a:endParaRPr lang="LID4096" sz="1200" kern="1200" dirty="0"/>
        </a:p>
      </dsp:txBody>
      <dsp:txXfrm>
        <a:off x="5039088" y="2234933"/>
        <a:ext cx="948723" cy="949050"/>
      </dsp:txXfrm>
    </dsp:sp>
    <dsp:sp modelId="{DCE7587E-5B11-4C64-874D-8BFBBD7C1CA2}">
      <dsp:nvSpPr>
        <dsp:cNvPr id="0" name=""/>
        <dsp:cNvSpPr/>
      </dsp:nvSpPr>
      <dsp:spPr>
        <a:xfrm rot="2700000">
          <a:off x="3330623" y="1997448"/>
          <a:ext cx="1423770" cy="1423770"/>
        </a:xfrm>
        <a:prstGeom prst="teardrop">
          <a:avLst>
            <a:gd name="adj" fmla="val 1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590F5A-E521-4EE4-A2D1-EB99F82A7C99}">
      <dsp:nvSpPr>
        <dsp:cNvPr id="0" name=""/>
        <dsp:cNvSpPr/>
      </dsp:nvSpPr>
      <dsp:spPr>
        <a:xfrm>
          <a:off x="3378297" y="2045073"/>
          <a:ext cx="1328422" cy="1328770"/>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a:t>3. </a:t>
          </a:r>
        </a:p>
        <a:p>
          <a:pPr marL="0" lvl="0" indent="0" algn="ctr" defTabSz="533400">
            <a:lnSpc>
              <a:spcPct val="90000"/>
            </a:lnSpc>
            <a:spcBef>
              <a:spcPct val="0"/>
            </a:spcBef>
            <a:spcAft>
              <a:spcPct val="35000"/>
            </a:spcAft>
            <a:buNone/>
          </a:pPr>
          <a:r>
            <a:rPr lang="fi-FI" sz="1200" kern="1200"/>
            <a:t>Laitteen</a:t>
          </a:r>
        </a:p>
        <a:p>
          <a:pPr marL="0" lvl="0" indent="0" algn="ctr" defTabSz="533400">
            <a:lnSpc>
              <a:spcPct val="90000"/>
            </a:lnSpc>
            <a:spcBef>
              <a:spcPct val="0"/>
            </a:spcBef>
            <a:spcAft>
              <a:spcPct val="35000"/>
            </a:spcAft>
            <a:buNone/>
          </a:pPr>
          <a:r>
            <a:rPr lang="fi-FI" sz="1200" kern="1200"/>
            <a:t> purku</a:t>
          </a:r>
          <a:endParaRPr lang="LID4096" sz="1200" kern="1200"/>
        </a:p>
      </dsp:txBody>
      <dsp:txXfrm>
        <a:off x="3567621" y="2234933"/>
        <a:ext cx="948723" cy="949050"/>
      </dsp:txXfrm>
    </dsp:sp>
    <dsp:sp modelId="{657A9C9B-7330-4F78-A551-F84CC53116E3}">
      <dsp:nvSpPr>
        <dsp:cNvPr id="0" name=""/>
        <dsp:cNvSpPr/>
      </dsp:nvSpPr>
      <dsp:spPr>
        <a:xfrm rot="2700000">
          <a:off x="1860208" y="1997448"/>
          <a:ext cx="1423770" cy="1423770"/>
        </a:xfrm>
        <a:prstGeom prst="teardrop">
          <a:avLst>
            <a:gd name="adj" fmla="val 1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6F635A-0741-4E26-8390-00CF9623E891}">
      <dsp:nvSpPr>
        <dsp:cNvPr id="0" name=""/>
        <dsp:cNvSpPr/>
      </dsp:nvSpPr>
      <dsp:spPr>
        <a:xfrm>
          <a:off x="1906830" y="2045073"/>
          <a:ext cx="1328422" cy="1328770"/>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a:t>2. </a:t>
          </a:r>
        </a:p>
        <a:p>
          <a:pPr marL="0" lvl="0" indent="0" algn="ctr" defTabSz="533400">
            <a:lnSpc>
              <a:spcPct val="90000"/>
            </a:lnSpc>
            <a:spcBef>
              <a:spcPct val="0"/>
            </a:spcBef>
            <a:spcAft>
              <a:spcPct val="35000"/>
            </a:spcAft>
            <a:buNone/>
          </a:pPr>
          <a:r>
            <a:rPr lang="fi-FI" sz="1200" kern="1200"/>
            <a:t>Kalkinpoisto</a:t>
          </a:r>
          <a:endParaRPr lang="LID4096" sz="1200" kern="1200"/>
        </a:p>
      </dsp:txBody>
      <dsp:txXfrm>
        <a:off x="2097205" y="2234933"/>
        <a:ext cx="948723" cy="949050"/>
      </dsp:txXfrm>
    </dsp:sp>
    <dsp:sp modelId="{BDAC5744-4F4C-4DAE-8AB7-D8C3C7EC97C2}">
      <dsp:nvSpPr>
        <dsp:cNvPr id="0" name=""/>
        <dsp:cNvSpPr/>
      </dsp:nvSpPr>
      <dsp:spPr>
        <a:xfrm rot="2700000">
          <a:off x="388740" y="1997448"/>
          <a:ext cx="1423770" cy="1423770"/>
        </a:xfrm>
        <a:prstGeom prst="teardrop">
          <a:avLst>
            <a:gd name="adj" fmla="val 1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C90E3C-8567-447A-BAC9-5AA5B5AB02B0}">
      <dsp:nvSpPr>
        <dsp:cNvPr id="0" name=""/>
        <dsp:cNvSpPr/>
      </dsp:nvSpPr>
      <dsp:spPr>
        <a:xfrm>
          <a:off x="436414" y="2045073"/>
          <a:ext cx="1328422" cy="1328770"/>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i-FI" sz="1200" kern="1200"/>
            <a:t>1. </a:t>
          </a:r>
        </a:p>
        <a:p>
          <a:pPr marL="0" lvl="0" indent="0" algn="ctr" defTabSz="533400">
            <a:lnSpc>
              <a:spcPct val="90000"/>
            </a:lnSpc>
            <a:spcBef>
              <a:spcPct val="0"/>
            </a:spcBef>
            <a:spcAft>
              <a:spcPct val="35000"/>
            </a:spcAft>
            <a:buNone/>
          </a:pPr>
          <a:r>
            <a:rPr lang="fi-FI" sz="1200" kern="1200"/>
            <a:t>Kunnostus-arviointi</a:t>
          </a:r>
          <a:endParaRPr lang="LID4096" sz="1200" kern="1200"/>
        </a:p>
      </dsp:txBody>
      <dsp:txXfrm>
        <a:off x="625738" y="2234933"/>
        <a:ext cx="948723" cy="949050"/>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fi-FI"/>
          </a:p>
        </p:txBody>
      </p:sp>
      <p:sp>
        <p:nvSpPr>
          <p:cNvPr id="3" name="Päivämäärän paikkamerkki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D8F4E387-BA13-4C10-8867-F7D0AD25AD91}" type="datetimeFigureOut">
              <a:rPr lang="fi-FI" smtClean="0"/>
              <a:t>25.3.2026</a:t>
            </a:fld>
            <a:endParaRPr lang="fi-FI"/>
          </a:p>
        </p:txBody>
      </p:sp>
      <p:sp>
        <p:nvSpPr>
          <p:cNvPr id="4" name="Dian kuvan paikkamerkki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fi-FI"/>
          </a:p>
        </p:txBody>
      </p:sp>
      <p:sp>
        <p:nvSpPr>
          <p:cNvPr id="5" name="Huomautusten paikkamerkki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fi-FI"/>
          </a:p>
        </p:txBody>
      </p:sp>
      <p:sp>
        <p:nvSpPr>
          <p:cNvPr id="7" name="Dian numeron paikkamerkki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BD77E6DB-F6CB-45D2-97D4-31882362137B}" type="slidenum">
              <a:rPr lang="fi-FI" smtClean="0"/>
              <a:t>‹#›</a:t>
            </a:fld>
            <a:endParaRPr lang="fi-FI"/>
          </a:p>
        </p:txBody>
      </p:sp>
    </p:spTree>
    <p:extLst>
      <p:ext uri="{BB962C8B-B14F-4D97-AF65-F5344CB8AC3E}">
        <p14:creationId xmlns:p14="http://schemas.microsoft.com/office/powerpoint/2010/main" val="2543932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Takuuhuolto = uudelleenkäyttö</a:t>
            </a:r>
          </a:p>
        </p:txBody>
      </p:sp>
      <p:sp>
        <p:nvSpPr>
          <p:cNvPr id="4" name="Dian numeron paikkamerkki 3"/>
          <p:cNvSpPr>
            <a:spLocks noGrp="1"/>
          </p:cNvSpPr>
          <p:nvPr>
            <p:ph type="sldNum" sz="quarter" idx="5"/>
          </p:nvPr>
        </p:nvSpPr>
        <p:spPr/>
        <p:txBody>
          <a:bodyPr/>
          <a:lstStyle/>
          <a:p>
            <a:fld id="{BD77E6DB-F6CB-45D2-97D4-31882362137B}" type="slidenum">
              <a:rPr lang="fi-FI" smtClean="0"/>
              <a:t>1</a:t>
            </a:fld>
            <a:endParaRPr lang="fi-FI"/>
          </a:p>
        </p:txBody>
      </p:sp>
    </p:spTree>
    <p:extLst>
      <p:ext uri="{BB962C8B-B14F-4D97-AF65-F5344CB8AC3E}">
        <p14:creationId xmlns:p14="http://schemas.microsoft.com/office/powerpoint/2010/main" val="238914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GB" sz="2000" b="1" dirty="0">
                <a:latin typeface="Aptos" panose="020B0004020202020204" pitchFamily="34" charset="0"/>
                <a:ea typeface="Aptos" panose="020B0004020202020204" pitchFamily="34" charset="0"/>
                <a:cs typeface="Aptos" panose="020B0004020202020204" pitchFamily="34" charset="0"/>
              </a:rPr>
              <a:t>Ingredients</a:t>
            </a:r>
            <a:r>
              <a:rPr lang="en-GB" sz="2000" dirty="0">
                <a:latin typeface="Aptos" panose="020B0004020202020204" pitchFamily="34" charset="0"/>
                <a:ea typeface="Aptos" panose="020B0004020202020204" pitchFamily="34" charset="0"/>
                <a:cs typeface="Aptos" panose="020B0004020202020204" pitchFamily="34" charset="0"/>
              </a:rPr>
              <a:t> is including transportation to </a:t>
            </a:r>
            <a:r>
              <a:rPr lang="en-GB" sz="2000" u="sng" dirty="0">
                <a:latin typeface="Aptos" panose="020B0004020202020204" pitchFamily="34" charset="0"/>
                <a:ea typeface="Aptos" panose="020B0004020202020204" pitchFamily="34" charset="0"/>
                <a:cs typeface="Aptos" panose="020B0004020202020204" pitchFamily="34" charset="0"/>
              </a:rPr>
              <a:t>end client</a:t>
            </a:r>
            <a:r>
              <a:rPr lang="en-GB" sz="2000" dirty="0">
                <a:latin typeface="Aptos" panose="020B0004020202020204" pitchFamily="34" charset="0"/>
                <a:ea typeface="Aptos" panose="020B0004020202020204" pitchFamily="34" charset="0"/>
                <a:cs typeface="Aptos" panose="020B0004020202020204" pitchFamily="34" charset="0"/>
              </a:rPr>
              <a:t> in market by Calculated transport to roaster plus roasting (primary data). + avg. transportation emissions to client in market (assumptions based on standard European databases) no matter if it stops in a local warehouse or not = Total emission per product.</a:t>
            </a:r>
            <a:endParaRPr lang="fi-FI" sz="2000" dirty="0">
              <a:latin typeface="Aptos" panose="020B0004020202020204" pitchFamily="34" charset="0"/>
              <a:ea typeface="Aptos" panose="020B0004020202020204" pitchFamily="34" charset="0"/>
              <a:cs typeface="Aptos" panose="020B0004020202020204" pitchFamily="34" charset="0"/>
            </a:endParaRPr>
          </a:p>
          <a:p>
            <a:r>
              <a:rPr lang="en-GB" sz="2000" dirty="0">
                <a:latin typeface="Aptos" panose="020B0004020202020204" pitchFamily="34" charset="0"/>
                <a:ea typeface="Aptos" panose="020B0004020202020204" pitchFamily="34" charset="0"/>
                <a:cs typeface="Aptos" panose="020B0004020202020204" pitchFamily="34" charset="0"/>
              </a:rPr>
              <a:t> </a:t>
            </a:r>
            <a:endParaRPr lang="fi-FI" sz="2000" dirty="0">
              <a:latin typeface="Aptos" panose="020B0004020202020204" pitchFamily="34" charset="0"/>
              <a:ea typeface="Aptos" panose="020B0004020202020204" pitchFamily="34" charset="0"/>
              <a:cs typeface="Aptos" panose="020B0004020202020204" pitchFamily="34" charset="0"/>
            </a:endParaRPr>
          </a:p>
          <a:p>
            <a:r>
              <a:rPr lang="en-GB" sz="2000" b="1" dirty="0">
                <a:latin typeface="Aptos" panose="020B0004020202020204" pitchFamily="34" charset="0"/>
                <a:ea typeface="Aptos" panose="020B0004020202020204" pitchFamily="34" charset="0"/>
                <a:cs typeface="Aptos" panose="020B0004020202020204" pitchFamily="34" charset="0"/>
              </a:rPr>
              <a:t>Selecta Logistic:</a:t>
            </a:r>
            <a:r>
              <a:rPr lang="en-GB" sz="2000" dirty="0">
                <a:latin typeface="Aptos" panose="020B0004020202020204" pitchFamily="34" charset="0"/>
                <a:ea typeface="Aptos" panose="020B0004020202020204" pitchFamily="34" charset="0"/>
                <a:cs typeface="Aptos" panose="020B0004020202020204" pitchFamily="34" charset="0"/>
              </a:rPr>
              <a:t> is JA and TJAs travels, based on KM to client which is a input field in the calculation.</a:t>
            </a:r>
            <a:endParaRPr lang="fi-FI" sz="2000" dirty="0">
              <a:latin typeface="Aptos" panose="020B0004020202020204" pitchFamily="34" charset="0"/>
              <a:ea typeface="Aptos" panose="020B0004020202020204" pitchFamily="34" charset="0"/>
              <a:cs typeface="Aptos" panose="020B0004020202020204" pitchFamily="34" charset="0"/>
            </a:endParaRPr>
          </a:p>
          <a:p>
            <a:r>
              <a:rPr lang="en-GB" sz="2000" dirty="0">
                <a:latin typeface="Aptos" panose="020B0004020202020204" pitchFamily="34" charset="0"/>
                <a:ea typeface="Aptos" panose="020B0004020202020204" pitchFamily="34" charset="0"/>
                <a:cs typeface="Aptos" panose="020B0004020202020204" pitchFamily="34" charset="0"/>
              </a:rPr>
              <a:t> </a:t>
            </a:r>
            <a:endParaRPr lang="fi-FI" sz="2000" dirty="0">
              <a:latin typeface="Aptos" panose="020B0004020202020204" pitchFamily="34" charset="0"/>
              <a:ea typeface="Aptos" panose="020B0004020202020204" pitchFamily="34" charset="0"/>
              <a:cs typeface="Aptos" panose="020B0004020202020204" pitchFamily="34" charset="0"/>
            </a:endParaRPr>
          </a:p>
          <a:p>
            <a:r>
              <a:rPr lang="en-GB" sz="2000" dirty="0">
                <a:latin typeface="Aptos" panose="020B0004020202020204" pitchFamily="34" charset="0"/>
                <a:ea typeface="Aptos" panose="020B0004020202020204" pitchFamily="34" charset="0"/>
                <a:cs typeface="Aptos" panose="020B0004020202020204" pitchFamily="34" charset="0"/>
              </a:rPr>
              <a:t>There is many moving elements in the last mile service. In the full this is a very small part of the full emissions. Hence the 80-90% accuracy (which is way higher than standard spent base calculations). </a:t>
            </a:r>
            <a:endParaRPr lang="fi-FI" sz="2000" dirty="0">
              <a:latin typeface="Aptos" panose="020B0004020202020204" pitchFamily="34" charset="0"/>
              <a:ea typeface="Aptos" panose="020B0004020202020204" pitchFamily="34" charset="0"/>
              <a:cs typeface="Aptos" panose="020B0004020202020204" pitchFamily="34" charset="0"/>
            </a:endParaRPr>
          </a:p>
          <a:p>
            <a:r>
              <a:rPr lang="en-GB" sz="2000" dirty="0">
                <a:latin typeface="Aptos" panose="020B0004020202020204" pitchFamily="34" charset="0"/>
                <a:ea typeface="Aptos" panose="020B0004020202020204" pitchFamily="34" charset="0"/>
                <a:cs typeface="Aptos" panose="020B0004020202020204" pitchFamily="34" charset="0"/>
              </a:rPr>
              <a:t> </a:t>
            </a:r>
            <a:endParaRPr lang="fi-FI" sz="2000" dirty="0">
              <a:latin typeface="Aptos" panose="020B0004020202020204" pitchFamily="34" charset="0"/>
              <a:ea typeface="Aptos" panose="020B0004020202020204" pitchFamily="34" charset="0"/>
              <a:cs typeface="Aptos" panose="020B0004020202020204" pitchFamily="34" charset="0"/>
            </a:endParaRPr>
          </a:p>
          <a:p>
            <a:endParaRPr lang="fi-FI" dirty="0"/>
          </a:p>
        </p:txBody>
      </p:sp>
      <p:sp>
        <p:nvSpPr>
          <p:cNvPr id="4" name="Dian numeron paikkamerkki 3"/>
          <p:cNvSpPr>
            <a:spLocks noGrp="1"/>
          </p:cNvSpPr>
          <p:nvPr>
            <p:ph type="sldNum" sz="quarter" idx="5"/>
          </p:nvPr>
        </p:nvSpPr>
        <p:spPr/>
        <p:txBody>
          <a:bodyPr/>
          <a:lstStyle/>
          <a:p>
            <a:fld id="{BD77E6DB-F6CB-45D2-97D4-31882362137B}" type="slidenum">
              <a:rPr lang="fi-FI" smtClean="0"/>
              <a:t>6</a:t>
            </a:fld>
            <a:endParaRPr lang="fi-FI"/>
          </a:p>
        </p:txBody>
      </p:sp>
    </p:spTree>
    <p:extLst>
      <p:ext uri="{BB962C8B-B14F-4D97-AF65-F5344CB8AC3E}">
        <p14:creationId xmlns:p14="http://schemas.microsoft.com/office/powerpoint/2010/main" val="1185851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BD77E6DB-F6CB-45D2-97D4-31882362137B}" type="slidenum">
              <a:rPr lang="fi-FI" smtClean="0"/>
              <a:t>8</a:t>
            </a:fld>
            <a:endParaRPr lang="fi-FI"/>
          </a:p>
        </p:txBody>
      </p:sp>
    </p:spTree>
    <p:extLst>
      <p:ext uri="{BB962C8B-B14F-4D97-AF65-F5344CB8AC3E}">
        <p14:creationId xmlns:p14="http://schemas.microsoft.com/office/powerpoint/2010/main" val="1564696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GWP / </a:t>
            </a:r>
            <a:r>
              <a:rPr lang="fi-FI" b="1" dirty="0"/>
              <a:t>Global </a:t>
            </a:r>
            <a:r>
              <a:rPr lang="fi-FI" b="1" dirty="0" err="1"/>
              <a:t>Warming</a:t>
            </a:r>
            <a:r>
              <a:rPr lang="fi-FI" b="1" dirty="0"/>
              <a:t> </a:t>
            </a:r>
            <a:r>
              <a:rPr lang="fi-FI" b="1" dirty="0" err="1"/>
              <a:t>Potential</a:t>
            </a:r>
            <a:r>
              <a:rPr lang="fi-FI" dirty="0"/>
              <a:t> eli </a:t>
            </a:r>
            <a:r>
              <a:rPr lang="fi-FI" b="1" dirty="0"/>
              <a:t>ilmastonlämmityspotentiaali</a:t>
            </a:r>
            <a:r>
              <a:rPr lang="fi-FI" dirty="0"/>
              <a:t>. Se on mittari, joka kuvaa kasvihuonekaasujen vaikutusta ilmaston lämpenemiseen verrattuna hiilidioksidiin (CO₂). 1 kg CO2 = 1 GWP.  Muilla kasvihuonekaasuilla on omat kertoimensa. Esimerkiksi metaanilla (CH4), arvo on 28-34. </a:t>
            </a:r>
          </a:p>
          <a:p>
            <a:endParaRPr lang="fi-FI" dirty="0"/>
          </a:p>
          <a:p>
            <a:pPr defTabSz="990752">
              <a:defRPr/>
            </a:pPr>
            <a:r>
              <a:rPr lang="fi-FI" b="1" dirty="0"/>
              <a:t>Hiilidioksidiekvivalentti (</a:t>
            </a:r>
            <a:r>
              <a:rPr lang="fi-FI" b="1" dirty="0" err="1"/>
              <a:t>CO₂e</a:t>
            </a:r>
            <a:r>
              <a:rPr lang="fi-FI" b="1" dirty="0"/>
              <a:t>) </a:t>
            </a:r>
            <a:r>
              <a:rPr lang="fi-FI" b="0" dirty="0"/>
              <a:t>on läheinen </a:t>
            </a:r>
            <a:r>
              <a:rPr lang="fi-FI" b="0" dirty="0" err="1"/>
              <a:t>GWP:lle</a:t>
            </a:r>
            <a:r>
              <a:rPr lang="fi-FI" b="0" dirty="0"/>
              <a:t> mutta eri asia. </a:t>
            </a:r>
            <a:r>
              <a:rPr lang="fi-FI" dirty="0" err="1"/>
              <a:t>CO₂e</a:t>
            </a:r>
            <a:r>
              <a:rPr lang="fi-FI" dirty="0"/>
              <a:t> on kokonaisvaltainen tapa mitata eri kasvihuonekaasujen yhteisvaikutusta ilmastonmuutokseen. Se yhdistää eri kaasujen vaikutukset yhteen lukuarvoon (käyttäen laskennassa eri kaasujen GWP-arvoa). Esimerkiksi jos ilmakehään pääsee 1 tonni metaania, jonka GWP-arvo on 28, laskukaava on 1000*28=28 000 co2e. </a:t>
            </a:r>
            <a:r>
              <a:rPr lang="fi-FI" dirty="0" err="1"/>
              <a:t>CO₂e</a:t>
            </a:r>
            <a:r>
              <a:rPr lang="fi-FI" dirty="0"/>
              <a:t> on käytännön työkalu esimerkiksi yritysten tai maiden ilmastoraportoinnissa ja -tavoitteiden määrittelyssä.</a:t>
            </a:r>
            <a:endParaRPr lang="fi-FI" b="1" dirty="0"/>
          </a:p>
          <a:p>
            <a:r>
              <a:rPr lang="fi-FI" dirty="0"/>
              <a:t> </a:t>
            </a:r>
          </a:p>
        </p:txBody>
      </p:sp>
      <p:sp>
        <p:nvSpPr>
          <p:cNvPr id="4" name="Dian numeron paikkamerkki 3"/>
          <p:cNvSpPr>
            <a:spLocks noGrp="1"/>
          </p:cNvSpPr>
          <p:nvPr>
            <p:ph type="sldNum" sz="quarter" idx="5"/>
          </p:nvPr>
        </p:nvSpPr>
        <p:spPr/>
        <p:txBody>
          <a:bodyPr/>
          <a:lstStyle/>
          <a:p>
            <a:fld id="{BD77E6DB-F6CB-45D2-97D4-31882362137B}" type="slidenum">
              <a:rPr lang="fi-FI" smtClean="0"/>
              <a:t>9</a:t>
            </a:fld>
            <a:endParaRPr lang="fi-FI"/>
          </a:p>
        </p:txBody>
      </p:sp>
    </p:spTree>
    <p:extLst>
      <p:ext uri="{BB962C8B-B14F-4D97-AF65-F5344CB8AC3E}">
        <p14:creationId xmlns:p14="http://schemas.microsoft.com/office/powerpoint/2010/main" val="754153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7E6DB-F6CB-45D2-97D4-31882362137B}" type="slidenum">
              <a:rPr kumimoji="0" lang="fi-FI" sz="13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i-FI"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962627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 Id="rId5" Type="http://schemas.openxmlformats.org/officeDocument/2006/relationships/chart" Target="../charts/chart4.xml"/><Relationship Id="rId4" Type="http://schemas.openxmlformats.org/officeDocument/2006/relationships/chart" Target="../charts/chart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page">
    <p:spTree>
      <p:nvGrpSpPr>
        <p:cNvPr id="1" name=""/>
        <p:cNvGrpSpPr/>
        <p:nvPr/>
      </p:nvGrpSpPr>
      <p:grpSpPr>
        <a:xfrm>
          <a:off x="0" y="0"/>
          <a:ext cx="0" cy="0"/>
          <a:chOff x="0" y="0"/>
          <a:chExt cx="0" cy="0"/>
        </a:xfrm>
      </p:grpSpPr>
      <p:pic>
        <p:nvPicPr>
          <p:cNvPr id="15" name="Afbeelding 14" descr="Afbeelding met Lettertype, Graphics, logo, symbool&#10;&#10;Door AI gegenereerde inhoud is mogelijk onjuist.">
            <a:extLst>
              <a:ext uri="{FF2B5EF4-FFF2-40B4-BE49-F238E27FC236}">
                <a16:creationId xmlns:a16="http://schemas.microsoft.com/office/drawing/2014/main" id="{47DE6D08-7424-C212-42F7-FC7278F25D7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17" name="Tekstvak 16">
            <a:extLst>
              <a:ext uri="{FF2B5EF4-FFF2-40B4-BE49-F238E27FC236}">
                <a16:creationId xmlns:a16="http://schemas.microsoft.com/office/drawing/2014/main" id="{B40B2CD8-0D52-7619-EFB4-558CDDB4B8C2}"/>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18" name="TextBox 14">
            <a:extLst>
              <a:ext uri="{FF2B5EF4-FFF2-40B4-BE49-F238E27FC236}">
                <a16:creationId xmlns:a16="http://schemas.microsoft.com/office/drawing/2014/main" id="{E7735893-1ECC-8DE9-3257-2B5524EE31C7}"/>
              </a:ext>
            </a:extLst>
          </p:cNvPr>
          <p:cNvSpPr txBox="1"/>
          <p:nvPr userDrawn="1"/>
        </p:nvSpPr>
        <p:spPr>
          <a:xfrm>
            <a:off x="2176461" y="4952111"/>
            <a:ext cx="7839077" cy="861774"/>
          </a:xfrm>
          <a:prstGeom prst="rect">
            <a:avLst/>
          </a:prstGeom>
          <a:noFill/>
        </p:spPr>
        <p:txBody>
          <a:bodyPr wrap="square" rtlCol="0">
            <a:spAutoFit/>
          </a:bodyPr>
          <a:lstStyle/>
          <a:p>
            <a:pPr algn="ctr"/>
            <a:r>
              <a:rPr lang="en-GB" sz="5000">
                <a:solidFill>
                  <a:schemeClr val="bg1"/>
                </a:solidFill>
                <a:latin typeface="Fave Script Bold Pro" pitchFamily="2" charset="77"/>
                <a:cs typeface="Arial" panose="020B0604020202020204" pitchFamily="34" charset="0"/>
              </a:rPr>
              <a:t>For coffee lovers, Foodies, and everyday treats. </a:t>
            </a:r>
          </a:p>
        </p:txBody>
      </p:sp>
      <p:cxnSp>
        <p:nvCxnSpPr>
          <p:cNvPr id="19" name="Straight Connector 16">
            <a:extLst>
              <a:ext uri="{FF2B5EF4-FFF2-40B4-BE49-F238E27FC236}">
                <a16:creationId xmlns:a16="http://schemas.microsoft.com/office/drawing/2014/main" id="{899E8A5C-653E-F568-F1C7-741631DA3581}"/>
              </a:ext>
            </a:extLst>
          </p:cNvPr>
          <p:cNvCxnSpPr/>
          <p:nvPr userDrawn="1"/>
        </p:nvCxnSpPr>
        <p:spPr>
          <a:xfrm>
            <a:off x="3628573" y="4771745"/>
            <a:ext cx="493485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
        <p:nvSpPr>
          <p:cNvPr id="20" name="TextBox 15">
            <a:extLst>
              <a:ext uri="{FF2B5EF4-FFF2-40B4-BE49-F238E27FC236}">
                <a16:creationId xmlns:a16="http://schemas.microsoft.com/office/drawing/2014/main" id="{5995E8D6-F57E-CE5D-235C-7C3E510BB0FF}"/>
              </a:ext>
            </a:extLst>
          </p:cNvPr>
          <p:cNvSpPr txBox="1"/>
          <p:nvPr userDrawn="1"/>
        </p:nvSpPr>
        <p:spPr>
          <a:xfrm>
            <a:off x="1486725" y="3575717"/>
            <a:ext cx="9327855" cy="1015663"/>
          </a:xfrm>
          <a:prstGeom prst="rect">
            <a:avLst/>
          </a:prstGeom>
          <a:noFill/>
          <a:effectLst/>
        </p:spPr>
        <p:txBody>
          <a:bodyPr wrap="square" rtlCol="0">
            <a:spAutoFit/>
          </a:bodyPr>
          <a:lstStyle/>
          <a:p>
            <a:pPr algn="ctr"/>
            <a:r>
              <a:rPr lang="en-GB" sz="6000" b="1">
                <a:solidFill>
                  <a:schemeClr val="bg1"/>
                </a:solidFill>
                <a:latin typeface="Prometo" panose="020B0604030203060203" pitchFamily="34" charset="77"/>
                <a:ea typeface="Fira Sans SemiBold" panose="020B0603050000020004" pitchFamily="34" charset="0"/>
              </a:rPr>
              <a:t>SELECTA</a:t>
            </a:r>
          </a:p>
        </p:txBody>
      </p:sp>
    </p:spTree>
    <p:extLst>
      <p:ext uri="{BB962C8B-B14F-4D97-AF65-F5344CB8AC3E}">
        <p14:creationId xmlns:p14="http://schemas.microsoft.com/office/powerpoint/2010/main" val="3457033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slide_4">
    <p:spTree>
      <p:nvGrpSpPr>
        <p:cNvPr id="1" name=""/>
        <p:cNvGrpSpPr/>
        <p:nvPr/>
      </p:nvGrpSpPr>
      <p:grpSpPr>
        <a:xfrm>
          <a:off x="0" y="0"/>
          <a:ext cx="0" cy="0"/>
          <a:chOff x="0" y="0"/>
          <a:chExt cx="0" cy="0"/>
        </a:xfrm>
      </p:grpSpPr>
      <p:pic>
        <p:nvPicPr>
          <p:cNvPr id="2" name="Afbeelding 1" descr="Afbeelding met persoon, kleding, hemel, buitenshuis&#10;&#10;Door AI gegenereerde inhoud is mogelijk onjuist.">
            <a:extLst>
              <a:ext uri="{FF2B5EF4-FFF2-40B4-BE49-F238E27FC236}">
                <a16:creationId xmlns:a16="http://schemas.microsoft.com/office/drawing/2014/main" id="{7A5AEC02-8209-1DBF-BFF8-48AE815054D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922752"/>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35039497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1E28-C7B6-4BA1-9907-789CD9A648E7}"/>
              </a:ext>
            </a:extLst>
          </p:cNvPr>
          <p:cNvSpPr>
            <a:spLocks noGrp="1"/>
          </p:cNvSpPr>
          <p:nvPr>
            <p:ph type="ctrTitle" hasCustomPrompt="1"/>
          </p:nvPr>
        </p:nvSpPr>
        <p:spPr>
          <a:xfrm>
            <a:off x="550863" y="531581"/>
            <a:ext cx="5473700" cy="844782"/>
          </a:xfrm>
        </p:spPr>
        <p:txBody>
          <a:bodyPr anchor="t">
            <a:noAutofit/>
          </a:bodyPr>
          <a:lstStyle>
            <a:lvl1pPr algn="l">
              <a:defRPr sz="2000" spc="0" baseline="0">
                <a:solidFill>
                  <a:schemeClr val="accent3"/>
                </a:solidFill>
              </a:defRPr>
            </a:lvl1pPr>
          </a:lstStyle>
          <a:p>
            <a:r>
              <a:rPr lang="en-GB"/>
              <a:t>TITLE VERDANA 20PT</a:t>
            </a:r>
          </a:p>
        </p:txBody>
      </p:sp>
      <p:pic>
        <p:nvPicPr>
          <p:cNvPr id="8" name="Picture 7">
            <a:extLst>
              <a:ext uri="{FF2B5EF4-FFF2-40B4-BE49-F238E27FC236}">
                <a16:creationId xmlns:a16="http://schemas.microsoft.com/office/drawing/2014/main" id="{181706E1-978F-4304-9D93-E65643FC5A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16" name="Slide Number Placeholder 5">
            <a:extLst>
              <a:ext uri="{FF2B5EF4-FFF2-40B4-BE49-F238E27FC236}">
                <a16:creationId xmlns:a16="http://schemas.microsoft.com/office/drawing/2014/main" id="{F983E6E9-7A02-49C8-BA96-A619739DE486}"/>
              </a:ext>
            </a:extLst>
          </p:cNvPr>
          <p:cNvSpPr>
            <a:spLocks noGrp="1"/>
          </p:cNvSpPr>
          <p:nvPr>
            <p:ph type="sldNum" sz="quarter" idx="12"/>
          </p:nvPr>
        </p:nvSpPr>
        <p:spPr>
          <a:xfrm>
            <a:off x="11471189" y="6434807"/>
            <a:ext cx="169948" cy="147847"/>
          </a:xfrm>
        </p:spPr>
        <p:txBody>
          <a:bodyPr/>
          <a:lstStyle>
            <a:lvl1pPr>
              <a:defRPr sz="700">
                <a:solidFill>
                  <a:schemeClr val="tx2"/>
                </a:solidFill>
              </a:defRPr>
            </a:lvl1pPr>
          </a:lstStyle>
          <a:p>
            <a:fld id="{015F0CDB-A812-4850-A270-8696C5F0BFD2}" type="slidenum">
              <a:rPr lang="en-GB" smtClean="0"/>
              <a:pPr/>
              <a:t>‹#›</a:t>
            </a:fld>
            <a:endParaRPr lang="en-GB"/>
          </a:p>
        </p:txBody>
      </p:sp>
      <p:sp>
        <p:nvSpPr>
          <p:cNvPr id="20" name="Text Placeholder 23">
            <a:extLst>
              <a:ext uri="{FF2B5EF4-FFF2-40B4-BE49-F238E27FC236}">
                <a16:creationId xmlns:a16="http://schemas.microsoft.com/office/drawing/2014/main" id="{976D786E-AAAD-4CB5-ABC4-8B398869E116}"/>
              </a:ext>
            </a:extLst>
          </p:cNvPr>
          <p:cNvSpPr>
            <a:spLocks noGrp="1"/>
          </p:cNvSpPr>
          <p:nvPr>
            <p:ph type="body" sz="quarter" idx="22" hasCustomPrompt="1"/>
          </p:nvPr>
        </p:nvSpPr>
        <p:spPr>
          <a:xfrm>
            <a:off x="6959600" y="6434807"/>
            <a:ext cx="3235924" cy="147847"/>
          </a:xfrm>
        </p:spPr>
        <p:txBody>
          <a:bodyPr anchor="b">
            <a:noAutofit/>
          </a:bodyPr>
          <a:lstStyle>
            <a:lvl1pPr marL="0" indent="0" algn="r">
              <a:spcBef>
                <a:spcPts val="0"/>
              </a:spcBef>
              <a:buNone/>
              <a:defRPr sz="700" b="1">
                <a:solidFill>
                  <a:schemeClr val="tx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Presentation title</a:t>
            </a:r>
          </a:p>
        </p:txBody>
      </p:sp>
      <p:pic>
        <p:nvPicPr>
          <p:cNvPr id="21" name="Picture 20">
            <a:extLst>
              <a:ext uri="{FF2B5EF4-FFF2-40B4-BE49-F238E27FC236}">
                <a16:creationId xmlns:a16="http://schemas.microsoft.com/office/drawing/2014/main" id="{6AA42D63-1D03-4791-A0CB-0881340EB7E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956" y="6318949"/>
            <a:ext cx="815743" cy="258437"/>
          </a:xfrm>
          <a:prstGeom prst="rect">
            <a:avLst/>
          </a:prstGeom>
        </p:spPr>
      </p:pic>
    </p:spTree>
    <p:extLst>
      <p:ext uri="{BB962C8B-B14F-4D97-AF65-F5344CB8AC3E}">
        <p14:creationId xmlns:p14="http://schemas.microsoft.com/office/powerpoint/2010/main" val="401155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ext on white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1E28-C7B6-4BA1-9907-789CD9A648E7}"/>
              </a:ext>
            </a:extLst>
          </p:cNvPr>
          <p:cNvSpPr>
            <a:spLocks noGrp="1"/>
          </p:cNvSpPr>
          <p:nvPr>
            <p:ph type="ctrTitle" hasCustomPrompt="1"/>
          </p:nvPr>
        </p:nvSpPr>
        <p:spPr>
          <a:xfrm>
            <a:off x="550863" y="531581"/>
            <a:ext cx="5473700" cy="844782"/>
          </a:xfrm>
        </p:spPr>
        <p:txBody>
          <a:bodyPr anchor="t">
            <a:noAutofit/>
          </a:bodyPr>
          <a:lstStyle>
            <a:lvl1pPr algn="l">
              <a:defRPr sz="2000" spc="0" baseline="0">
                <a:solidFill>
                  <a:schemeClr val="accent3"/>
                </a:solidFill>
              </a:defRPr>
            </a:lvl1pPr>
          </a:lstStyle>
          <a:p>
            <a:r>
              <a:rPr lang="en-GB"/>
              <a:t>TITLE VERDANA 20PT</a:t>
            </a:r>
          </a:p>
        </p:txBody>
      </p:sp>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50863" y="1644186"/>
            <a:ext cx="5472112" cy="3859306"/>
          </a:xfrm>
        </p:spPr>
        <p:txBody>
          <a:bodyPr anchor="t">
            <a:noAutofit/>
          </a:bodyPr>
          <a:lstStyle>
            <a:lvl1pPr marL="342900" indent="-342900">
              <a:spcBef>
                <a:spcPts val="1000"/>
              </a:spcBef>
              <a:buFont typeface="Arial" panose="020B0604020202020204" pitchFamily="34" charset="0"/>
              <a:buChar char="•"/>
              <a:defRPr sz="2400">
                <a:solidFill>
                  <a:schemeClr val="tx2"/>
                </a:solidFill>
              </a:defRPr>
            </a:lvl1pPr>
            <a:lvl2pPr marL="687600" indent="-342900">
              <a:buFont typeface="Arial" panose="020B0604020202020204" pitchFamily="34" charset="0"/>
              <a:buChar char="•"/>
              <a:defRPr sz="24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ullets Arial 24PT</a:t>
            </a:r>
          </a:p>
          <a:p>
            <a:pPr lvl="1"/>
            <a:r>
              <a:rPr lang="en-US"/>
              <a:t>Second level</a:t>
            </a:r>
          </a:p>
        </p:txBody>
      </p:sp>
      <p:pic>
        <p:nvPicPr>
          <p:cNvPr id="10" name="Picture 9">
            <a:extLst>
              <a:ext uri="{FF2B5EF4-FFF2-40B4-BE49-F238E27FC236}">
                <a16:creationId xmlns:a16="http://schemas.microsoft.com/office/drawing/2014/main" id="{3F3792E6-5336-4DEB-B787-DC95C9BFBF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956" y="6318949"/>
            <a:ext cx="815743" cy="258437"/>
          </a:xfrm>
          <a:prstGeom prst="rect">
            <a:avLst/>
          </a:prstGeom>
        </p:spPr>
      </p:pic>
      <p:pic>
        <p:nvPicPr>
          <p:cNvPr id="19" name="Picture 18">
            <a:extLst>
              <a:ext uri="{FF2B5EF4-FFF2-40B4-BE49-F238E27FC236}">
                <a16:creationId xmlns:a16="http://schemas.microsoft.com/office/drawing/2014/main" id="{A9612A6A-65C9-4AF8-808B-0897EA166A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12" name="Text Placeholder 23">
            <a:extLst>
              <a:ext uri="{FF2B5EF4-FFF2-40B4-BE49-F238E27FC236}">
                <a16:creationId xmlns:a16="http://schemas.microsoft.com/office/drawing/2014/main" id="{D84A5E5A-4E6A-42AB-AC80-ACE6FC3635D9}"/>
              </a:ext>
            </a:extLst>
          </p:cNvPr>
          <p:cNvSpPr>
            <a:spLocks noGrp="1"/>
          </p:cNvSpPr>
          <p:nvPr>
            <p:ph type="body" sz="quarter" idx="22" hasCustomPrompt="1"/>
          </p:nvPr>
        </p:nvSpPr>
        <p:spPr>
          <a:xfrm>
            <a:off x="6169027" y="1644186"/>
            <a:ext cx="5472112" cy="3859306"/>
          </a:xfrm>
        </p:spPr>
        <p:txBody>
          <a:bodyPr anchor="t">
            <a:noAutofit/>
          </a:bodyPr>
          <a:lstStyle>
            <a:lvl1pPr marL="342900" indent="-342900">
              <a:spcBef>
                <a:spcPts val="1000"/>
              </a:spcBef>
              <a:buFont typeface="Arial" panose="020B0604020202020204" pitchFamily="34" charset="0"/>
              <a:buChar char="•"/>
              <a:defRPr sz="2400">
                <a:solidFill>
                  <a:schemeClr val="tx2"/>
                </a:solidFill>
              </a:defRPr>
            </a:lvl1pPr>
            <a:lvl2pPr marL="687600" indent="-342900">
              <a:buFont typeface="Arial" panose="020B0604020202020204" pitchFamily="34" charset="0"/>
              <a:buChar char="•"/>
              <a:defRPr sz="24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ullets Arial 24PT</a:t>
            </a:r>
          </a:p>
          <a:p>
            <a:pPr lvl="1"/>
            <a:r>
              <a:rPr lang="en-US"/>
              <a:t>Second level</a:t>
            </a:r>
          </a:p>
        </p:txBody>
      </p:sp>
      <p:sp>
        <p:nvSpPr>
          <p:cNvPr id="13" name="Slide Number Placeholder 5">
            <a:extLst>
              <a:ext uri="{FF2B5EF4-FFF2-40B4-BE49-F238E27FC236}">
                <a16:creationId xmlns:a16="http://schemas.microsoft.com/office/drawing/2014/main" id="{B64F625E-BAA4-4521-9C84-73F076ADBD75}"/>
              </a:ext>
            </a:extLst>
          </p:cNvPr>
          <p:cNvSpPr>
            <a:spLocks noGrp="1"/>
          </p:cNvSpPr>
          <p:nvPr>
            <p:ph type="sldNum" sz="quarter" idx="12"/>
          </p:nvPr>
        </p:nvSpPr>
        <p:spPr>
          <a:xfrm>
            <a:off x="11471189" y="6434807"/>
            <a:ext cx="169948" cy="147847"/>
          </a:xfrm>
        </p:spPr>
        <p:txBody>
          <a:bodyPr/>
          <a:lstStyle>
            <a:lvl1pPr>
              <a:defRPr sz="700">
                <a:solidFill>
                  <a:schemeClr val="tx2"/>
                </a:solidFill>
              </a:defRPr>
            </a:lvl1pPr>
          </a:lstStyle>
          <a:p>
            <a:fld id="{015F0CDB-A812-4850-A270-8696C5F0BFD2}" type="slidenum">
              <a:rPr lang="en-GB" smtClean="0"/>
              <a:pPr/>
              <a:t>‹#›</a:t>
            </a:fld>
            <a:endParaRPr lang="en-GB"/>
          </a:p>
        </p:txBody>
      </p:sp>
      <p:sp>
        <p:nvSpPr>
          <p:cNvPr id="15" name="Text Placeholder 23">
            <a:extLst>
              <a:ext uri="{FF2B5EF4-FFF2-40B4-BE49-F238E27FC236}">
                <a16:creationId xmlns:a16="http://schemas.microsoft.com/office/drawing/2014/main" id="{D015F41F-A23F-42A1-BC50-A0369DBE4777}"/>
              </a:ext>
            </a:extLst>
          </p:cNvPr>
          <p:cNvSpPr>
            <a:spLocks noGrp="1"/>
          </p:cNvSpPr>
          <p:nvPr>
            <p:ph type="body" sz="quarter" idx="21" hasCustomPrompt="1"/>
          </p:nvPr>
        </p:nvSpPr>
        <p:spPr>
          <a:xfrm>
            <a:off x="6959600" y="6434807"/>
            <a:ext cx="3235924" cy="147847"/>
          </a:xfrm>
        </p:spPr>
        <p:txBody>
          <a:bodyPr anchor="b">
            <a:noAutofit/>
          </a:bodyPr>
          <a:lstStyle>
            <a:lvl1pPr marL="0" indent="0" algn="r">
              <a:spcBef>
                <a:spcPts val="0"/>
              </a:spcBef>
              <a:buNone/>
              <a:defRPr sz="700" b="1">
                <a:solidFill>
                  <a:schemeClr val="tx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Presentation title</a:t>
            </a:r>
          </a:p>
        </p:txBody>
      </p:sp>
    </p:spTree>
    <p:extLst>
      <p:ext uri="{BB962C8B-B14F-4D97-AF65-F5344CB8AC3E}">
        <p14:creationId xmlns:p14="http://schemas.microsoft.com/office/powerpoint/2010/main" val="39887485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11072043" cy="4776155"/>
          </a:xfrm>
        </p:spPr>
        <p:txBody>
          <a:bodyPr numCol="2" spcCol="360000">
            <a:normAutofit/>
          </a:bodyPr>
          <a:lstStyle>
            <a:lvl1pPr marL="0" indent="0" algn="just">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3" name="Tijdelijke aanduiding voor afbeelding 12">
            <a:extLst>
              <a:ext uri="{FF2B5EF4-FFF2-40B4-BE49-F238E27FC236}">
                <a16:creationId xmlns:a16="http://schemas.microsoft.com/office/drawing/2014/main" id="{07D76D70-B366-27F3-70DC-A9D41B023B34}"/>
              </a:ext>
            </a:extLst>
          </p:cNvPr>
          <p:cNvSpPr>
            <a:spLocks noGrp="1"/>
          </p:cNvSpPr>
          <p:nvPr>
            <p:ph type="pic" sz="quarter" idx="18"/>
          </p:nvPr>
        </p:nvSpPr>
        <p:spPr>
          <a:xfrm>
            <a:off x="5440746" y="6197095"/>
            <a:ext cx="1310508" cy="468000"/>
          </a:xfrm>
        </p:spPr>
        <p:txBody>
          <a:bodyPr/>
          <a:lstStyle/>
          <a:p>
            <a:endParaRPr lang="en-GB"/>
          </a:p>
        </p:txBody>
      </p:sp>
      <p:sp>
        <p:nvSpPr>
          <p:cNvPr id="14" name="Titel 13">
            <a:extLst>
              <a:ext uri="{FF2B5EF4-FFF2-40B4-BE49-F238E27FC236}">
                <a16:creationId xmlns:a16="http://schemas.microsoft.com/office/drawing/2014/main" id="{4EF09AFA-E38D-24CD-85F2-90902451C398}"/>
              </a:ext>
            </a:extLst>
          </p:cNvPr>
          <p:cNvSpPr>
            <a:spLocks noGrp="1"/>
          </p:cNvSpPr>
          <p:nvPr>
            <p:ph type="title"/>
          </p:nvPr>
        </p:nvSpPr>
        <p:spPr/>
        <p:txBody>
          <a:bodyPr/>
          <a:lstStyle/>
          <a:p>
            <a:r>
              <a:rPr lang="nl-NL"/>
              <a:t>Klik om stijl te bewerken</a:t>
            </a:r>
            <a:endParaRPr lang="en-GB"/>
          </a:p>
        </p:txBody>
      </p:sp>
    </p:spTree>
    <p:extLst>
      <p:ext uri="{BB962C8B-B14F-4D97-AF65-F5344CB8AC3E}">
        <p14:creationId xmlns:p14="http://schemas.microsoft.com/office/powerpoint/2010/main" val="265207252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ABOUT COMPANY 2">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5350445" y="1"/>
            <a:ext cx="6841555" cy="5588995"/>
          </a:xfrm>
          <a:custGeom>
            <a:avLst/>
            <a:gdLst>
              <a:gd name="connsiteX0" fmla="*/ 5709738 w 10262333"/>
              <a:gd name="connsiteY0" fmla="*/ 0 h 8383492"/>
              <a:gd name="connsiteX1" fmla="*/ 10262333 w 10262333"/>
              <a:gd name="connsiteY1" fmla="*/ 0 h 8383492"/>
              <a:gd name="connsiteX2" fmla="*/ 10262333 w 10262333"/>
              <a:gd name="connsiteY2" fmla="*/ 0 h 8383492"/>
              <a:gd name="connsiteX3" fmla="*/ 10262333 w 10262333"/>
              <a:gd name="connsiteY3" fmla="*/ 4229100 h 8383492"/>
              <a:gd name="connsiteX4" fmla="*/ 10262333 w 10262333"/>
              <a:gd name="connsiteY4" fmla="*/ 8383492 h 8383492"/>
              <a:gd name="connsiteX5" fmla="*/ 10146625 w 10262333"/>
              <a:gd name="connsiteY5" fmla="*/ 8375198 h 8383492"/>
              <a:gd name="connsiteX6" fmla="*/ 6788196 w 10262333"/>
              <a:gd name="connsiteY6" fmla="*/ 6791094 h 8383492"/>
              <a:gd name="connsiteX7" fmla="*/ 55849 w 10262333"/>
              <a:gd name="connsiteY7" fmla="*/ 58747 h 8383492"/>
              <a:gd name="connsiteX8" fmla="*/ 0 w 10262333"/>
              <a:gd name="connsiteY8" fmla="*/ 0 h 8383492"/>
              <a:gd name="connsiteX9" fmla="*/ 5709738 w 10262333"/>
              <a:gd name="connsiteY9" fmla="*/ 0 h 838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2333" h="8383492">
                <a:moveTo>
                  <a:pt x="5709738" y="0"/>
                </a:moveTo>
                <a:lnTo>
                  <a:pt x="10262333" y="0"/>
                </a:lnTo>
                <a:lnTo>
                  <a:pt x="10262333" y="0"/>
                </a:lnTo>
                <a:lnTo>
                  <a:pt x="10262333" y="4229100"/>
                </a:lnTo>
                <a:lnTo>
                  <a:pt x="10262333" y="8383492"/>
                </a:lnTo>
                <a:lnTo>
                  <a:pt x="10146625" y="8375198"/>
                </a:lnTo>
                <a:cubicBezTo>
                  <a:pt x="8920827" y="8257857"/>
                  <a:pt x="7726925" y="7729823"/>
                  <a:pt x="6788196" y="6791094"/>
                </a:cubicBezTo>
                <a:lnTo>
                  <a:pt x="55849" y="58747"/>
                </a:lnTo>
                <a:lnTo>
                  <a:pt x="0" y="0"/>
                </a:lnTo>
                <a:lnTo>
                  <a:pt x="5709738" y="0"/>
                </a:lnTo>
                <a:close/>
              </a:path>
            </a:pathLst>
          </a:custGeom>
          <a:solidFill>
            <a:schemeClr val="bg1">
              <a:lumMod val="95000"/>
            </a:schemeClr>
          </a:solidFill>
        </p:spPr>
        <p:txBody>
          <a:bodyPr wrap="square">
            <a:noAutofit/>
          </a:bodyPr>
          <a:lstStyle/>
          <a:p>
            <a:endParaRPr lang="en-GB"/>
          </a:p>
        </p:txBody>
      </p:sp>
    </p:spTree>
    <p:extLst>
      <p:ext uri="{BB962C8B-B14F-4D97-AF65-F5344CB8AC3E}">
        <p14:creationId xmlns:p14="http://schemas.microsoft.com/office/powerpoint/2010/main" val="1042553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slide_5">
    <p:spTree>
      <p:nvGrpSpPr>
        <p:cNvPr id="1" name=""/>
        <p:cNvGrpSpPr/>
        <p:nvPr/>
      </p:nvGrpSpPr>
      <p:grpSpPr>
        <a:xfrm>
          <a:off x="0" y="0"/>
          <a:ext cx="0" cy="0"/>
          <a:chOff x="0" y="0"/>
          <a:chExt cx="0" cy="0"/>
        </a:xfrm>
      </p:grpSpPr>
      <p:pic>
        <p:nvPicPr>
          <p:cNvPr id="2" name="Afbeelding 1" descr="Afbeelding met persoon, kleding, Menselijk gezicht, gebouw&#10;&#10;Door AI gegenereerde inhoud is mogelijk onjuist.">
            <a:extLst>
              <a:ext uri="{FF2B5EF4-FFF2-40B4-BE49-F238E27FC236}">
                <a16:creationId xmlns:a16="http://schemas.microsoft.com/office/drawing/2014/main" id="{94FF45E8-B7B6-058D-7207-96C99B0D59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697128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slide_6">
    <p:spTree>
      <p:nvGrpSpPr>
        <p:cNvPr id="1" name=""/>
        <p:cNvGrpSpPr/>
        <p:nvPr/>
      </p:nvGrpSpPr>
      <p:grpSpPr>
        <a:xfrm>
          <a:off x="0" y="0"/>
          <a:ext cx="0" cy="0"/>
          <a:chOff x="0" y="0"/>
          <a:chExt cx="0" cy="0"/>
        </a:xfrm>
      </p:grpSpPr>
      <p:pic>
        <p:nvPicPr>
          <p:cNvPr id="2" name="Afbeelding 1" descr="Afbeelding met persoon, voedsel, koffie, cafeïne&#10;&#10;Door AI gegenereerde inhoud is mogelijk onjuist.">
            <a:extLst>
              <a:ext uri="{FF2B5EF4-FFF2-40B4-BE49-F238E27FC236}">
                <a16:creationId xmlns:a16="http://schemas.microsoft.com/office/drawing/2014/main" id="{0B569C72-12A3-CDC5-8E11-A49C7A71525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1"/>
            <a:ext cx="12192000" cy="6858000"/>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47345"/>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7056558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slide_7">
    <p:spTree>
      <p:nvGrpSpPr>
        <p:cNvPr id="1" name=""/>
        <p:cNvGrpSpPr/>
        <p:nvPr/>
      </p:nvGrpSpPr>
      <p:grpSpPr>
        <a:xfrm>
          <a:off x="0" y="0"/>
          <a:ext cx="0" cy="0"/>
          <a:chOff x="0" y="0"/>
          <a:chExt cx="0" cy="0"/>
        </a:xfrm>
      </p:grpSpPr>
      <p:pic>
        <p:nvPicPr>
          <p:cNvPr id="3" name="Afbeelding 2" descr="Afbeelding met persoon, Menselijk gezicht, kleding, glimlach&#10;&#10;Door AI gegenereerde inhoud is mogelijk onjuist.">
            <a:extLst>
              <a:ext uri="{FF2B5EF4-FFF2-40B4-BE49-F238E27FC236}">
                <a16:creationId xmlns:a16="http://schemas.microsoft.com/office/drawing/2014/main" id="{C346DF0B-A956-DBF7-DCEB-4048FF328F0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490954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 white layout 4">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50863" y="1644186"/>
            <a:ext cx="5472112" cy="3859306"/>
          </a:xfrm>
        </p:spPr>
        <p:txBody>
          <a:bodyPr anchor="t">
            <a:noAutofit/>
          </a:bodyPr>
          <a:lstStyle>
            <a:lvl1pPr marL="0" indent="0" algn="just">
              <a:lnSpc>
                <a:spcPct val="100000"/>
              </a:lnSpc>
              <a:spcBef>
                <a:spcPts val="1000"/>
              </a:spcBef>
              <a:buFont typeface="Arial" panose="020B0604020202020204" pitchFamily="34" charset="0"/>
              <a:buNone/>
              <a:defRPr sz="1000">
                <a:solidFill>
                  <a:schemeClr val="tx2"/>
                </a:solidFill>
              </a:defRPr>
            </a:lvl1pPr>
            <a:lvl2pPr marL="344700" indent="0" algn="just">
              <a:lnSpc>
                <a:spcPct val="100000"/>
              </a:lnSpc>
              <a:buFont typeface="Arial" panose="020B0604020202020204" pitchFamily="34" charset="0"/>
              <a:buNone/>
              <a:defRPr sz="10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24PT</a:t>
            </a:r>
          </a:p>
          <a:p>
            <a:pPr lvl="1"/>
            <a:r>
              <a:rPr lang="en-US"/>
              <a:t>Second level</a:t>
            </a:r>
          </a:p>
        </p:txBody>
      </p:sp>
      <p:pic>
        <p:nvPicPr>
          <p:cNvPr id="19" name="Picture 18">
            <a:extLst>
              <a:ext uri="{FF2B5EF4-FFF2-40B4-BE49-F238E27FC236}">
                <a16:creationId xmlns:a16="http://schemas.microsoft.com/office/drawing/2014/main" id="{A9612A6A-65C9-4AF8-808B-0897EA166A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12" name="Text Placeholder 23">
            <a:extLst>
              <a:ext uri="{FF2B5EF4-FFF2-40B4-BE49-F238E27FC236}">
                <a16:creationId xmlns:a16="http://schemas.microsoft.com/office/drawing/2014/main" id="{250D7C8C-F07D-4310-AE5C-4CB55419EFFD}"/>
              </a:ext>
            </a:extLst>
          </p:cNvPr>
          <p:cNvSpPr>
            <a:spLocks noGrp="1"/>
          </p:cNvSpPr>
          <p:nvPr>
            <p:ph type="body" sz="quarter" idx="22" hasCustomPrompt="1"/>
          </p:nvPr>
        </p:nvSpPr>
        <p:spPr>
          <a:xfrm>
            <a:off x="6169027" y="1644186"/>
            <a:ext cx="5472112" cy="3859306"/>
          </a:xfrm>
        </p:spPr>
        <p:txBody>
          <a:bodyPr anchor="t">
            <a:noAutofit/>
          </a:bodyPr>
          <a:lstStyle>
            <a:lvl1pPr marL="342900" indent="-342900" algn="just">
              <a:lnSpc>
                <a:spcPct val="100000"/>
              </a:lnSpc>
              <a:spcBef>
                <a:spcPts val="1000"/>
              </a:spcBef>
              <a:buFont typeface="Arial" panose="020B0604020202020204" pitchFamily="34" charset="0"/>
              <a:buChar char="•"/>
              <a:defRPr sz="1000">
                <a:solidFill>
                  <a:schemeClr val="tx2"/>
                </a:solidFill>
              </a:defRPr>
            </a:lvl1pPr>
            <a:lvl2pPr marL="687600" indent="-342900" algn="just">
              <a:lnSpc>
                <a:spcPct val="100000"/>
              </a:lnSpc>
              <a:buFont typeface="Arial" panose="020B0604020202020204" pitchFamily="34" charset="0"/>
              <a:buChar char="•"/>
              <a:defRPr sz="10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ullets Arial 24PT</a:t>
            </a:r>
          </a:p>
          <a:p>
            <a:pPr lvl="1"/>
            <a:r>
              <a:rPr lang="en-US"/>
              <a:t>Second level</a:t>
            </a:r>
          </a:p>
        </p:txBody>
      </p:sp>
      <p:sp>
        <p:nvSpPr>
          <p:cNvPr id="16" name="Segnaposto testo 4">
            <a:extLst>
              <a:ext uri="{FF2B5EF4-FFF2-40B4-BE49-F238E27FC236}">
                <a16:creationId xmlns:a16="http://schemas.microsoft.com/office/drawing/2014/main" id="{B2D34938-C9D0-F836-83FF-C5FD59863F5F}"/>
              </a:ext>
            </a:extLst>
          </p:cNvPr>
          <p:cNvSpPr>
            <a:spLocks noGrp="1"/>
          </p:cNvSpPr>
          <p:nvPr>
            <p:ph type="body" sz="quarter" idx="17" hasCustomPrompt="1"/>
          </p:nvPr>
        </p:nvSpPr>
        <p:spPr>
          <a:xfrm>
            <a:off x="569093" y="381504"/>
            <a:ext cx="5086865" cy="62373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1" cap="all" baseline="0">
                <a:solidFill>
                  <a:srgbClr val="50037F"/>
                </a:solidFill>
                <a:latin typeface="Prometo" panose="020B0604030203060203" pitchFamily="34" charset="77"/>
              </a:defRPr>
            </a:lvl1pPr>
          </a:lstStyle>
          <a:p>
            <a:pPr lvl="0"/>
            <a:r>
              <a:rPr lang="en-US" noProof="0"/>
              <a:t>TITLE</a:t>
            </a:r>
            <a:br>
              <a:rPr lang="en-US" noProof="0"/>
            </a:br>
            <a:endParaRPr lang="en-US" noProof="0"/>
          </a:p>
        </p:txBody>
      </p:sp>
      <p:sp>
        <p:nvSpPr>
          <p:cNvPr id="3" name="Slide Number Placeholder 5">
            <a:extLst>
              <a:ext uri="{FF2B5EF4-FFF2-40B4-BE49-F238E27FC236}">
                <a16:creationId xmlns:a16="http://schemas.microsoft.com/office/drawing/2014/main" id="{0AA1211D-328E-3964-5888-091C308BB3BC}"/>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mn-lt"/>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8270F03E-FEDD-0C3E-3394-55C03AA9A30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r>
              <a:rPr lang="en-US" sz="800">
                <a:solidFill>
                  <a:schemeClr val="tx2"/>
                </a:solidFill>
                <a:ea typeface="Helvetica Neue Light" panose="02000403000000020004" pitchFamily="2" charset="0"/>
              </a:rPr>
              <a:t>©Selecta</a:t>
            </a:r>
          </a:p>
        </p:txBody>
      </p:sp>
      <p:pic>
        <p:nvPicPr>
          <p:cNvPr id="6" name="Picture 20">
            <a:extLst>
              <a:ext uri="{FF2B5EF4-FFF2-40B4-BE49-F238E27FC236}">
                <a16:creationId xmlns:a16="http://schemas.microsoft.com/office/drawing/2014/main" id="{593FC1F9-4F19-9862-C411-7423A6A566B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54496" y="6335818"/>
            <a:ext cx="793134" cy="258437"/>
          </a:xfrm>
          <a:prstGeom prst="rect">
            <a:avLst/>
          </a:prstGeom>
        </p:spPr>
      </p:pic>
      <p:sp>
        <p:nvSpPr>
          <p:cNvPr id="8" name="Tijdelijke aanduiding voor afbeelding 6">
            <a:extLst>
              <a:ext uri="{FF2B5EF4-FFF2-40B4-BE49-F238E27FC236}">
                <a16:creationId xmlns:a16="http://schemas.microsoft.com/office/drawing/2014/main" id="{98B4A706-E5F6-333C-8F3B-04A797DC5084}"/>
              </a:ext>
            </a:extLst>
          </p:cNvPr>
          <p:cNvSpPr>
            <a:spLocks noGrp="1"/>
          </p:cNvSpPr>
          <p:nvPr>
            <p:ph type="pic" sz="quarter" idx="23"/>
          </p:nvPr>
        </p:nvSpPr>
        <p:spPr>
          <a:xfrm>
            <a:off x="5618163" y="6283325"/>
            <a:ext cx="955675" cy="425450"/>
          </a:xfrm>
        </p:spPr>
        <p:txBody>
          <a:bodyPr/>
          <a:lstStyle/>
          <a:p>
            <a:endParaRPr lang="en-GB"/>
          </a:p>
        </p:txBody>
      </p:sp>
    </p:spTree>
    <p:extLst>
      <p:ext uri="{BB962C8B-B14F-4D97-AF65-F5344CB8AC3E}">
        <p14:creationId xmlns:p14="http://schemas.microsoft.com/office/powerpoint/2010/main" val="1551613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ext slide">
    <p:bg>
      <p:bgPr>
        <a:solidFill>
          <a:schemeClr val="accent2"/>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1558132" y="1222691"/>
            <a:ext cx="9075736" cy="4412618"/>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2224221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ext slide">
    <p:bg>
      <p:bgPr>
        <a:solidFill>
          <a:schemeClr val="accent4"/>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1558132" y="1222691"/>
            <a:ext cx="9075736" cy="4412618"/>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538015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11072043" cy="4776155"/>
          </a:xfrm>
        </p:spPr>
        <p:txBody>
          <a:bodyPr numCol="2"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Tree>
    <p:extLst>
      <p:ext uri="{BB962C8B-B14F-4D97-AF65-F5344CB8AC3E}">
        <p14:creationId xmlns:p14="http://schemas.microsoft.com/office/powerpoint/2010/main" val="2507889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2">
    <p:spTree>
      <p:nvGrpSpPr>
        <p:cNvPr id="1" name=""/>
        <p:cNvGrpSpPr/>
        <p:nvPr/>
      </p:nvGrpSpPr>
      <p:grpSpPr>
        <a:xfrm>
          <a:off x="0" y="0"/>
          <a:ext cx="0" cy="0"/>
          <a:chOff x="0" y="0"/>
          <a:chExt cx="0" cy="0"/>
        </a:xfrm>
      </p:grpSpPr>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9114" y="0"/>
            <a:ext cx="12192000" cy="6858000"/>
          </a:xfrm>
          <a:solidFill>
            <a:schemeClr val="bg1">
              <a:lumMod val="95000"/>
            </a:schemeClr>
          </a:solidFill>
        </p:spPr>
        <p:txBody>
          <a:bodyPr/>
          <a:lstStyle/>
          <a:p>
            <a:r>
              <a:rPr lang="nl-NL"/>
              <a:t>Klik op het pictogram als u een afbeelding wilt toevoegen</a:t>
            </a:r>
            <a:endParaRPr lang="en-GB"/>
          </a:p>
        </p:txBody>
      </p:sp>
      <p:sp>
        <p:nvSpPr>
          <p:cNvPr id="2" name="Rechthoek 1">
            <a:extLst>
              <a:ext uri="{FF2B5EF4-FFF2-40B4-BE49-F238E27FC236}">
                <a16:creationId xmlns:a16="http://schemas.microsoft.com/office/drawing/2014/main" id="{3B08D02E-7E12-D45D-327E-95B6CB2306AA}"/>
              </a:ext>
            </a:extLst>
          </p:cNvPr>
          <p:cNvSpPr/>
          <p:nvPr userDrawn="1"/>
        </p:nvSpPr>
        <p:spPr>
          <a:xfrm>
            <a:off x="9114" y="0"/>
            <a:ext cx="12192000" cy="6858000"/>
          </a:xfrm>
          <a:prstGeom prst="rect">
            <a:avLst/>
          </a:prstGeom>
          <a:solidFill>
            <a:schemeClr val="accent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11072043" cy="4776155"/>
          </a:xfrm>
        </p:spPr>
        <p:txBody>
          <a:bodyPr numCol="2"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Tree>
    <p:extLst>
      <p:ext uri="{BB962C8B-B14F-4D97-AF65-F5344CB8AC3E}">
        <p14:creationId xmlns:p14="http://schemas.microsoft.com/office/powerpoint/2010/main" val="934727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_6">
    <p:spTree>
      <p:nvGrpSpPr>
        <p:cNvPr id="1" name=""/>
        <p:cNvGrpSpPr/>
        <p:nvPr/>
      </p:nvGrpSpPr>
      <p:grpSpPr>
        <a:xfrm>
          <a:off x="0" y="0"/>
          <a:ext cx="0" cy="0"/>
          <a:chOff x="0" y="0"/>
          <a:chExt cx="0" cy="0"/>
        </a:xfrm>
      </p:grpSpPr>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1" y="0"/>
            <a:ext cx="12192000" cy="6858000"/>
          </a:xfrm>
          <a:solidFill>
            <a:schemeClr val="bg1">
              <a:lumMod val="95000"/>
            </a:schemeClr>
          </a:solidFill>
        </p:spPr>
        <p:txBody>
          <a:bodyPr/>
          <a:lstStyle/>
          <a:p>
            <a:r>
              <a:rPr lang="nl-NL"/>
              <a:t>Klik op het pictogram als u een afbeelding wilt toevoegen</a:t>
            </a:r>
            <a:endParaRPr lang="en-GB"/>
          </a:p>
        </p:txBody>
      </p:sp>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11072043" cy="4776155"/>
          </a:xfrm>
        </p:spPr>
        <p:txBody>
          <a:bodyPr numCol="2"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Tree>
    <p:extLst>
      <p:ext uri="{BB962C8B-B14F-4D97-AF65-F5344CB8AC3E}">
        <p14:creationId xmlns:p14="http://schemas.microsoft.com/office/powerpoint/2010/main" val="28484681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page">
    <p:spTree>
      <p:nvGrpSpPr>
        <p:cNvPr id="1" name=""/>
        <p:cNvGrpSpPr/>
        <p:nvPr/>
      </p:nvGrpSpPr>
      <p:grpSpPr>
        <a:xfrm>
          <a:off x="0" y="0"/>
          <a:ext cx="0" cy="0"/>
          <a:chOff x="0" y="0"/>
          <a:chExt cx="0" cy="0"/>
        </a:xfrm>
      </p:grpSpPr>
      <p:pic>
        <p:nvPicPr>
          <p:cNvPr id="2" name="Afbeelding 1" descr="Afbeelding met persoon, voedsel, koffie, cafeïne&#10;&#10;Door AI gegenereerde inhoud is mogelijk onjuist.">
            <a:extLst>
              <a:ext uri="{FF2B5EF4-FFF2-40B4-BE49-F238E27FC236}">
                <a16:creationId xmlns:a16="http://schemas.microsoft.com/office/drawing/2014/main" id="{D4ADF1F1-5A85-972D-2A12-835B3144CDC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1"/>
          </a:xfrm>
          <a:prstGeom prst="rect">
            <a:avLst/>
          </a:prstGeom>
        </p:spPr>
      </p:pic>
      <p:sp>
        <p:nvSpPr>
          <p:cNvPr id="3" name="Rectangle 12">
            <a:extLst>
              <a:ext uri="{FF2B5EF4-FFF2-40B4-BE49-F238E27FC236}">
                <a16:creationId xmlns:a16="http://schemas.microsoft.com/office/drawing/2014/main" id="{2978F289-B0D9-C3F7-0DEC-182E4D79B094}"/>
              </a:ext>
            </a:extLst>
          </p:cNvPr>
          <p:cNvSpPr/>
          <p:nvPr userDrawn="1"/>
        </p:nvSpPr>
        <p:spPr>
          <a:xfrm>
            <a:off x="-1" y="0"/>
            <a:ext cx="12192000" cy="6820696"/>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descr="Afbeelding met Lettertype, Graphics, logo, symbool&#10;&#10;Door AI gegenereerde inhoud is mogelijk onjuist.">
            <a:extLst>
              <a:ext uri="{FF2B5EF4-FFF2-40B4-BE49-F238E27FC236}">
                <a16:creationId xmlns:a16="http://schemas.microsoft.com/office/drawing/2014/main" id="{47DE6D08-7424-C212-42F7-FC7278F25D7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17" name="Tekstvak 16">
            <a:extLst>
              <a:ext uri="{FF2B5EF4-FFF2-40B4-BE49-F238E27FC236}">
                <a16:creationId xmlns:a16="http://schemas.microsoft.com/office/drawing/2014/main" id="{B40B2CD8-0D52-7619-EFB4-558CDDB4B8C2}"/>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18" name="TextBox 14">
            <a:extLst>
              <a:ext uri="{FF2B5EF4-FFF2-40B4-BE49-F238E27FC236}">
                <a16:creationId xmlns:a16="http://schemas.microsoft.com/office/drawing/2014/main" id="{E7735893-1ECC-8DE9-3257-2B5524EE31C7}"/>
              </a:ext>
            </a:extLst>
          </p:cNvPr>
          <p:cNvSpPr txBox="1"/>
          <p:nvPr userDrawn="1"/>
        </p:nvSpPr>
        <p:spPr>
          <a:xfrm>
            <a:off x="2176461" y="4952111"/>
            <a:ext cx="7839077" cy="861774"/>
          </a:xfrm>
          <a:prstGeom prst="rect">
            <a:avLst/>
          </a:prstGeom>
          <a:noFill/>
        </p:spPr>
        <p:txBody>
          <a:bodyPr wrap="square" rtlCol="0">
            <a:spAutoFit/>
          </a:bodyPr>
          <a:lstStyle/>
          <a:p>
            <a:pPr algn="ctr"/>
            <a:r>
              <a:rPr lang="en-GB" sz="5000">
                <a:solidFill>
                  <a:schemeClr val="bg1"/>
                </a:solidFill>
                <a:latin typeface="Fave Script Bold Pro" pitchFamily="2" charset="77"/>
                <a:cs typeface="Arial" panose="020B0604020202020204" pitchFamily="34" charset="0"/>
              </a:rPr>
              <a:t>For coffee lovers, Foodies, and everyday treats. </a:t>
            </a:r>
          </a:p>
        </p:txBody>
      </p:sp>
      <p:cxnSp>
        <p:nvCxnSpPr>
          <p:cNvPr id="19" name="Straight Connector 16">
            <a:extLst>
              <a:ext uri="{FF2B5EF4-FFF2-40B4-BE49-F238E27FC236}">
                <a16:creationId xmlns:a16="http://schemas.microsoft.com/office/drawing/2014/main" id="{899E8A5C-653E-F568-F1C7-741631DA3581}"/>
              </a:ext>
            </a:extLst>
          </p:cNvPr>
          <p:cNvCxnSpPr/>
          <p:nvPr userDrawn="1"/>
        </p:nvCxnSpPr>
        <p:spPr>
          <a:xfrm>
            <a:off x="3628573" y="4771745"/>
            <a:ext cx="493485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
        <p:nvSpPr>
          <p:cNvPr id="20" name="TextBox 15">
            <a:extLst>
              <a:ext uri="{FF2B5EF4-FFF2-40B4-BE49-F238E27FC236}">
                <a16:creationId xmlns:a16="http://schemas.microsoft.com/office/drawing/2014/main" id="{5995E8D6-F57E-CE5D-235C-7C3E510BB0FF}"/>
              </a:ext>
            </a:extLst>
          </p:cNvPr>
          <p:cNvSpPr txBox="1"/>
          <p:nvPr userDrawn="1"/>
        </p:nvSpPr>
        <p:spPr>
          <a:xfrm>
            <a:off x="1486725" y="3575717"/>
            <a:ext cx="9327855" cy="1015663"/>
          </a:xfrm>
          <a:prstGeom prst="rect">
            <a:avLst/>
          </a:prstGeom>
          <a:noFill/>
          <a:effectLst/>
        </p:spPr>
        <p:txBody>
          <a:bodyPr wrap="square" rtlCol="0">
            <a:spAutoFit/>
          </a:bodyPr>
          <a:lstStyle/>
          <a:p>
            <a:pPr algn="ctr"/>
            <a:r>
              <a:rPr lang="en-GB" sz="6000" b="1">
                <a:solidFill>
                  <a:schemeClr val="bg1"/>
                </a:solidFill>
                <a:latin typeface="Prometo" panose="020B0604030203060203" pitchFamily="34" charset="77"/>
                <a:ea typeface="Fira Sans SemiBold" panose="020B0603050000020004" pitchFamily="34" charset="0"/>
              </a:rPr>
              <a:t>SELECTA</a:t>
            </a:r>
          </a:p>
        </p:txBody>
      </p:sp>
    </p:spTree>
    <p:extLst>
      <p:ext uri="{BB962C8B-B14F-4D97-AF65-F5344CB8AC3E}">
        <p14:creationId xmlns:p14="http://schemas.microsoft.com/office/powerpoint/2010/main" val="34960217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_4">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619219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ext slide_4">
    <p:bg>
      <p:bgPr>
        <a:solidFill>
          <a:schemeClr val="accent2"/>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accent4"/>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855002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ext slide_4">
    <p:bg>
      <p:bgPr>
        <a:solidFill>
          <a:schemeClr val="accent4"/>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6408737"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6408736" cy="287880"/>
          </a:xfrm>
        </p:spPr>
        <p:txBody>
          <a:bodyPr anchor="t">
            <a:noAutofit/>
          </a:bodyPr>
          <a:lstStyle>
            <a:lvl1pPr marL="0" indent="0">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bg1"/>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8861028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ext slide_4">
    <p:spTree>
      <p:nvGrpSpPr>
        <p:cNvPr id="1" name=""/>
        <p:cNvGrpSpPr/>
        <p:nvPr/>
      </p:nvGrpSpPr>
      <p:grpSpPr>
        <a:xfrm>
          <a:off x="0" y="0"/>
          <a:ext cx="0" cy="0"/>
          <a:chOff x="0" y="0"/>
          <a:chExt cx="0" cy="0"/>
        </a:xfrm>
      </p:grpSpPr>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3850756"/>
            <a:ext cx="3568145" cy="1572144"/>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285060"/>
            <a:ext cx="3568145" cy="44874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3551237" cy="827087"/>
          </a:xfrm>
        </p:spPr>
        <p:txBody>
          <a:body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p>
            <a:r>
              <a:rPr lang="en-US" sz="800">
                <a:solidFill>
                  <a:schemeClr val="tx2"/>
                </a:solidFill>
                <a:ea typeface="Helvetica Neue Light" panose="02000403000000020004" pitchFamily="2" charset="0"/>
              </a:rPr>
              <a:t>©Selecta</a:t>
            </a:r>
          </a:p>
        </p:txBody>
      </p:sp>
      <p:sp>
        <p:nvSpPr>
          <p:cNvPr id="2" name="Rechthoek 1">
            <a:extLst>
              <a:ext uri="{FF2B5EF4-FFF2-40B4-BE49-F238E27FC236}">
                <a16:creationId xmlns:a16="http://schemas.microsoft.com/office/drawing/2014/main" id="{B7B540CE-8A0D-2540-B621-A6B7996FA243}"/>
              </a:ext>
            </a:extLst>
          </p:cNvPr>
          <p:cNvSpPr/>
          <p:nvPr userDrawn="1"/>
        </p:nvSpPr>
        <p:spPr>
          <a:xfrm>
            <a:off x="10375900" y="0"/>
            <a:ext cx="1816100" cy="13763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4350527" y="549276"/>
            <a:ext cx="7290610" cy="5737224"/>
          </a:xfrm>
        </p:spPr>
        <p:txBody>
          <a:bodyPr numCol="2" spcCol="360000"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Tree>
    <p:extLst>
      <p:ext uri="{BB962C8B-B14F-4D97-AF65-F5344CB8AC3E}">
        <p14:creationId xmlns:p14="http://schemas.microsoft.com/office/powerpoint/2010/main" val="302076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ext slide_4">
    <p:bg>
      <p:bgPr>
        <a:solidFill>
          <a:schemeClr val="accent2"/>
        </a:solidFill>
        <a:effectLst/>
      </p:bgPr>
    </p:bg>
    <p:spTree>
      <p:nvGrpSpPr>
        <p:cNvPr id="1" name=""/>
        <p:cNvGrpSpPr/>
        <p:nvPr/>
      </p:nvGrpSpPr>
      <p:grpSpPr>
        <a:xfrm>
          <a:off x="0" y="0"/>
          <a:ext cx="0" cy="0"/>
          <a:chOff x="0" y="0"/>
          <a:chExt cx="0" cy="0"/>
        </a:xfrm>
      </p:grpSpPr>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3850756"/>
            <a:ext cx="3568145" cy="1572144"/>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285060"/>
            <a:ext cx="3568145" cy="44874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3551237" cy="827087"/>
          </a:xfrm>
        </p:spPr>
        <p:txBody>
          <a:bodyPr/>
          <a:lstStyle>
            <a:lvl1pPr>
              <a:defRPr>
                <a:solidFill>
                  <a:schemeClr val="accent4"/>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Rechthoek 1">
            <a:extLst>
              <a:ext uri="{FF2B5EF4-FFF2-40B4-BE49-F238E27FC236}">
                <a16:creationId xmlns:a16="http://schemas.microsoft.com/office/drawing/2014/main" id="{B7B540CE-8A0D-2540-B621-A6B7996FA243}"/>
              </a:ext>
            </a:extLst>
          </p:cNvPr>
          <p:cNvSpPr/>
          <p:nvPr userDrawn="1"/>
        </p:nvSpPr>
        <p:spPr>
          <a:xfrm>
            <a:off x="10375900" y="0"/>
            <a:ext cx="1816100" cy="1376363"/>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4350527" y="549276"/>
            <a:ext cx="7290610" cy="5737224"/>
          </a:xfrm>
        </p:spPr>
        <p:txBody>
          <a:bodyPr numCol="2" spcCol="360000"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Tree>
    <p:extLst>
      <p:ext uri="{BB962C8B-B14F-4D97-AF65-F5344CB8AC3E}">
        <p14:creationId xmlns:p14="http://schemas.microsoft.com/office/powerpoint/2010/main" val="35557982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ext slide_4">
    <p:bg>
      <p:bgPr>
        <a:solidFill>
          <a:schemeClr val="accent4"/>
        </a:solidFill>
        <a:effectLst/>
      </p:bgPr>
    </p:bg>
    <p:spTree>
      <p:nvGrpSpPr>
        <p:cNvPr id="1" name=""/>
        <p:cNvGrpSpPr/>
        <p:nvPr/>
      </p:nvGrpSpPr>
      <p:grpSpPr>
        <a:xfrm>
          <a:off x="0" y="0"/>
          <a:ext cx="0" cy="0"/>
          <a:chOff x="0" y="0"/>
          <a:chExt cx="0" cy="0"/>
        </a:xfrm>
      </p:grpSpPr>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3850756"/>
            <a:ext cx="3568145" cy="1572144"/>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285060"/>
            <a:ext cx="3568145" cy="448740"/>
          </a:xfrm>
        </p:spPr>
        <p:txBody>
          <a:bodyPr anchor="t">
            <a:noAutofit/>
          </a:bodyPr>
          <a:lstStyle>
            <a:lvl1pPr marL="0" indent="0">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3551237" cy="827087"/>
          </a:xfrm>
        </p:spPr>
        <p:txBody>
          <a:bodyPr/>
          <a:lstStyle>
            <a:lvl1pPr>
              <a:defRPr>
                <a:solidFill>
                  <a:schemeClr val="bg1"/>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Rechthoek 1">
            <a:extLst>
              <a:ext uri="{FF2B5EF4-FFF2-40B4-BE49-F238E27FC236}">
                <a16:creationId xmlns:a16="http://schemas.microsoft.com/office/drawing/2014/main" id="{B7B540CE-8A0D-2540-B621-A6B7996FA243}"/>
              </a:ext>
            </a:extLst>
          </p:cNvPr>
          <p:cNvSpPr/>
          <p:nvPr userDrawn="1"/>
        </p:nvSpPr>
        <p:spPr>
          <a:xfrm>
            <a:off x="10375900" y="0"/>
            <a:ext cx="1816100" cy="137636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4350527" y="549276"/>
            <a:ext cx="7290610" cy="5737224"/>
          </a:xfrm>
        </p:spPr>
        <p:txBody>
          <a:bodyPr numCol="2" spcCol="360000"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Tree>
    <p:extLst>
      <p:ext uri="{BB962C8B-B14F-4D97-AF65-F5344CB8AC3E}">
        <p14:creationId xmlns:p14="http://schemas.microsoft.com/office/powerpoint/2010/main" val="36744829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ext slide_4">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3" y="335286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3" y="3024682"/>
            <a:ext cx="6408736"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p>
            <a:r>
              <a:rPr lang="en-US" sz="800">
                <a:solidFill>
                  <a:schemeClr val="tx2"/>
                </a:solidFill>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E8569F94-4916-EC65-88FD-BD552E8A8CEE}"/>
              </a:ext>
            </a:extLst>
          </p:cNvPr>
          <p:cNvSpPr>
            <a:spLocks noGrp="1"/>
          </p:cNvSpPr>
          <p:nvPr>
            <p:ph type="body" sz="quarter" idx="24" hasCustomPrompt="1"/>
          </p:nvPr>
        </p:nvSpPr>
        <p:spPr>
          <a:xfrm>
            <a:off x="533953" y="4999606"/>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E78CDAC5-6BBC-4F58-A825-88A0B79C291C}"/>
              </a:ext>
            </a:extLst>
          </p:cNvPr>
          <p:cNvSpPr>
            <a:spLocks noGrp="1"/>
          </p:cNvSpPr>
          <p:nvPr>
            <p:ph type="body" sz="quarter" idx="25" hasCustomPrompt="1"/>
          </p:nvPr>
        </p:nvSpPr>
        <p:spPr>
          <a:xfrm>
            <a:off x="533953" y="4671420"/>
            <a:ext cx="6408736"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30721348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ext slide_4">
    <p:bg>
      <p:bgPr>
        <a:solidFill>
          <a:schemeClr val="accent2"/>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3" y="335286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3" y="3024682"/>
            <a:ext cx="6408736"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accent4"/>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E8569F94-4916-EC65-88FD-BD552E8A8CEE}"/>
              </a:ext>
            </a:extLst>
          </p:cNvPr>
          <p:cNvSpPr>
            <a:spLocks noGrp="1"/>
          </p:cNvSpPr>
          <p:nvPr>
            <p:ph type="body" sz="quarter" idx="24" hasCustomPrompt="1"/>
          </p:nvPr>
        </p:nvSpPr>
        <p:spPr>
          <a:xfrm>
            <a:off x="533953" y="4999606"/>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E78CDAC5-6BBC-4F58-A825-88A0B79C291C}"/>
              </a:ext>
            </a:extLst>
          </p:cNvPr>
          <p:cNvSpPr>
            <a:spLocks noGrp="1"/>
          </p:cNvSpPr>
          <p:nvPr>
            <p:ph type="body" sz="quarter" idx="25" hasCustomPrompt="1"/>
          </p:nvPr>
        </p:nvSpPr>
        <p:spPr>
          <a:xfrm>
            <a:off x="533953" y="4671420"/>
            <a:ext cx="6408736"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2137496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Text slide_4">
    <p:bg>
      <p:bgPr>
        <a:solidFill>
          <a:schemeClr val="accent4"/>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6408736" cy="287880"/>
          </a:xfrm>
        </p:spPr>
        <p:txBody>
          <a:bodyPr anchor="t">
            <a:noAutofit/>
          </a:bodyPr>
          <a:lstStyle>
            <a:lvl1pPr marL="0" indent="0">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3" y="3352868"/>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3" y="3024682"/>
            <a:ext cx="6408736"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bg1"/>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E8569F94-4916-EC65-88FD-BD552E8A8CEE}"/>
              </a:ext>
            </a:extLst>
          </p:cNvPr>
          <p:cNvSpPr>
            <a:spLocks noGrp="1"/>
          </p:cNvSpPr>
          <p:nvPr>
            <p:ph type="body" sz="quarter" idx="24" hasCustomPrompt="1"/>
          </p:nvPr>
        </p:nvSpPr>
        <p:spPr>
          <a:xfrm>
            <a:off x="533953" y="4999606"/>
            <a:ext cx="6408737" cy="1171010"/>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E78CDAC5-6BBC-4F58-A825-88A0B79C291C}"/>
              </a:ext>
            </a:extLst>
          </p:cNvPr>
          <p:cNvSpPr>
            <a:spLocks noGrp="1"/>
          </p:cNvSpPr>
          <p:nvPr>
            <p:ph type="body" sz="quarter" idx="25" hasCustomPrompt="1"/>
          </p:nvPr>
        </p:nvSpPr>
        <p:spPr>
          <a:xfrm>
            <a:off x="533953" y="4671420"/>
            <a:ext cx="6408736"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5702374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 slide_4">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p>
            <a:r>
              <a:rPr lang="en-US" sz="800">
                <a:solidFill>
                  <a:schemeClr val="tx2"/>
                </a:solidFill>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52AC02A1-4D8C-9086-B04A-FEBA3D928B54}"/>
              </a:ext>
            </a:extLst>
          </p:cNvPr>
          <p:cNvSpPr>
            <a:spLocks noGrp="1"/>
          </p:cNvSpPr>
          <p:nvPr>
            <p:ph type="body" sz="quarter" idx="24" hasCustomPrompt="1"/>
          </p:nvPr>
        </p:nvSpPr>
        <p:spPr>
          <a:xfrm>
            <a:off x="6326966"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6F0069F4-223A-CBBD-C45E-7BC058D999EA}"/>
              </a:ext>
            </a:extLst>
          </p:cNvPr>
          <p:cNvSpPr>
            <a:spLocks noGrp="1"/>
          </p:cNvSpPr>
          <p:nvPr>
            <p:ph type="body" sz="quarter" idx="25" hasCustomPrompt="1"/>
          </p:nvPr>
        </p:nvSpPr>
        <p:spPr>
          <a:xfrm>
            <a:off x="6320395" y="1416669"/>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7" name="Text Placeholder 23">
            <a:extLst>
              <a:ext uri="{FF2B5EF4-FFF2-40B4-BE49-F238E27FC236}">
                <a16:creationId xmlns:a16="http://schemas.microsoft.com/office/drawing/2014/main" id="{33772BC4-D5E5-1589-2B0D-D61776AD6CD5}"/>
              </a:ext>
            </a:extLst>
          </p:cNvPr>
          <p:cNvSpPr>
            <a:spLocks noGrp="1"/>
          </p:cNvSpPr>
          <p:nvPr>
            <p:ph type="body" sz="quarter" idx="26" hasCustomPrompt="1"/>
          </p:nvPr>
        </p:nvSpPr>
        <p:spPr>
          <a:xfrm>
            <a:off x="6320394"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tx2"/>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8" name="Text Placeholder 23">
            <a:extLst>
              <a:ext uri="{FF2B5EF4-FFF2-40B4-BE49-F238E27FC236}">
                <a16:creationId xmlns:a16="http://schemas.microsoft.com/office/drawing/2014/main" id="{6306AC2F-246D-FA77-C3EF-9D0B809E9ADE}"/>
              </a:ext>
            </a:extLst>
          </p:cNvPr>
          <p:cNvSpPr>
            <a:spLocks noGrp="1"/>
          </p:cNvSpPr>
          <p:nvPr>
            <p:ph type="body" sz="quarter" idx="27" hasCustomPrompt="1"/>
          </p:nvPr>
        </p:nvSpPr>
        <p:spPr>
          <a:xfrm>
            <a:off x="6320394" y="3948812"/>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3832976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ckpage">
    <p:spTree>
      <p:nvGrpSpPr>
        <p:cNvPr id="1" name=""/>
        <p:cNvGrpSpPr/>
        <p:nvPr/>
      </p:nvGrpSpPr>
      <p:grpSpPr>
        <a:xfrm>
          <a:off x="0" y="0"/>
          <a:ext cx="0" cy="0"/>
          <a:chOff x="0" y="0"/>
          <a:chExt cx="0" cy="0"/>
        </a:xfrm>
      </p:grpSpPr>
      <p:sp>
        <p:nvSpPr>
          <p:cNvPr id="7" name="TextBox 14">
            <a:extLst>
              <a:ext uri="{FF2B5EF4-FFF2-40B4-BE49-F238E27FC236}">
                <a16:creationId xmlns:a16="http://schemas.microsoft.com/office/drawing/2014/main" id="{30F30CA8-CD1D-998B-23F3-99433923C0B3}"/>
              </a:ext>
            </a:extLst>
          </p:cNvPr>
          <p:cNvSpPr txBox="1"/>
          <p:nvPr userDrawn="1"/>
        </p:nvSpPr>
        <p:spPr>
          <a:xfrm>
            <a:off x="972958" y="4710144"/>
            <a:ext cx="10246088" cy="861774"/>
          </a:xfrm>
          <a:prstGeom prst="rect">
            <a:avLst/>
          </a:prstGeom>
          <a:noFill/>
        </p:spPr>
        <p:txBody>
          <a:bodyPr wrap="square" rtlCol="0">
            <a:spAutoFit/>
          </a:bodyPr>
          <a:lstStyle/>
          <a:p>
            <a:pPr algn="ctr"/>
            <a:r>
              <a:rPr lang="de-DE" sz="5000" err="1">
                <a:solidFill>
                  <a:schemeClr val="bg1"/>
                </a:solidFill>
                <a:latin typeface="Fave Script Bold Pro" pitchFamily="2" charset="77"/>
                <a:cs typeface="Arial" panose="020B0604020202020204" pitchFamily="34" charset="0"/>
              </a:rPr>
              <a:t>www.selecta.com</a:t>
            </a:r>
            <a:endParaRPr lang="en-GB" sz="5000">
              <a:solidFill>
                <a:schemeClr val="bg1"/>
              </a:solidFill>
              <a:latin typeface="Fave Script Bold Pro" pitchFamily="2" charset="77"/>
              <a:cs typeface="Arial" panose="020B0604020202020204" pitchFamily="34" charset="0"/>
            </a:endParaRPr>
          </a:p>
        </p:txBody>
      </p:sp>
      <p:sp>
        <p:nvSpPr>
          <p:cNvPr id="8" name="TextBox 15">
            <a:extLst>
              <a:ext uri="{FF2B5EF4-FFF2-40B4-BE49-F238E27FC236}">
                <a16:creationId xmlns:a16="http://schemas.microsoft.com/office/drawing/2014/main" id="{09F77F7B-8F2C-38D1-2142-6F5BB54B0E77}"/>
              </a:ext>
            </a:extLst>
          </p:cNvPr>
          <p:cNvSpPr txBox="1"/>
          <p:nvPr userDrawn="1"/>
        </p:nvSpPr>
        <p:spPr>
          <a:xfrm>
            <a:off x="0" y="3429000"/>
            <a:ext cx="12192000" cy="1015663"/>
          </a:xfrm>
          <a:prstGeom prst="rect">
            <a:avLst/>
          </a:prstGeom>
          <a:noFill/>
          <a:effectLst/>
        </p:spPr>
        <p:txBody>
          <a:bodyPr wrap="square" rtlCol="0">
            <a:spAutoFit/>
          </a:bodyPr>
          <a:lstStyle/>
          <a:p>
            <a:pPr algn="ctr"/>
            <a:r>
              <a:rPr lang="en-US" sz="6000" b="1">
                <a:solidFill>
                  <a:schemeClr val="bg1"/>
                </a:solidFill>
                <a:latin typeface="Prometo" panose="020B0604030203060203" pitchFamily="34" charset="77"/>
                <a:ea typeface="Fira Sans SemiBold" panose="020B0603050000020004" pitchFamily="34" charset="0"/>
              </a:rPr>
              <a:t>JOY TO </a:t>
            </a:r>
            <a:r>
              <a:rPr lang="en-US" sz="6000" b="1" i="1">
                <a:solidFill>
                  <a:schemeClr val="bg1"/>
                </a:solidFill>
                <a:latin typeface="Prometo" panose="020B0604030203060203" pitchFamily="34" charset="77"/>
                <a:ea typeface="Fira Sans SemiBold" panose="020B0603050000020004" pitchFamily="34" charset="0"/>
              </a:rPr>
              <a:t>GO</a:t>
            </a:r>
            <a:endParaRPr lang="en-GB" sz="6000" b="1" i="1">
              <a:solidFill>
                <a:schemeClr val="bg1"/>
              </a:solidFill>
              <a:latin typeface="Prometo" panose="020B0604030203060203" pitchFamily="34" charset="77"/>
              <a:ea typeface="Fira Sans SemiBold" panose="020B0603050000020004" pitchFamily="34" charset="0"/>
            </a:endParaRPr>
          </a:p>
        </p:txBody>
      </p:sp>
      <p:cxnSp>
        <p:nvCxnSpPr>
          <p:cNvPr id="12" name="Straight Connector 16">
            <a:extLst>
              <a:ext uri="{FF2B5EF4-FFF2-40B4-BE49-F238E27FC236}">
                <a16:creationId xmlns:a16="http://schemas.microsoft.com/office/drawing/2014/main" id="{5EF95C70-12C6-05A6-B3AD-C9EEC38C4D3C}"/>
              </a:ext>
            </a:extLst>
          </p:cNvPr>
          <p:cNvCxnSpPr>
            <a:cxnSpLocks/>
          </p:cNvCxnSpPr>
          <p:nvPr userDrawn="1"/>
        </p:nvCxnSpPr>
        <p:spPr>
          <a:xfrm>
            <a:off x="4765831" y="4529778"/>
            <a:ext cx="266033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666766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ext slide_4">
    <p:bg>
      <p:bgPr>
        <a:solidFill>
          <a:schemeClr val="accent2"/>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accent4"/>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52AC02A1-4D8C-9086-B04A-FEBA3D928B54}"/>
              </a:ext>
            </a:extLst>
          </p:cNvPr>
          <p:cNvSpPr>
            <a:spLocks noGrp="1"/>
          </p:cNvSpPr>
          <p:nvPr>
            <p:ph type="body" sz="quarter" idx="24" hasCustomPrompt="1"/>
          </p:nvPr>
        </p:nvSpPr>
        <p:spPr>
          <a:xfrm>
            <a:off x="6326966"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6F0069F4-223A-CBBD-C45E-7BC058D999EA}"/>
              </a:ext>
            </a:extLst>
          </p:cNvPr>
          <p:cNvSpPr>
            <a:spLocks noGrp="1"/>
          </p:cNvSpPr>
          <p:nvPr>
            <p:ph type="body" sz="quarter" idx="25" hasCustomPrompt="1"/>
          </p:nvPr>
        </p:nvSpPr>
        <p:spPr>
          <a:xfrm>
            <a:off x="6320395" y="1416669"/>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7" name="Text Placeholder 23">
            <a:extLst>
              <a:ext uri="{FF2B5EF4-FFF2-40B4-BE49-F238E27FC236}">
                <a16:creationId xmlns:a16="http://schemas.microsoft.com/office/drawing/2014/main" id="{33772BC4-D5E5-1589-2B0D-D61776AD6CD5}"/>
              </a:ext>
            </a:extLst>
          </p:cNvPr>
          <p:cNvSpPr>
            <a:spLocks noGrp="1"/>
          </p:cNvSpPr>
          <p:nvPr>
            <p:ph type="body" sz="quarter" idx="26" hasCustomPrompt="1"/>
          </p:nvPr>
        </p:nvSpPr>
        <p:spPr>
          <a:xfrm>
            <a:off x="6320394"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8" name="Text Placeholder 23">
            <a:extLst>
              <a:ext uri="{FF2B5EF4-FFF2-40B4-BE49-F238E27FC236}">
                <a16:creationId xmlns:a16="http://schemas.microsoft.com/office/drawing/2014/main" id="{6306AC2F-246D-FA77-C3EF-9D0B809E9ADE}"/>
              </a:ext>
            </a:extLst>
          </p:cNvPr>
          <p:cNvSpPr>
            <a:spLocks noGrp="1"/>
          </p:cNvSpPr>
          <p:nvPr>
            <p:ph type="body" sz="quarter" idx="27" hasCustomPrompt="1"/>
          </p:nvPr>
        </p:nvSpPr>
        <p:spPr>
          <a:xfrm>
            <a:off x="6320394" y="3948812"/>
            <a:ext cx="5314172" cy="287880"/>
          </a:xfrm>
        </p:spPr>
        <p:txBody>
          <a:bodyPr anchor="t">
            <a:noAutofit/>
          </a:bodyPr>
          <a:lstStyle>
            <a:lvl1pPr marL="0" indent="0">
              <a:lnSpc>
                <a:spcPct val="100000"/>
              </a:lnSpc>
              <a:spcBef>
                <a:spcPts val="0"/>
              </a:spcBef>
              <a:buNone/>
              <a:defRPr sz="1400" b="1">
                <a:solidFill>
                  <a:schemeClr val="accent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37971470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Text slide_4">
    <p:bg>
      <p:bgPr>
        <a:solidFill>
          <a:schemeClr val="accent4"/>
        </a:solidFill>
        <a:effectLst/>
      </p:bgPr>
    </p:bg>
    <p:spTree>
      <p:nvGrpSpPr>
        <p:cNvPr id="1" name=""/>
        <p:cNvGrpSpPr/>
        <p:nvPr/>
      </p:nvGrpSpPr>
      <p:grpSpPr>
        <a:xfrm>
          <a:off x="0" y="0"/>
          <a:ext cx="0" cy="0"/>
          <a:chOff x="0" y="0"/>
          <a:chExt cx="0" cy="0"/>
        </a:xfrm>
      </p:grpSpPr>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40527"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3" name="Text Placeholder 23">
            <a:extLst>
              <a:ext uri="{FF2B5EF4-FFF2-40B4-BE49-F238E27FC236}">
                <a16:creationId xmlns:a16="http://schemas.microsoft.com/office/drawing/2014/main" id="{1A9F78BB-37C5-4003-85A5-0D9427A032C2}"/>
              </a:ext>
            </a:extLst>
          </p:cNvPr>
          <p:cNvSpPr>
            <a:spLocks noGrp="1"/>
          </p:cNvSpPr>
          <p:nvPr>
            <p:ph type="body" sz="quarter" idx="18" hasCustomPrompt="1"/>
          </p:nvPr>
        </p:nvSpPr>
        <p:spPr>
          <a:xfrm>
            <a:off x="533956" y="1416669"/>
            <a:ext cx="5314172"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12" name="Text Placeholder 23">
            <a:extLst>
              <a:ext uri="{FF2B5EF4-FFF2-40B4-BE49-F238E27FC236}">
                <a16:creationId xmlns:a16="http://schemas.microsoft.com/office/drawing/2014/main" id="{F1936224-8756-4A7D-AFC8-6C90932155E8}"/>
              </a:ext>
            </a:extLst>
          </p:cNvPr>
          <p:cNvSpPr>
            <a:spLocks noGrp="1"/>
          </p:cNvSpPr>
          <p:nvPr>
            <p:ph type="body" sz="quarter" idx="22" hasCustomPrompt="1"/>
          </p:nvPr>
        </p:nvSpPr>
        <p:spPr>
          <a:xfrm>
            <a:off x="533955"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15" name="Text Placeholder 23">
            <a:extLst>
              <a:ext uri="{FF2B5EF4-FFF2-40B4-BE49-F238E27FC236}">
                <a16:creationId xmlns:a16="http://schemas.microsoft.com/office/drawing/2014/main" id="{CAF6BFF0-114B-466F-A61B-9467E79AE484}"/>
              </a:ext>
            </a:extLst>
          </p:cNvPr>
          <p:cNvSpPr>
            <a:spLocks noGrp="1"/>
          </p:cNvSpPr>
          <p:nvPr>
            <p:ph type="body" sz="quarter" idx="23" hasCustomPrompt="1"/>
          </p:nvPr>
        </p:nvSpPr>
        <p:spPr>
          <a:xfrm>
            <a:off x="533955" y="3948812"/>
            <a:ext cx="5314172"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3" name="Titel 13">
            <a:extLst>
              <a:ext uri="{FF2B5EF4-FFF2-40B4-BE49-F238E27FC236}">
                <a16:creationId xmlns:a16="http://schemas.microsoft.com/office/drawing/2014/main" id="{0A8A58BE-4352-9CED-38F0-E8EEC689EAE8}"/>
              </a:ext>
            </a:extLst>
          </p:cNvPr>
          <p:cNvSpPr>
            <a:spLocks noGrp="1"/>
          </p:cNvSpPr>
          <p:nvPr>
            <p:ph type="title" hasCustomPrompt="1"/>
          </p:nvPr>
        </p:nvSpPr>
        <p:spPr>
          <a:xfrm>
            <a:off x="550863" y="549276"/>
            <a:ext cx="10477355" cy="827087"/>
          </a:xfrm>
        </p:spPr>
        <p:txBody>
          <a:bodyPr/>
          <a:lstStyle>
            <a:lvl1pPr>
              <a:defRPr>
                <a:solidFill>
                  <a:schemeClr val="bg1"/>
                </a:solidFill>
              </a:defRPr>
            </a:lvl1pPr>
          </a:lstStyle>
          <a:p>
            <a:r>
              <a:rPr lang="nl-NL"/>
              <a:t>CLICK TO EDIT</a:t>
            </a:r>
            <a:endParaRPr lang="en-GB"/>
          </a:p>
        </p:txBody>
      </p:sp>
      <p:sp>
        <p:nvSpPr>
          <p:cNvPr id="4" name="Tijdelijke aanduiding voor dianummer 2">
            <a:extLst>
              <a:ext uri="{FF2B5EF4-FFF2-40B4-BE49-F238E27FC236}">
                <a16:creationId xmlns:a16="http://schemas.microsoft.com/office/drawing/2014/main" id="{D7DC012D-7EF0-787F-0430-1B811D2DCDDB}"/>
              </a:ext>
            </a:extLst>
          </p:cNvPr>
          <p:cNvSpPr>
            <a:spLocks noGrp="1"/>
          </p:cNvSpPr>
          <p:nvPr>
            <p:ph type="sldNum" sz="quarter" idx="10"/>
          </p:nvPr>
        </p:nvSpPr>
        <p:spPr>
          <a:xfrm>
            <a:off x="11322051" y="6431096"/>
            <a:ext cx="319088" cy="130042"/>
          </a:xfrm>
        </p:spPr>
        <p:txBody>
          <a:bodyPr/>
          <a:lstStyle>
            <a:lvl1pPr>
              <a:defRPr>
                <a:solidFill>
                  <a:schemeClr val="bg1"/>
                </a:solidFill>
              </a:defRPr>
            </a:lvl1pPr>
          </a:lstStyle>
          <a:p>
            <a:fld id="{015F0CDB-A812-4850-A270-8696C5F0BFD2}" type="slidenum">
              <a:rPr lang="en-GB" smtClean="0"/>
              <a:pPr/>
              <a:t>‹#›</a:t>
            </a:fld>
            <a:endParaRPr lang="en-GB"/>
          </a:p>
        </p:txBody>
      </p:sp>
      <p:sp>
        <p:nvSpPr>
          <p:cNvPr id="5" name="Tijdelijke aanduiding voor voettekst 3">
            <a:extLst>
              <a:ext uri="{FF2B5EF4-FFF2-40B4-BE49-F238E27FC236}">
                <a16:creationId xmlns:a16="http://schemas.microsoft.com/office/drawing/2014/main" id="{00012DBB-FD66-5893-3B20-3FB7B0D557E7}"/>
              </a:ext>
            </a:extLst>
          </p:cNvPr>
          <p:cNvSpPr>
            <a:spLocks noGrp="1"/>
          </p:cNvSpPr>
          <p:nvPr>
            <p:ph type="ftr" sz="quarter" idx="11"/>
          </p:nvPr>
        </p:nvSpPr>
        <p:spPr>
          <a:xfrm>
            <a:off x="9896079" y="6431095"/>
            <a:ext cx="1425971" cy="130043"/>
          </a:xfrm>
        </p:spPr>
        <p:txBody>
          <a:bodyPr/>
          <a:lstStyle>
            <a:lvl1pPr>
              <a:defRPr>
                <a:solidFill>
                  <a:schemeClr val="bg1"/>
                </a:solidFill>
              </a:defRPr>
            </a:lvl1pPr>
          </a:lstStyle>
          <a:p>
            <a:r>
              <a:rPr lang="en-US" sz="800">
                <a:ea typeface="Helvetica Neue Light" panose="02000403000000020004" pitchFamily="2" charset="0"/>
              </a:rPr>
              <a:t>©Selecta</a:t>
            </a:r>
          </a:p>
        </p:txBody>
      </p:sp>
      <p:sp>
        <p:nvSpPr>
          <p:cNvPr id="2" name="Text Placeholder 23">
            <a:extLst>
              <a:ext uri="{FF2B5EF4-FFF2-40B4-BE49-F238E27FC236}">
                <a16:creationId xmlns:a16="http://schemas.microsoft.com/office/drawing/2014/main" id="{52AC02A1-4D8C-9086-B04A-FEBA3D928B54}"/>
              </a:ext>
            </a:extLst>
          </p:cNvPr>
          <p:cNvSpPr>
            <a:spLocks noGrp="1"/>
          </p:cNvSpPr>
          <p:nvPr>
            <p:ph type="body" sz="quarter" idx="24" hasCustomPrompt="1"/>
          </p:nvPr>
        </p:nvSpPr>
        <p:spPr>
          <a:xfrm>
            <a:off x="6326966" y="174861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6" name="Text Placeholder 23">
            <a:extLst>
              <a:ext uri="{FF2B5EF4-FFF2-40B4-BE49-F238E27FC236}">
                <a16:creationId xmlns:a16="http://schemas.microsoft.com/office/drawing/2014/main" id="{6F0069F4-223A-CBBD-C45E-7BC058D999EA}"/>
              </a:ext>
            </a:extLst>
          </p:cNvPr>
          <p:cNvSpPr>
            <a:spLocks noGrp="1"/>
          </p:cNvSpPr>
          <p:nvPr>
            <p:ph type="body" sz="quarter" idx="25" hasCustomPrompt="1"/>
          </p:nvPr>
        </p:nvSpPr>
        <p:spPr>
          <a:xfrm>
            <a:off x="6320395" y="1416669"/>
            <a:ext cx="5314172"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
        <p:nvSpPr>
          <p:cNvPr id="7" name="Text Placeholder 23">
            <a:extLst>
              <a:ext uri="{FF2B5EF4-FFF2-40B4-BE49-F238E27FC236}">
                <a16:creationId xmlns:a16="http://schemas.microsoft.com/office/drawing/2014/main" id="{33772BC4-D5E5-1589-2B0D-D61776AD6CD5}"/>
              </a:ext>
            </a:extLst>
          </p:cNvPr>
          <p:cNvSpPr>
            <a:spLocks noGrp="1"/>
          </p:cNvSpPr>
          <p:nvPr>
            <p:ph type="body" sz="quarter" idx="26" hasCustomPrompt="1"/>
          </p:nvPr>
        </p:nvSpPr>
        <p:spPr>
          <a:xfrm>
            <a:off x="6320394" y="4276998"/>
            <a:ext cx="5314173" cy="1896282"/>
          </a:xfrm>
        </p:spPr>
        <p:txBody>
          <a:bodyPr anchor="t">
            <a:noAutofit/>
          </a:bodyPr>
          <a:lstStyle>
            <a:lvl1pPr marL="0" indent="0">
              <a:lnSpc>
                <a:spcPct val="100000"/>
              </a:lnSpc>
              <a:spcBef>
                <a:spcPts val="600"/>
              </a:spcBef>
              <a:buFont typeface="Arial" panose="020B0604020202020204" pitchFamily="34" charset="0"/>
              <a:buNone/>
              <a:defRPr sz="1200">
                <a:solidFill>
                  <a:schemeClr val="bg1"/>
                </a:solidFill>
              </a:defRPr>
            </a:lvl1pPr>
            <a:lvl2pPr marL="344700" indent="0">
              <a:lnSpc>
                <a:spcPct val="110000"/>
              </a:lnSpc>
              <a:spcBef>
                <a:spcPts val="600"/>
              </a:spcBef>
              <a:buFont typeface="Arial" panose="020B0604020202020204" pitchFamily="34" charset="0"/>
              <a:buNone/>
              <a:defRPr sz="12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12PT</a:t>
            </a:r>
          </a:p>
        </p:txBody>
      </p:sp>
      <p:sp>
        <p:nvSpPr>
          <p:cNvPr id="8" name="Text Placeholder 23">
            <a:extLst>
              <a:ext uri="{FF2B5EF4-FFF2-40B4-BE49-F238E27FC236}">
                <a16:creationId xmlns:a16="http://schemas.microsoft.com/office/drawing/2014/main" id="{6306AC2F-246D-FA77-C3EF-9D0B809E9ADE}"/>
              </a:ext>
            </a:extLst>
          </p:cNvPr>
          <p:cNvSpPr>
            <a:spLocks noGrp="1"/>
          </p:cNvSpPr>
          <p:nvPr>
            <p:ph type="body" sz="quarter" idx="27" hasCustomPrompt="1"/>
          </p:nvPr>
        </p:nvSpPr>
        <p:spPr>
          <a:xfrm>
            <a:off x="6320394" y="3948812"/>
            <a:ext cx="5314172" cy="287880"/>
          </a:xfrm>
        </p:spPr>
        <p:txBody>
          <a:bodyPr anchor="t">
            <a:noAutofit/>
          </a:bodyPr>
          <a:lstStyle>
            <a:lvl1pPr marL="0" indent="0">
              <a:lnSpc>
                <a:spcPct val="100000"/>
              </a:lnSpc>
              <a:spcBef>
                <a:spcPts val="0"/>
              </a:spcBef>
              <a:buNone/>
              <a:defRPr sz="1400" b="1">
                <a:solidFill>
                  <a:schemeClr val="accent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ody Copy Arial Bold 14PT</a:t>
            </a:r>
          </a:p>
        </p:txBody>
      </p:sp>
    </p:spTree>
    <p:extLst>
      <p:ext uri="{BB962C8B-B14F-4D97-AF65-F5344CB8AC3E}">
        <p14:creationId xmlns:p14="http://schemas.microsoft.com/office/powerpoint/2010/main" val="1153589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1"/>
            <a:ext cx="5384801" cy="6858000"/>
          </a:xfrm>
          <a:custGeom>
            <a:avLst/>
            <a:gdLst>
              <a:gd name="connsiteX0" fmla="*/ 0 w 9144000"/>
              <a:gd name="connsiteY0" fmla="*/ 0 h 10287000"/>
              <a:gd name="connsiteX1" fmla="*/ 9144000 w 9144000"/>
              <a:gd name="connsiteY1" fmla="*/ 0 h 10287000"/>
              <a:gd name="connsiteX2" fmla="*/ 9144000 w 9144000"/>
              <a:gd name="connsiteY2" fmla="*/ 10287000 h 10287000"/>
              <a:gd name="connsiteX3" fmla="*/ 0 w 91440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9144000" h="10287000">
                <a:moveTo>
                  <a:pt x="0" y="0"/>
                </a:moveTo>
                <a:lnTo>
                  <a:pt x="9144000" y="0"/>
                </a:lnTo>
                <a:lnTo>
                  <a:pt x="9144000" y="10287000"/>
                </a:lnTo>
                <a:lnTo>
                  <a:pt x="0" y="10287000"/>
                </a:lnTo>
                <a:close/>
              </a:path>
            </a:pathLst>
          </a:custGeom>
        </p:spPr>
        <p:txBody>
          <a:bodyPr wrap="square">
            <a:noAutofit/>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64D0B859-A962-D8A1-53E1-AC62F0EE6AA1}"/>
              </a:ext>
            </a:extLst>
          </p:cNvPr>
          <p:cNvSpPr>
            <a:spLocks noGrp="1"/>
          </p:cNvSpPr>
          <p:nvPr>
            <p:ph type="body" sz="quarter" idx="15" hasCustomPrompt="1"/>
          </p:nvPr>
        </p:nvSpPr>
        <p:spPr>
          <a:xfrm>
            <a:off x="7256961" y="1376363"/>
            <a:ext cx="4384178" cy="4932361"/>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3" name="Titel 13">
            <a:extLst>
              <a:ext uri="{FF2B5EF4-FFF2-40B4-BE49-F238E27FC236}">
                <a16:creationId xmlns:a16="http://schemas.microsoft.com/office/drawing/2014/main" id="{E8813B40-8A00-CE3D-7AE9-25CFAB277749}"/>
              </a:ext>
            </a:extLst>
          </p:cNvPr>
          <p:cNvSpPr>
            <a:spLocks noGrp="1"/>
          </p:cNvSpPr>
          <p:nvPr>
            <p:ph type="title" hasCustomPrompt="1"/>
          </p:nvPr>
        </p:nvSpPr>
        <p:spPr>
          <a:xfrm>
            <a:off x="5932640" y="549276"/>
            <a:ext cx="4384178" cy="827087"/>
          </a:xfrm>
        </p:spPr>
        <p:txBody>
          <a:bodyPr/>
          <a:lstStyle/>
          <a:p>
            <a:r>
              <a:rPr lang="nl-NL"/>
              <a:t>CLICK TO EDIT </a:t>
            </a:r>
            <a:endParaRPr lang="en-GB"/>
          </a:p>
        </p:txBody>
      </p:sp>
      <p:sp>
        <p:nvSpPr>
          <p:cNvPr id="4" name="Slide Number Placeholder 5">
            <a:extLst>
              <a:ext uri="{FF2B5EF4-FFF2-40B4-BE49-F238E27FC236}">
                <a16:creationId xmlns:a16="http://schemas.microsoft.com/office/drawing/2014/main" id="{AE880B8D-6326-4009-FB68-B52F2C951CB7}"/>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3945644F-846E-1F49-0D31-E5A4EBF53C5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3453809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icture + text">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1"/>
            <a:ext cx="5384801" cy="6858000"/>
          </a:xfrm>
          <a:custGeom>
            <a:avLst/>
            <a:gdLst>
              <a:gd name="connsiteX0" fmla="*/ 0 w 9144000"/>
              <a:gd name="connsiteY0" fmla="*/ 0 h 10287000"/>
              <a:gd name="connsiteX1" fmla="*/ 9144000 w 9144000"/>
              <a:gd name="connsiteY1" fmla="*/ 0 h 10287000"/>
              <a:gd name="connsiteX2" fmla="*/ 9144000 w 9144000"/>
              <a:gd name="connsiteY2" fmla="*/ 10287000 h 10287000"/>
              <a:gd name="connsiteX3" fmla="*/ 0 w 91440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9144000" h="10287000">
                <a:moveTo>
                  <a:pt x="0" y="0"/>
                </a:moveTo>
                <a:lnTo>
                  <a:pt x="9144000" y="0"/>
                </a:lnTo>
                <a:lnTo>
                  <a:pt x="9144000" y="10287000"/>
                </a:lnTo>
                <a:lnTo>
                  <a:pt x="0" y="10287000"/>
                </a:lnTo>
                <a:close/>
              </a:path>
            </a:pathLst>
          </a:custGeom>
        </p:spPr>
        <p:txBody>
          <a:bodyPr wrap="square">
            <a:noAutofit/>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64D0B859-A962-D8A1-53E1-AC62F0EE6AA1}"/>
              </a:ext>
            </a:extLst>
          </p:cNvPr>
          <p:cNvSpPr>
            <a:spLocks noGrp="1"/>
          </p:cNvSpPr>
          <p:nvPr>
            <p:ph type="body" sz="quarter" idx="15" hasCustomPrompt="1"/>
          </p:nvPr>
        </p:nvSpPr>
        <p:spPr>
          <a:xfrm>
            <a:off x="7256961" y="1376363"/>
            <a:ext cx="4384178" cy="4932361"/>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3" name="Titel 13">
            <a:extLst>
              <a:ext uri="{FF2B5EF4-FFF2-40B4-BE49-F238E27FC236}">
                <a16:creationId xmlns:a16="http://schemas.microsoft.com/office/drawing/2014/main" id="{E8813B40-8A00-CE3D-7AE9-25CFAB277749}"/>
              </a:ext>
            </a:extLst>
          </p:cNvPr>
          <p:cNvSpPr>
            <a:spLocks noGrp="1"/>
          </p:cNvSpPr>
          <p:nvPr>
            <p:ph type="title" hasCustomPrompt="1"/>
          </p:nvPr>
        </p:nvSpPr>
        <p:spPr>
          <a:xfrm>
            <a:off x="5932640" y="549276"/>
            <a:ext cx="4384178" cy="827087"/>
          </a:xfrm>
        </p:spPr>
        <p:txBody>
          <a:bodyPr/>
          <a:lstStyle>
            <a:lvl1pPr>
              <a:defRPr>
                <a:solidFill>
                  <a:schemeClr val="accent4"/>
                </a:solidFill>
              </a:defRPr>
            </a:lvl1pPr>
          </a:lstStyle>
          <a:p>
            <a:r>
              <a:rPr lang="nl-NL"/>
              <a:t>CLICK TO EDIT </a:t>
            </a:r>
            <a:endParaRPr lang="en-GB"/>
          </a:p>
        </p:txBody>
      </p:sp>
      <p:sp>
        <p:nvSpPr>
          <p:cNvPr id="4" name="Slide Number Placeholder 5">
            <a:extLst>
              <a:ext uri="{FF2B5EF4-FFF2-40B4-BE49-F238E27FC236}">
                <a16:creationId xmlns:a16="http://schemas.microsoft.com/office/drawing/2014/main" id="{AE880B8D-6326-4009-FB68-B52F2C951CB7}"/>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3945644F-846E-1F49-0D31-E5A4EBF53C5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3858212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icture + text">
    <p:bg>
      <p:bgPr>
        <a:solidFill>
          <a:schemeClr val="accent4"/>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1"/>
            <a:ext cx="5384801" cy="6858000"/>
          </a:xfrm>
          <a:custGeom>
            <a:avLst/>
            <a:gdLst>
              <a:gd name="connsiteX0" fmla="*/ 0 w 9144000"/>
              <a:gd name="connsiteY0" fmla="*/ 0 h 10287000"/>
              <a:gd name="connsiteX1" fmla="*/ 9144000 w 9144000"/>
              <a:gd name="connsiteY1" fmla="*/ 0 h 10287000"/>
              <a:gd name="connsiteX2" fmla="*/ 9144000 w 9144000"/>
              <a:gd name="connsiteY2" fmla="*/ 10287000 h 10287000"/>
              <a:gd name="connsiteX3" fmla="*/ 0 w 9144000"/>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9144000" h="10287000">
                <a:moveTo>
                  <a:pt x="0" y="0"/>
                </a:moveTo>
                <a:lnTo>
                  <a:pt x="9144000" y="0"/>
                </a:lnTo>
                <a:lnTo>
                  <a:pt x="9144000" y="10287000"/>
                </a:lnTo>
                <a:lnTo>
                  <a:pt x="0" y="10287000"/>
                </a:lnTo>
                <a:close/>
              </a:path>
            </a:pathLst>
          </a:custGeom>
        </p:spPr>
        <p:txBody>
          <a:bodyPr wrap="square">
            <a:noAutofit/>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64D0B859-A962-D8A1-53E1-AC62F0EE6AA1}"/>
              </a:ext>
            </a:extLst>
          </p:cNvPr>
          <p:cNvSpPr>
            <a:spLocks noGrp="1"/>
          </p:cNvSpPr>
          <p:nvPr>
            <p:ph type="body" sz="quarter" idx="15" hasCustomPrompt="1"/>
          </p:nvPr>
        </p:nvSpPr>
        <p:spPr>
          <a:xfrm>
            <a:off x="7256961" y="1376363"/>
            <a:ext cx="4384178" cy="4932361"/>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3" name="Titel 13">
            <a:extLst>
              <a:ext uri="{FF2B5EF4-FFF2-40B4-BE49-F238E27FC236}">
                <a16:creationId xmlns:a16="http://schemas.microsoft.com/office/drawing/2014/main" id="{E8813B40-8A00-CE3D-7AE9-25CFAB277749}"/>
              </a:ext>
            </a:extLst>
          </p:cNvPr>
          <p:cNvSpPr>
            <a:spLocks noGrp="1"/>
          </p:cNvSpPr>
          <p:nvPr>
            <p:ph type="title" hasCustomPrompt="1"/>
          </p:nvPr>
        </p:nvSpPr>
        <p:spPr>
          <a:xfrm>
            <a:off x="5932640" y="549276"/>
            <a:ext cx="4384178" cy="827087"/>
          </a:xfrm>
        </p:spPr>
        <p:txBody>
          <a:bodyPr/>
          <a:lstStyle>
            <a:lvl1pPr>
              <a:defRPr>
                <a:solidFill>
                  <a:schemeClr val="bg1"/>
                </a:solidFill>
              </a:defRPr>
            </a:lvl1pPr>
          </a:lstStyle>
          <a:p>
            <a:r>
              <a:rPr lang="nl-NL"/>
              <a:t>CLICK TO EDIT </a:t>
            </a:r>
            <a:endParaRPr lang="en-GB"/>
          </a:p>
        </p:txBody>
      </p:sp>
      <p:sp>
        <p:nvSpPr>
          <p:cNvPr id="4" name="Slide Number Placeholder 5">
            <a:extLst>
              <a:ext uri="{FF2B5EF4-FFF2-40B4-BE49-F238E27FC236}">
                <a16:creationId xmlns:a16="http://schemas.microsoft.com/office/drawing/2014/main" id="{AE880B8D-6326-4009-FB68-B52F2C951CB7}"/>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3945644F-846E-1F49-0D31-E5A4EBF53C5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18972283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 text_2">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7315200" cy="4741334"/>
          </a:xfrm>
        </p:spPr>
        <p:txBody>
          <a:bodyPr/>
          <a:lstStyle/>
          <a:p>
            <a:r>
              <a:rPr lang="nl-NL"/>
              <a:t>Klik op het pictogram als u een afbeelding wilt toevoegen</a:t>
            </a:r>
            <a:endParaRPr lang="en-GB"/>
          </a:p>
        </p:txBody>
      </p:sp>
      <p:sp>
        <p:nvSpPr>
          <p:cNvPr id="2" name="Rounded Rectangle 7">
            <a:extLst>
              <a:ext uri="{FF2B5EF4-FFF2-40B4-BE49-F238E27FC236}">
                <a16:creationId xmlns:a16="http://schemas.microsoft.com/office/drawing/2014/main" id="{C73738A0-4957-6D83-297A-054D750DB248}"/>
              </a:ext>
            </a:extLst>
          </p:cNvPr>
          <p:cNvSpPr>
            <a:spLocks noChangeAspect="1"/>
          </p:cNvSpPr>
          <p:nvPr userDrawn="1"/>
        </p:nvSpPr>
        <p:spPr>
          <a:xfrm rot="18900000">
            <a:off x="1837315" y="5106305"/>
            <a:ext cx="882060" cy="882060"/>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egnaposto testo 4">
            <a:extLst>
              <a:ext uri="{FF2B5EF4-FFF2-40B4-BE49-F238E27FC236}">
                <a16:creationId xmlns:a16="http://schemas.microsoft.com/office/drawing/2014/main" id="{1A189B10-5282-39F5-97EE-B7B4140F4849}"/>
              </a:ext>
            </a:extLst>
          </p:cNvPr>
          <p:cNvSpPr>
            <a:spLocks noGrp="1"/>
          </p:cNvSpPr>
          <p:nvPr>
            <p:ph type="body" sz="quarter" idx="15" hasCustomPrompt="1"/>
          </p:nvPr>
        </p:nvSpPr>
        <p:spPr>
          <a:xfrm>
            <a:off x="3015318" y="4923624"/>
            <a:ext cx="8599765" cy="1247422"/>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6CC4DA83-6077-FBF1-BF15-19B7AB69A46B}"/>
              </a:ext>
            </a:extLst>
          </p:cNvPr>
          <p:cNvSpPr>
            <a:spLocks noGrp="1"/>
          </p:cNvSpPr>
          <p:nvPr>
            <p:ph type="title" hasCustomPrompt="1"/>
          </p:nvPr>
        </p:nvSpPr>
        <p:spPr>
          <a:xfrm>
            <a:off x="7653130" y="1151467"/>
            <a:ext cx="3498574" cy="2029055"/>
          </a:xfrm>
        </p:spPr>
        <p:txBody>
          <a:bodyPr/>
          <a:lstStyle/>
          <a:p>
            <a:r>
              <a:rPr lang="nl-NL"/>
              <a:t>CLICK TO EDIT </a:t>
            </a:r>
            <a:endParaRPr lang="en-GB"/>
          </a:p>
        </p:txBody>
      </p:sp>
      <p:sp>
        <p:nvSpPr>
          <p:cNvPr id="6" name="Slide Number Placeholder 5">
            <a:extLst>
              <a:ext uri="{FF2B5EF4-FFF2-40B4-BE49-F238E27FC236}">
                <a16:creationId xmlns:a16="http://schemas.microsoft.com/office/drawing/2014/main" id="{BF1063E6-3535-0593-563F-6D7C6EBB91BD}"/>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BA88E020-CCDE-F431-070F-3DF06BC600B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10437643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Picture + text_2">
    <p:bg>
      <p:bgPr>
        <a:solidFill>
          <a:schemeClr val="accent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7315200" cy="4741334"/>
          </a:xfrm>
        </p:spPr>
        <p:txBody>
          <a:bodyPr/>
          <a:lstStyle>
            <a:lvl1pPr>
              <a:defRPr>
                <a:solidFill>
                  <a:schemeClr val="bg1"/>
                </a:solidFill>
              </a:defRPr>
            </a:lvl1pPr>
          </a:lstStyle>
          <a:p>
            <a:r>
              <a:rPr lang="nl-NL"/>
              <a:t>Klik op het pictogram als u een afbeelding wilt toevoegen</a:t>
            </a:r>
            <a:endParaRPr lang="en-GB"/>
          </a:p>
        </p:txBody>
      </p:sp>
      <p:sp>
        <p:nvSpPr>
          <p:cNvPr id="2" name="Rounded Rectangle 7">
            <a:extLst>
              <a:ext uri="{FF2B5EF4-FFF2-40B4-BE49-F238E27FC236}">
                <a16:creationId xmlns:a16="http://schemas.microsoft.com/office/drawing/2014/main" id="{C73738A0-4957-6D83-297A-054D750DB248}"/>
              </a:ext>
            </a:extLst>
          </p:cNvPr>
          <p:cNvSpPr>
            <a:spLocks noChangeAspect="1"/>
          </p:cNvSpPr>
          <p:nvPr userDrawn="1"/>
        </p:nvSpPr>
        <p:spPr>
          <a:xfrm rot="18900000">
            <a:off x="1837315" y="5106305"/>
            <a:ext cx="882060" cy="882060"/>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Segnaposto testo 4">
            <a:extLst>
              <a:ext uri="{FF2B5EF4-FFF2-40B4-BE49-F238E27FC236}">
                <a16:creationId xmlns:a16="http://schemas.microsoft.com/office/drawing/2014/main" id="{1A189B10-5282-39F5-97EE-B7B4140F4849}"/>
              </a:ext>
            </a:extLst>
          </p:cNvPr>
          <p:cNvSpPr>
            <a:spLocks noGrp="1"/>
          </p:cNvSpPr>
          <p:nvPr>
            <p:ph type="body" sz="quarter" idx="15" hasCustomPrompt="1"/>
          </p:nvPr>
        </p:nvSpPr>
        <p:spPr>
          <a:xfrm>
            <a:off x="3015318" y="4923624"/>
            <a:ext cx="8599765" cy="1247422"/>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6CC4DA83-6077-FBF1-BF15-19B7AB69A46B}"/>
              </a:ext>
            </a:extLst>
          </p:cNvPr>
          <p:cNvSpPr>
            <a:spLocks noGrp="1"/>
          </p:cNvSpPr>
          <p:nvPr>
            <p:ph type="title" hasCustomPrompt="1"/>
          </p:nvPr>
        </p:nvSpPr>
        <p:spPr>
          <a:xfrm>
            <a:off x="7653130" y="1151467"/>
            <a:ext cx="3498574" cy="2029055"/>
          </a:xfrm>
        </p:spPr>
        <p:txBody>
          <a:bodyPr/>
          <a:lstStyle>
            <a:lvl1pPr>
              <a:defRPr>
                <a:solidFill>
                  <a:schemeClr val="accent4"/>
                </a:solidFill>
              </a:defRPr>
            </a:lvl1pPr>
          </a:lstStyle>
          <a:p>
            <a:r>
              <a:rPr lang="nl-NL"/>
              <a:t>CLICK TO EDIT </a:t>
            </a:r>
            <a:endParaRPr lang="en-GB"/>
          </a:p>
        </p:txBody>
      </p:sp>
      <p:sp>
        <p:nvSpPr>
          <p:cNvPr id="6" name="Slide Number Placeholder 5">
            <a:extLst>
              <a:ext uri="{FF2B5EF4-FFF2-40B4-BE49-F238E27FC236}">
                <a16:creationId xmlns:a16="http://schemas.microsoft.com/office/drawing/2014/main" id="{BF1063E6-3535-0593-563F-6D7C6EBB91BD}"/>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BA88E020-CCDE-F431-070F-3DF06BC600B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1365363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Picture + text_2">
    <p:bg>
      <p:bgPr>
        <a:solidFill>
          <a:schemeClr val="accent4"/>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7315200" cy="4741334"/>
          </a:xfrm>
        </p:spPr>
        <p:txBody>
          <a:bodyPr/>
          <a:lstStyle>
            <a:lvl1pPr>
              <a:defRPr>
                <a:solidFill>
                  <a:schemeClr val="bg1"/>
                </a:solidFill>
              </a:defRPr>
            </a:lvl1pPr>
          </a:lstStyle>
          <a:p>
            <a:r>
              <a:rPr lang="nl-NL"/>
              <a:t>Klik op het pictogram als u een afbeelding wilt toevoegen</a:t>
            </a:r>
            <a:endParaRPr lang="en-GB"/>
          </a:p>
        </p:txBody>
      </p:sp>
      <p:sp>
        <p:nvSpPr>
          <p:cNvPr id="2" name="Rounded Rectangle 7">
            <a:extLst>
              <a:ext uri="{FF2B5EF4-FFF2-40B4-BE49-F238E27FC236}">
                <a16:creationId xmlns:a16="http://schemas.microsoft.com/office/drawing/2014/main" id="{C73738A0-4957-6D83-297A-054D750DB248}"/>
              </a:ext>
            </a:extLst>
          </p:cNvPr>
          <p:cNvSpPr>
            <a:spLocks noChangeAspect="1"/>
          </p:cNvSpPr>
          <p:nvPr userDrawn="1"/>
        </p:nvSpPr>
        <p:spPr>
          <a:xfrm rot="18900000">
            <a:off x="1837315" y="5106305"/>
            <a:ext cx="882060" cy="882060"/>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Segnaposto testo 4">
            <a:extLst>
              <a:ext uri="{FF2B5EF4-FFF2-40B4-BE49-F238E27FC236}">
                <a16:creationId xmlns:a16="http://schemas.microsoft.com/office/drawing/2014/main" id="{1A189B10-5282-39F5-97EE-B7B4140F4849}"/>
              </a:ext>
            </a:extLst>
          </p:cNvPr>
          <p:cNvSpPr>
            <a:spLocks noGrp="1"/>
          </p:cNvSpPr>
          <p:nvPr>
            <p:ph type="body" sz="quarter" idx="15" hasCustomPrompt="1"/>
          </p:nvPr>
        </p:nvSpPr>
        <p:spPr>
          <a:xfrm>
            <a:off x="3015318" y="4923624"/>
            <a:ext cx="8599765" cy="1247422"/>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6CC4DA83-6077-FBF1-BF15-19B7AB69A46B}"/>
              </a:ext>
            </a:extLst>
          </p:cNvPr>
          <p:cNvSpPr>
            <a:spLocks noGrp="1"/>
          </p:cNvSpPr>
          <p:nvPr>
            <p:ph type="title" hasCustomPrompt="1"/>
          </p:nvPr>
        </p:nvSpPr>
        <p:spPr>
          <a:xfrm>
            <a:off x="7653130" y="1151467"/>
            <a:ext cx="3498574" cy="2029055"/>
          </a:xfrm>
        </p:spPr>
        <p:txBody>
          <a:bodyPr/>
          <a:lstStyle>
            <a:lvl1pPr>
              <a:defRPr>
                <a:solidFill>
                  <a:schemeClr val="bg1"/>
                </a:solidFill>
              </a:defRPr>
            </a:lvl1pPr>
          </a:lstStyle>
          <a:p>
            <a:r>
              <a:rPr lang="nl-NL"/>
              <a:t>CLICK TO EDIT </a:t>
            </a:r>
            <a:endParaRPr lang="en-GB"/>
          </a:p>
        </p:txBody>
      </p:sp>
      <p:sp>
        <p:nvSpPr>
          <p:cNvPr id="6" name="Slide Number Placeholder 5">
            <a:extLst>
              <a:ext uri="{FF2B5EF4-FFF2-40B4-BE49-F238E27FC236}">
                <a16:creationId xmlns:a16="http://schemas.microsoft.com/office/drawing/2014/main" id="{BF1063E6-3535-0593-563F-6D7C6EBB91BD}"/>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BA88E020-CCDE-F431-070F-3DF06BC600B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18675278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 text_3">
    <p:spTree>
      <p:nvGrpSpPr>
        <p:cNvPr id="1" name=""/>
        <p:cNvGrpSpPr/>
        <p:nvPr/>
      </p:nvGrpSpPr>
      <p:grpSpPr>
        <a:xfrm>
          <a:off x="0" y="0"/>
          <a:ext cx="0" cy="0"/>
          <a:chOff x="0" y="0"/>
          <a:chExt cx="0" cy="0"/>
        </a:xfrm>
      </p:grpSpPr>
      <p:sp>
        <p:nvSpPr>
          <p:cNvPr id="2" name="Rounded Rectangle 13">
            <a:extLst>
              <a:ext uri="{FF2B5EF4-FFF2-40B4-BE49-F238E27FC236}">
                <a16:creationId xmlns:a16="http://schemas.microsoft.com/office/drawing/2014/main" id="{CA2F5724-5716-DE75-06F7-2F63F23D67BD}"/>
              </a:ext>
            </a:extLst>
          </p:cNvPr>
          <p:cNvSpPr>
            <a:spLocks noChangeAspect="1"/>
          </p:cNvSpPr>
          <p:nvPr userDrawn="1"/>
        </p:nvSpPr>
        <p:spPr>
          <a:xfrm rot="18900000">
            <a:off x="4572177" y="1615231"/>
            <a:ext cx="4153644" cy="4153644"/>
          </a:xfrm>
          <a:prstGeom prst="roundRect">
            <a:avLst>
              <a:gd name="adj" fmla="val 26789"/>
            </a:avLst>
          </a:prstGeom>
          <a:noFill/>
          <a:ln w="50800">
            <a:solidFill>
              <a:schemeClr val="bg1">
                <a:lumMod val="85000"/>
                <a:alpha val="3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58">
            <a:extLst>
              <a:ext uri="{FF2B5EF4-FFF2-40B4-BE49-F238E27FC236}">
                <a16:creationId xmlns:a16="http://schemas.microsoft.com/office/drawing/2014/main" id="{C4D9FD48-1377-E71A-5260-E9C30ABC6355}"/>
              </a:ext>
            </a:extLst>
          </p:cNvPr>
          <p:cNvGrpSpPr>
            <a:grpSpLocks noChangeAspect="1"/>
          </p:cNvGrpSpPr>
          <p:nvPr userDrawn="1"/>
        </p:nvGrpSpPr>
        <p:grpSpPr>
          <a:xfrm flipH="1">
            <a:off x="7677120" y="6270671"/>
            <a:ext cx="667566" cy="117442"/>
            <a:chOff x="16144470" y="5085634"/>
            <a:chExt cx="866274" cy="152400"/>
          </a:xfrm>
        </p:grpSpPr>
        <p:cxnSp>
          <p:nvCxnSpPr>
            <p:cNvPr id="4" name="Straight Connector 59">
              <a:extLst>
                <a:ext uri="{FF2B5EF4-FFF2-40B4-BE49-F238E27FC236}">
                  <a16:creationId xmlns:a16="http://schemas.microsoft.com/office/drawing/2014/main" id="{8AFA9AC4-43C0-873A-DA13-1E00A1C5D6D5}"/>
                </a:ext>
              </a:extLst>
            </p:cNvPr>
            <p:cNvCxnSpPr/>
            <p:nvPr/>
          </p:nvCxnSpPr>
          <p:spPr>
            <a:xfrm>
              <a:off x="16144470" y="5085634"/>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60">
              <a:extLst>
                <a:ext uri="{FF2B5EF4-FFF2-40B4-BE49-F238E27FC236}">
                  <a16:creationId xmlns:a16="http://schemas.microsoft.com/office/drawing/2014/main" id="{BB181258-794C-5A82-350B-CA56A2E9102F}"/>
                </a:ext>
              </a:extLst>
            </p:cNvPr>
            <p:cNvCxnSpPr/>
            <p:nvPr/>
          </p:nvCxnSpPr>
          <p:spPr>
            <a:xfrm>
              <a:off x="16573500" y="5238034"/>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Picture Placeholder 4"/>
          <p:cNvSpPr>
            <a:spLocks noGrp="1"/>
          </p:cNvSpPr>
          <p:nvPr>
            <p:ph type="pic" sz="quarter" idx="10"/>
          </p:nvPr>
        </p:nvSpPr>
        <p:spPr>
          <a:xfrm>
            <a:off x="1234319" y="0"/>
            <a:ext cx="4622800" cy="4584700"/>
          </a:xfrm>
          <a:custGeom>
            <a:avLst/>
            <a:gdLst>
              <a:gd name="connsiteX0" fmla="*/ 0 w 5581650"/>
              <a:gd name="connsiteY0" fmla="*/ 0 h 7772400"/>
              <a:gd name="connsiteX1" fmla="*/ 5581650 w 5581650"/>
              <a:gd name="connsiteY1" fmla="*/ 0 h 7772400"/>
              <a:gd name="connsiteX2" fmla="*/ 5581650 w 5581650"/>
              <a:gd name="connsiteY2" fmla="*/ 7772400 h 7772400"/>
              <a:gd name="connsiteX3" fmla="*/ 0 w 5581650"/>
              <a:gd name="connsiteY3" fmla="*/ 7772400 h 7772400"/>
            </a:gdLst>
            <a:ahLst/>
            <a:cxnLst>
              <a:cxn ang="0">
                <a:pos x="connsiteX0" y="connsiteY0"/>
              </a:cxn>
              <a:cxn ang="0">
                <a:pos x="connsiteX1" y="connsiteY1"/>
              </a:cxn>
              <a:cxn ang="0">
                <a:pos x="connsiteX2" y="connsiteY2"/>
              </a:cxn>
              <a:cxn ang="0">
                <a:pos x="connsiteX3" y="connsiteY3"/>
              </a:cxn>
            </a:cxnLst>
            <a:rect l="l" t="t" r="r" b="b"/>
            <a:pathLst>
              <a:path w="5581650" h="7772400">
                <a:moveTo>
                  <a:pt x="0" y="0"/>
                </a:moveTo>
                <a:lnTo>
                  <a:pt x="5581650" y="0"/>
                </a:lnTo>
                <a:lnTo>
                  <a:pt x="5581650" y="7772400"/>
                </a:lnTo>
                <a:lnTo>
                  <a:pt x="0" y="7772400"/>
                </a:lnTo>
                <a:close/>
              </a:path>
            </a:pathLst>
          </a:custGeom>
        </p:spPr>
        <p:txBody>
          <a:bodyPr wrap="square">
            <a:noAutofit/>
          </a:body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FC1416AD-748B-7CAC-B42C-BF711AB3B0B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053DBD45-C245-0F32-2D82-74AEFD705EC7}"/>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7" name="Segnaposto testo 4">
            <a:extLst>
              <a:ext uri="{FF2B5EF4-FFF2-40B4-BE49-F238E27FC236}">
                <a16:creationId xmlns:a16="http://schemas.microsoft.com/office/drawing/2014/main" id="{7632DDA4-797E-4D4C-6782-596E2B5C1E64}"/>
              </a:ext>
            </a:extLst>
          </p:cNvPr>
          <p:cNvSpPr>
            <a:spLocks noGrp="1"/>
          </p:cNvSpPr>
          <p:nvPr>
            <p:ph type="body" sz="quarter" idx="15" hasCustomPrompt="1"/>
          </p:nvPr>
        </p:nvSpPr>
        <p:spPr>
          <a:xfrm>
            <a:off x="7653130" y="3252723"/>
            <a:ext cx="3961953" cy="2659496"/>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8" name="Titel 13">
            <a:extLst>
              <a:ext uri="{FF2B5EF4-FFF2-40B4-BE49-F238E27FC236}">
                <a16:creationId xmlns:a16="http://schemas.microsoft.com/office/drawing/2014/main" id="{AE78ACFF-36C0-EE6F-82F0-62D3C7BCCFD9}"/>
              </a:ext>
            </a:extLst>
          </p:cNvPr>
          <p:cNvSpPr>
            <a:spLocks noGrp="1"/>
          </p:cNvSpPr>
          <p:nvPr>
            <p:ph type="title" hasCustomPrompt="1"/>
          </p:nvPr>
        </p:nvSpPr>
        <p:spPr>
          <a:xfrm>
            <a:off x="8334728" y="1151467"/>
            <a:ext cx="2816975" cy="2029055"/>
          </a:xfrm>
        </p:spPr>
        <p:txBody>
          <a:bodyPr/>
          <a:lstStyle/>
          <a:p>
            <a:r>
              <a:rPr lang="nl-NL"/>
              <a:t>CLICK TO EDIT </a:t>
            </a:r>
            <a:endParaRPr lang="en-GB"/>
          </a:p>
        </p:txBody>
      </p:sp>
    </p:spTree>
    <p:extLst>
      <p:ext uri="{BB962C8B-B14F-4D97-AF65-F5344CB8AC3E}">
        <p14:creationId xmlns:p14="http://schemas.microsoft.com/office/powerpoint/2010/main" val="444720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 text_4">
    <p:spTree>
      <p:nvGrpSpPr>
        <p:cNvPr id="1" name=""/>
        <p:cNvGrpSpPr/>
        <p:nvPr/>
      </p:nvGrpSpPr>
      <p:grpSpPr>
        <a:xfrm>
          <a:off x="0" y="0"/>
          <a:ext cx="0" cy="0"/>
          <a:chOff x="0" y="0"/>
          <a:chExt cx="0" cy="0"/>
        </a:xfrm>
      </p:grpSpPr>
      <p:sp>
        <p:nvSpPr>
          <p:cNvPr id="2" name="Freeform 7">
            <a:extLst>
              <a:ext uri="{FF2B5EF4-FFF2-40B4-BE49-F238E27FC236}">
                <a16:creationId xmlns:a16="http://schemas.microsoft.com/office/drawing/2014/main" id="{6EA6D7FC-9F06-AA4E-58C5-4F7D0951DF81}"/>
              </a:ext>
            </a:extLst>
          </p:cNvPr>
          <p:cNvSpPr/>
          <p:nvPr userDrawn="1"/>
        </p:nvSpPr>
        <p:spPr>
          <a:xfrm>
            <a:off x="1186367" y="-3765"/>
            <a:ext cx="8059514" cy="6245539"/>
          </a:xfrm>
          <a:custGeom>
            <a:avLst/>
            <a:gdLst>
              <a:gd name="connsiteX0" fmla="*/ 11573617 w 13021059"/>
              <a:gd name="connsiteY0" fmla="*/ 0 h 9445752"/>
              <a:gd name="connsiteX1" fmla="*/ 11656786 w 13021059"/>
              <a:gd name="connsiteY1" fmla="*/ 96448 h 9445752"/>
              <a:gd name="connsiteX2" fmla="*/ 12415666 w 13021059"/>
              <a:gd name="connsiteY2" fmla="*/ 976502 h 9445752"/>
              <a:gd name="connsiteX3" fmla="*/ 12149682 w 13021059"/>
              <a:gd name="connsiteY3" fmla="*/ 4505725 h 9445752"/>
              <a:gd name="connsiteX4" fmla="*/ 7126442 w 13021059"/>
              <a:gd name="connsiteY4" fmla="*/ 8837321 h 9445752"/>
              <a:gd name="connsiteX5" fmla="*/ 3599932 w 13021059"/>
              <a:gd name="connsiteY5" fmla="*/ 8578408 h 9445752"/>
              <a:gd name="connsiteX6" fmla="*/ 201415 w 13021059"/>
              <a:gd name="connsiteY6" fmla="*/ 4637235 h 9445752"/>
              <a:gd name="connsiteX7" fmla="*/ 0 w 13021059"/>
              <a:gd name="connsiteY7" fmla="*/ 4403659 h 9445752"/>
              <a:gd name="connsiteX8" fmla="*/ 0 w 13021059"/>
              <a:gd name="connsiteY8" fmla="*/ 0 h 944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21059" h="9445752">
                <a:moveTo>
                  <a:pt x="11573617" y="0"/>
                </a:moveTo>
                <a:lnTo>
                  <a:pt x="11656786" y="96448"/>
                </a:lnTo>
                <a:cubicBezTo>
                  <a:pt x="12415666" y="976502"/>
                  <a:pt x="12415666" y="976502"/>
                  <a:pt x="12415666" y="976502"/>
                </a:cubicBezTo>
                <a:cubicBezTo>
                  <a:pt x="13318026" y="2022946"/>
                  <a:pt x="13197198" y="3602440"/>
                  <a:pt x="12149682" y="4505725"/>
                </a:cubicBezTo>
                <a:cubicBezTo>
                  <a:pt x="7126442" y="8837321"/>
                  <a:pt x="7126442" y="8837321"/>
                  <a:pt x="7126442" y="8837321"/>
                </a:cubicBezTo>
                <a:cubicBezTo>
                  <a:pt x="6078925" y="9740607"/>
                  <a:pt x="4502293" y="9624851"/>
                  <a:pt x="3599932" y="8578408"/>
                </a:cubicBezTo>
                <a:cubicBezTo>
                  <a:pt x="2285720" y="7054350"/>
                  <a:pt x="1162094" y="5751309"/>
                  <a:pt x="201415" y="4637235"/>
                </a:cubicBezTo>
                <a:lnTo>
                  <a:pt x="0" y="4403659"/>
                </a:lnTo>
                <a:lnTo>
                  <a:pt x="0"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p:cNvSpPr>
            <a:spLocks noGrp="1"/>
          </p:cNvSpPr>
          <p:nvPr>
            <p:ph type="pic" sz="quarter" idx="10"/>
          </p:nvPr>
        </p:nvSpPr>
        <p:spPr>
          <a:xfrm>
            <a:off x="0" y="0"/>
            <a:ext cx="8059514" cy="5846543"/>
          </a:xfrm>
          <a:custGeom>
            <a:avLst/>
            <a:gdLst>
              <a:gd name="connsiteX0" fmla="*/ 10745408 w 12089271"/>
              <a:gd name="connsiteY0" fmla="*/ 0 h 8769814"/>
              <a:gd name="connsiteX1" fmla="*/ 10822625 w 12089271"/>
              <a:gd name="connsiteY1" fmla="*/ 89547 h 8769814"/>
              <a:gd name="connsiteX2" fmla="*/ 11527200 w 12089271"/>
              <a:gd name="connsiteY2" fmla="*/ 906624 h 8769814"/>
              <a:gd name="connsiteX3" fmla="*/ 11280250 w 12089271"/>
              <a:gd name="connsiteY3" fmla="*/ 4183296 h 8769814"/>
              <a:gd name="connsiteX4" fmla="*/ 6616474 w 12089271"/>
              <a:gd name="connsiteY4" fmla="*/ 8204923 h 8769814"/>
              <a:gd name="connsiteX5" fmla="*/ 3342321 w 12089271"/>
              <a:gd name="connsiteY5" fmla="*/ 7964537 h 8769814"/>
              <a:gd name="connsiteX6" fmla="*/ 187002 w 12089271"/>
              <a:gd name="connsiteY6" fmla="*/ 4305395 h 8769814"/>
              <a:gd name="connsiteX7" fmla="*/ 0 w 12089271"/>
              <a:gd name="connsiteY7" fmla="*/ 4088534 h 8769814"/>
              <a:gd name="connsiteX8" fmla="*/ 1 w 12089271"/>
              <a:gd name="connsiteY8" fmla="*/ 0 h 8769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9271" h="8769814">
                <a:moveTo>
                  <a:pt x="10745408" y="0"/>
                </a:moveTo>
                <a:lnTo>
                  <a:pt x="10822625" y="89547"/>
                </a:lnTo>
                <a:cubicBezTo>
                  <a:pt x="11527200" y="906624"/>
                  <a:pt x="11527200" y="906624"/>
                  <a:pt x="11527200" y="906624"/>
                </a:cubicBezTo>
                <a:cubicBezTo>
                  <a:pt x="12364987" y="1878184"/>
                  <a:pt x="12252806" y="3344650"/>
                  <a:pt x="11280250" y="4183296"/>
                </a:cubicBezTo>
                <a:cubicBezTo>
                  <a:pt x="6616474" y="8204923"/>
                  <a:pt x="6616474" y="8204923"/>
                  <a:pt x="6616474" y="8204923"/>
                </a:cubicBezTo>
                <a:cubicBezTo>
                  <a:pt x="5643918" y="9043568"/>
                  <a:pt x="4180110" y="8936096"/>
                  <a:pt x="3342321" y="7964537"/>
                </a:cubicBezTo>
                <a:cubicBezTo>
                  <a:pt x="2122154" y="6549541"/>
                  <a:pt x="1078934" y="5339746"/>
                  <a:pt x="187002" y="4305395"/>
                </a:cubicBezTo>
                <a:lnTo>
                  <a:pt x="0" y="4088534"/>
                </a:lnTo>
                <a:lnTo>
                  <a:pt x="1" y="0"/>
                </a:lnTo>
                <a:close/>
              </a:path>
            </a:pathLst>
          </a:custGeom>
        </p:spPr>
        <p:txBody>
          <a:bodyPr wrap="square">
            <a:noAutofit/>
          </a:bodyPr>
          <a:lstStyle/>
          <a:p>
            <a:r>
              <a:rPr lang="nl-NL"/>
              <a:t>Klik op het pictogram als u een afbeelding wilt toevoegen</a:t>
            </a:r>
            <a:endParaRPr lang="en-GB"/>
          </a:p>
        </p:txBody>
      </p:sp>
      <p:cxnSp>
        <p:nvCxnSpPr>
          <p:cNvPr id="5" name="Straight Connector 4">
            <a:extLst>
              <a:ext uri="{FF2B5EF4-FFF2-40B4-BE49-F238E27FC236}">
                <a16:creationId xmlns:a16="http://schemas.microsoft.com/office/drawing/2014/main" id="{22E1A71A-24BE-A591-4D73-95B359113A1B}"/>
              </a:ext>
            </a:extLst>
          </p:cNvPr>
          <p:cNvCxnSpPr/>
          <p:nvPr userDrawn="1"/>
        </p:nvCxnSpPr>
        <p:spPr>
          <a:xfrm>
            <a:off x="7556785" y="6062870"/>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1F05DBF-A718-4707-0E50-FE6C93547CE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5A7EAEF1-39D5-7D4B-F3A2-D844AE129352}"/>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7" name="Segnaposto testo 4">
            <a:extLst>
              <a:ext uri="{FF2B5EF4-FFF2-40B4-BE49-F238E27FC236}">
                <a16:creationId xmlns:a16="http://schemas.microsoft.com/office/drawing/2014/main" id="{547C502F-69DC-4F4B-F667-BEFEBE759769}"/>
              </a:ext>
            </a:extLst>
          </p:cNvPr>
          <p:cNvSpPr>
            <a:spLocks noGrp="1"/>
          </p:cNvSpPr>
          <p:nvPr>
            <p:ph type="body" sz="quarter" idx="15" hasCustomPrompt="1"/>
          </p:nvPr>
        </p:nvSpPr>
        <p:spPr>
          <a:xfrm>
            <a:off x="7573618" y="4335754"/>
            <a:ext cx="4041466" cy="123016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8" name="Titel 13">
            <a:extLst>
              <a:ext uri="{FF2B5EF4-FFF2-40B4-BE49-F238E27FC236}">
                <a16:creationId xmlns:a16="http://schemas.microsoft.com/office/drawing/2014/main" id="{06858DBC-8505-C079-37C7-86CA4B77E041}"/>
              </a:ext>
            </a:extLst>
          </p:cNvPr>
          <p:cNvSpPr>
            <a:spLocks noGrp="1"/>
          </p:cNvSpPr>
          <p:nvPr>
            <p:ph type="title" hasCustomPrompt="1"/>
          </p:nvPr>
        </p:nvSpPr>
        <p:spPr>
          <a:xfrm>
            <a:off x="8334728" y="1151467"/>
            <a:ext cx="2816975" cy="2029055"/>
          </a:xfrm>
        </p:spPr>
        <p:txBody>
          <a:bodyPr numCol="1"/>
          <a:lstStyle>
            <a:lvl1pPr>
              <a:lnSpc>
                <a:spcPct val="100000"/>
              </a:lnSpc>
              <a:defRPr/>
            </a:lvl1pPr>
          </a:lstStyle>
          <a:p>
            <a:r>
              <a:rPr lang="nl-NL"/>
              <a:t>CLICK TO EDIT </a:t>
            </a:r>
            <a:endParaRPr lang="en-GB"/>
          </a:p>
        </p:txBody>
      </p:sp>
    </p:spTree>
    <p:extLst>
      <p:ext uri="{BB962C8B-B14F-4D97-AF65-F5344CB8AC3E}">
        <p14:creationId xmlns:p14="http://schemas.microsoft.com/office/powerpoint/2010/main" val="216307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ackpage">
    <p:spTree>
      <p:nvGrpSpPr>
        <p:cNvPr id="1" name=""/>
        <p:cNvGrpSpPr/>
        <p:nvPr/>
      </p:nvGrpSpPr>
      <p:grpSpPr>
        <a:xfrm>
          <a:off x="0" y="0"/>
          <a:ext cx="0" cy="0"/>
          <a:chOff x="0" y="0"/>
          <a:chExt cx="0" cy="0"/>
        </a:xfrm>
      </p:grpSpPr>
      <p:pic>
        <p:nvPicPr>
          <p:cNvPr id="2" name="Afbeelding 1" descr="Afbeelding met persoon, kleding, Menselijk gezicht, buitenshuis&#10;&#10;Door AI gegenereerde inhoud is mogelijk onjuist.">
            <a:extLst>
              <a:ext uri="{FF2B5EF4-FFF2-40B4-BE49-F238E27FC236}">
                <a16:creationId xmlns:a16="http://schemas.microsoft.com/office/drawing/2014/main" id="{422B504A-981E-D317-A8D0-4CB4AD2269D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3915" y="0"/>
            <a:ext cx="12188085" cy="6850597"/>
          </a:xfrm>
          <a:prstGeom prst="rect">
            <a:avLst/>
          </a:prstGeom>
        </p:spPr>
      </p:pic>
      <p:sp>
        <p:nvSpPr>
          <p:cNvPr id="3" name="Rectangle 12">
            <a:extLst>
              <a:ext uri="{FF2B5EF4-FFF2-40B4-BE49-F238E27FC236}">
                <a16:creationId xmlns:a16="http://schemas.microsoft.com/office/drawing/2014/main" id="{6D3E03D0-8025-60A0-66DA-0F449AA82AB7}"/>
              </a:ext>
            </a:extLst>
          </p:cNvPr>
          <p:cNvSpPr/>
          <p:nvPr userDrawn="1"/>
        </p:nvSpPr>
        <p:spPr>
          <a:xfrm>
            <a:off x="0" y="7403"/>
            <a:ext cx="12178836" cy="684319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14">
            <a:extLst>
              <a:ext uri="{FF2B5EF4-FFF2-40B4-BE49-F238E27FC236}">
                <a16:creationId xmlns:a16="http://schemas.microsoft.com/office/drawing/2014/main" id="{30F30CA8-CD1D-998B-23F3-99433923C0B3}"/>
              </a:ext>
            </a:extLst>
          </p:cNvPr>
          <p:cNvSpPr txBox="1"/>
          <p:nvPr userDrawn="1"/>
        </p:nvSpPr>
        <p:spPr>
          <a:xfrm>
            <a:off x="972958" y="4710144"/>
            <a:ext cx="10246088" cy="861774"/>
          </a:xfrm>
          <a:prstGeom prst="rect">
            <a:avLst/>
          </a:prstGeom>
          <a:noFill/>
        </p:spPr>
        <p:txBody>
          <a:bodyPr wrap="square" rtlCol="0">
            <a:spAutoFit/>
          </a:bodyPr>
          <a:lstStyle/>
          <a:p>
            <a:pPr algn="ctr"/>
            <a:r>
              <a:rPr lang="de-DE" sz="5000" err="1">
                <a:solidFill>
                  <a:schemeClr val="bg1"/>
                </a:solidFill>
                <a:latin typeface="Fave Script Bold Pro" pitchFamily="2" charset="77"/>
                <a:cs typeface="Arial" panose="020B0604020202020204" pitchFamily="34" charset="0"/>
              </a:rPr>
              <a:t>www.selecta.com</a:t>
            </a:r>
            <a:endParaRPr lang="en-GB" sz="5000">
              <a:solidFill>
                <a:schemeClr val="bg1"/>
              </a:solidFill>
              <a:latin typeface="Fave Script Bold Pro" pitchFamily="2" charset="77"/>
              <a:cs typeface="Arial" panose="020B0604020202020204" pitchFamily="34" charset="0"/>
            </a:endParaRPr>
          </a:p>
        </p:txBody>
      </p:sp>
      <p:sp>
        <p:nvSpPr>
          <p:cNvPr id="8" name="TextBox 15">
            <a:extLst>
              <a:ext uri="{FF2B5EF4-FFF2-40B4-BE49-F238E27FC236}">
                <a16:creationId xmlns:a16="http://schemas.microsoft.com/office/drawing/2014/main" id="{09F77F7B-8F2C-38D1-2142-6F5BB54B0E77}"/>
              </a:ext>
            </a:extLst>
          </p:cNvPr>
          <p:cNvSpPr txBox="1"/>
          <p:nvPr userDrawn="1"/>
        </p:nvSpPr>
        <p:spPr>
          <a:xfrm>
            <a:off x="0" y="3429000"/>
            <a:ext cx="12192000" cy="1015663"/>
          </a:xfrm>
          <a:prstGeom prst="rect">
            <a:avLst/>
          </a:prstGeom>
          <a:noFill/>
          <a:effectLst/>
        </p:spPr>
        <p:txBody>
          <a:bodyPr wrap="square" rtlCol="0">
            <a:spAutoFit/>
          </a:bodyPr>
          <a:lstStyle/>
          <a:p>
            <a:pPr algn="ctr"/>
            <a:r>
              <a:rPr lang="en-US" sz="6000" b="1">
                <a:solidFill>
                  <a:schemeClr val="bg1"/>
                </a:solidFill>
                <a:latin typeface="Prometo" panose="020B0604030203060203" pitchFamily="34" charset="77"/>
                <a:ea typeface="Fira Sans SemiBold" panose="020B0603050000020004" pitchFamily="34" charset="0"/>
              </a:rPr>
              <a:t>JOY TO </a:t>
            </a:r>
            <a:r>
              <a:rPr lang="en-US" sz="6000" b="1" i="1">
                <a:solidFill>
                  <a:schemeClr val="bg1"/>
                </a:solidFill>
                <a:latin typeface="Prometo" panose="020B0604030203060203" pitchFamily="34" charset="77"/>
                <a:ea typeface="Fira Sans SemiBold" panose="020B0603050000020004" pitchFamily="34" charset="0"/>
              </a:rPr>
              <a:t>GO</a:t>
            </a:r>
            <a:endParaRPr lang="en-GB" sz="6000" b="1" i="1">
              <a:solidFill>
                <a:schemeClr val="bg1"/>
              </a:solidFill>
              <a:latin typeface="Prometo" panose="020B0604030203060203" pitchFamily="34" charset="77"/>
              <a:ea typeface="Fira Sans SemiBold" panose="020B0603050000020004" pitchFamily="34" charset="0"/>
            </a:endParaRPr>
          </a:p>
        </p:txBody>
      </p:sp>
      <p:cxnSp>
        <p:nvCxnSpPr>
          <p:cNvPr id="12" name="Straight Connector 16">
            <a:extLst>
              <a:ext uri="{FF2B5EF4-FFF2-40B4-BE49-F238E27FC236}">
                <a16:creationId xmlns:a16="http://schemas.microsoft.com/office/drawing/2014/main" id="{5EF95C70-12C6-05A6-B3AD-C9EEC38C4D3C}"/>
              </a:ext>
            </a:extLst>
          </p:cNvPr>
          <p:cNvCxnSpPr>
            <a:cxnSpLocks/>
          </p:cNvCxnSpPr>
          <p:nvPr userDrawn="1"/>
        </p:nvCxnSpPr>
        <p:spPr>
          <a:xfrm>
            <a:off x="4765831" y="4529778"/>
            <a:ext cx="266033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82567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 text_5">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5712885" y="556"/>
            <a:ext cx="6479151" cy="4700113"/>
          </a:xfrm>
          <a:custGeom>
            <a:avLst/>
            <a:gdLst>
              <a:gd name="connsiteX0" fmla="*/ 1080349 w 9718726"/>
              <a:gd name="connsiteY0" fmla="*/ 0 h 7050170"/>
              <a:gd name="connsiteX1" fmla="*/ 9718726 w 9718726"/>
              <a:gd name="connsiteY1" fmla="*/ 0 h 7050170"/>
              <a:gd name="connsiteX2" fmla="*/ 9718726 w 9718726"/>
              <a:gd name="connsiteY2" fmla="*/ 3286827 h 7050170"/>
              <a:gd name="connsiteX3" fmla="*/ 9568392 w 9718726"/>
              <a:gd name="connsiteY3" fmla="*/ 3461164 h 7050170"/>
              <a:gd name="connsiteX4" fmla="*/ 7031790 w 9718726"/>
              <a:gd name="connsiteY4" fmla="*/ 6402797 h 7050170"/>
              <a:gd name="connsiteX5" fmla="*/ 4399655 w 9718726"/>
              <a:gd name="connsiteY5" fmla="*/ 6596046 h 7050170"/>
              <a:gd name="connsiteX6" fmla="*/ 650383 w 9718726"/>
              <a:gd name="connsiteY6" fmla="*/ 3363007 h 7050170"/>
              <a:gd name="connsiteX7" fmla="*/ 451856 w 9718726"/>
              <a:gd name="connsiteY7" fmla="*/ 728847 h 7050170"/>
              <a:gd name="connsiteX8" fmla="*/ 1018273 w 9718726"/>
              <a:gd name="connsiteY8" fmla="*/ 71988 h 705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8726" h="7050170">
                <a:moveTo>
                  <a:pt x="1080349" y="0"/>
                </a:moveTo>
                <a:lnTo>
                  <a:pt x="9718726" y="0"/>
                </a:lnTo>
                <a:lnTo>
                  <a:pt x="9718726" y="3286827"/>
                </a:lnTo>
                <a:lnTo>
                  <a:pt x="9568392" y="3461164"/>
                </a:lnTo>
                <a:cubicBezTo>
                  <a:pt x="8851356" y="4292693"/>
                  <a:pt x="8012698" y="5265263"/>
                  <a:pt x="7031790" y="6402797"/>
                </a:cubicBezTo>
                <a:cubicBezTo>
                  <a:pt x="6358281" y="7183847"/>
                  <a:pt x="5181506" y="7270245"/>
                  <a:pt x="4399655" y="6596046"/>
                </a:cubicBezTo>
                <a:cubicBezTo>
                  <a:pt x="4399655" y="6596046"/>
                  <a:pt x="4399655" y="6596046"/>
                  <a:pt x="650383" y="3363007"/>
                </a:cubicBezTo>
                <a:cubicBezTo>
                  <a:pt x="-131468" y="2688808"/>
                  <a:pt x="-221652" y="1509897"/>
                  <a:pt x="451856" y="728847"/>
                </a:cubicBezTo>
                <a:cubicBezTo>
                  <a:pt x="451856" y="728847"/>
                  <a:pt x="451856" y="728847"/>
                  <a:pt x="1018273" y="71988"/>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grpSp>
        <p:nvGrpSpPr>
          <p:cNvPr id="2" name="Group 1">
            <a:extLst>
              <a:ext uri="{FF2B5EF4-FFF2-40B4-BE49-F238E27FC236}">
                <a16:creationId xmlns:a16="http://schemas.microsoft.com/office/drawing/2014/main" id="{2315A3BE-A52B-0245-5296-FBA66120DBEC}"/>
              </a:ext>
            </a:extLst>
          </p:cNvPr>
          <p:cNvGrpSpPr/>
          <p:nvPr userDrawn="1"/>
        </p:nvGrpSpPr>
        <p:grpSpPr>
          <a:xfrm flipH="1">
            <a:off x="1389831" y="5605782"/>
            <a:ext cx="866274" cy="152400"/>
            <a:chOff x="2301470" y="8667034"/>
            <a:chExt cx="866274" cy="152400"/>
          </a:xfrm>
        </p:grpSpPr>
        <p:cxnSp>
          <p:nvCxnSpPr>
            <p:cNvPr id="3" name="Straight Connector 7">
              <a:extLst>
                <a:ext uri="{FF2B5EF4-FFF2-40B4-BE49-F238E27FC236}">
                  <a16:creationId xmlns:a16="http://schemas.microsoft.com/office/drawing/2014/main" id="{2F19442B-9F88-3D32-3E18-DF185960C50A}"/>
                </a:ext>
              </a:extLst>
            </p:cNvPr>
            <p:cNvCxnSpPr/>
            <p:nvPr/>
          </p:nvCxnSpPr>
          <p:spPr>
            <a:xfrm flipH="1">
              <a:off x="2301470" y="8667034"/>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8">
              <a:extLst>
                <a:ext uri="{FF2B5EF4-FFF2-40B4-BE49-F238E27FC236}">
                  <a16:creationId xmlns:a16="http://schemas.microsoft.com/office/drawing/2014/main" id="{FE1634A3-A275-E60C-F7F8-206D1008C22C}"/>
                </a:ext>
              </a:extLst>
            </p:cNvPr>
            <p:cNvCxnSpPr/>
            <p:nvPr/>
          </p:nvCxnSpPr>
          <p:spPr>
            <a:xfrm flipH="1">
              <a:off x="2730500" y="8819434"/>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 name="Segnaposto testo 4">
            <a:extLst>
              <a:ext uri="{FF2B5EF4-FFF2-40B4-BE49-F238E27FC236}">
                <a16:creationId xmlns:a16="http://schemas.microsoft.com/office/drawing/2014/main" id="{A078536A-DC41-CA96-12F3-32F9A5401C37}"/>
              </a:ext>
            </a:extLst>
          </p:cNvPr>
          <p:cNvSpPr>
            <a:spLocks noGrp="1"/>
          </p:cNvSpPr>
          <p:nvPr>
            <p:ph type="body" sz="quarter" idx="15" hasCustomPrompt="1"/>
          </p:nvPr>
        </p:nvSpPr>
        <p:spPr>
          <a:xfrm>
            <a:off x="569094" y="2922104"/>
            <a:ext cx="5931097" cy="253127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7" name="Titel 13">
            <a:extLst>
              <a:ext uri="{FF2B5EF4-FFF2-40B4-BE49-F238E27FC236}">
                <a16:creationId xmlns:a16="http://schemas.microsoft.com/office/drawing/2014/main" id="{6425ACD1-1419-31DE-9A2D-7D3CF8E8F1F9}"/>
              </a:ext>
            </a:extLst>
          </p:cNvPr>
          <p:cNvSpPr>
            <a:spLocks noGrp="1"/>
          </p:cNvSpPr>
          <p:nvPr>
            <p:ph type="title" hasCustomPrompt="1"/>
          </p:nvPr>
        </p:nvSpPr>
        <p:spPr>
          <a:xfrm>
            <a:off x="550863" y="549276"/>
            <a:ext cx="4935537" cy="827087"/>
          </a:xfrm>
        </p:spPr>
        <p:txBody>
          <a:bodyPr/>
          <a:lstStyle/>
          <a:p>
            <a:r>
              <a:rPr lang="nl-NL"/>
              <a:t>CLICK TO EDIT </a:t>
            </a:r>
            <a:endParaRPr lang="en-GB"/>
          </a:p>
        </p:txBody>
      </p:sp>
      <p:sp>
        <p:nvSpPr>
          <p:cNvPr id="8" name="Slide Number Placeholder 5">
            <a:extLst>
              <a:ext uri="{FF2B5EF4-FFF2-40B4-BE49-F238E27FC236}">
                <a16:creationId xmlns:a16="http://schemas.microsoft.com/office/drawing/2014/main" id="{1767A4B0-90D9-F859-5E70-1A1FF30F88C3}"/>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6C5D0759-2A8F-F312-7E52-F0542FC6FCD9}"/>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726304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 text_6">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5350445" y="1"/>
            <a:ext cx="6841555" cy="5588995"/>
          </a:xfrm>
          <a:custGeom>
            <a:avLst/>
            <a:gdLst>
              <a:gd name="connsiteX0" fmla="*/ 5709738 w 10262333"/>
              <a:gd name="connsiteY0" fmla="*/ 0 h 8383492"/>
              <a:gd name="connsiteX1" fmla="*/ 10262333 w 10262333"/>
              <a:gd name="connsiteY1" fmla="*/ 0 h 8383492"/>
              <a:gd name="connsiteX2" fmla="*/ 10262333 w 10262333"/>
              <a:gd name="connsiteY2" fmla="*/ 0 h 8383492"/>
              <a:gd name="connsiteX3" fmla="*/ 10262333 w 10262333"/>
              <a:gd name="connsiteY3" fmla="*/ 4229100 h 8383492"/>
              <a:gd name="connsiteX4" fmla="*/ 10262333 w 10262333"/>
              <a:gd name="connsiteY4" fmla="*/ 8383492 h 8383492"/>
              <a:gd name="connsiteX5" fmla="*/ 10146625 w 10262333"/>
              <a:gd name="connsiteY5" fmla="*/ 8375198 h 8383492"/>
              <a:gd name="connsiteX6" fmla="*/ 6788196 w 10262333"/>
              <a:gd name="connsiteY6" fmla="*/ 6791094 h 8383492"/>
              <a:gd name="connsiteX7" fmla="*/ 55849 w 10262333"/>
              <a:gd name="connsiteY7" fmla="*/ 58747 h 8383492"/>
              <a:gd name="connsiteX8" fmla="*/ 0 w 10262333"/>
              <a:gd name="connsiteY8" fmla="*/ 0 h 8383492"/>
              <a:gd name="connsiteX9" fmla="*/ 5709738 w 10262333"/>
              <a:gd name="connsiteY9" fmla="*/ 0 h 838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2333" h="8383492">
                <a:moveTo>
                  <a:pt x="5709738" y="0"/>
                </a:moveTo>
                <a:lnTo>
                  <a:pt x="10262333" y="0"/>
                </a:lnTo>
                <a:lnTo>
                  <a:pt x="10262333" y="0"/>
                </a:lnTo>
                <a:lnTo>
                  <a:pt x="10262333" y="4229100"/>
                </a:lnTo>
                <a:lnTo>
                  <a:pt x="10262333" y="8383492"/>
                </a:lnTo>
                <a:lnTo>
                  <a:pt x="10146625" y="8375198"/>
                </a:lnTo>
                <a:cubicBezTo>
                  <a:pt x="8920827" y="8257857"/>
                  <a:pt x="7726925" y="7729823"/>
                  <a:pt x="6788196" y="6791094"/>
                </a:cubicBezTo>
                <a:lnTo>
                  <a:pt x="55849" y="58747"/>
                </a:lnTo>
                <a:lnTo>
                  <a:pt x="0" y="0"/>
                </a:lnTo>
                <a:lnTo>
                  <a:pt x="5709738" y="0"/>
                </a:ln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2" name="Freeform 27">
            <a:extLst>
              <a:ext uri="{FF2B5EF4-FFF2-40B4-BE49-F238E27FC236}">
                <a16:creationId xmlns:a16="http://schemas.microsoft.com/office/drawing/2014/main" id="{3552127C-6842-1356-F94C-9A898D8DA201}"/>
              </a:ext>
            </a:extLst>
          </p:cNvPr>
          <p:cNvSpPr/>
          <p:nvPr userDrawn="1"/>
        </p:nvSpPr>
        <p:spPr>
          <a:xfrm>
            <a:off x="0" y="5446642"/>
            <a:ext cx="2007704" cy="1411357"/>
          </a:xfrm>
          <a:custGeom>
            <a:avLst/>
            <a:gdLst>
              <a:gd name="connsiteX0" fmla="*/ 0 w 3502652"/>
              <a:gd name="connsiteY0" fmla="*/ 0 h 2949234"/>
              <a:gd name="connsiteX1" fmla="*/ 43219 w 3502652"/>
              <a:gd name="connsiteY1" fmla="*/ 6236 h 2949234"/>
              <a:gd name="connsiteX2" fmla="*/ 1146784 w 3502652"/>
              <a:gd name="connsiteY2" fmla="*/ 593366 h 2949234"/>
              <a:gd name="connsiteX3" fmla="*/ 3502652 w 3502652"/>
              <a:gd name="connsiteY3" fmla="*/ 2949234 h 2949234"/>
              <a:gd name="connsiteX4" fmla="*/ 0 w 3502652"/>
              <a:gd name="connsiteY4" fmla="*/ 2949234 h 2949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652" h="2949234">
                <a:moveTo>
                  <a:pt x="0" y="0"/>
                </a:moveTo>
                <a:lnTo>
                  <a:pt x="43219" y="6236"/>
                </a:lnTo>
                <a:cubicBezTo>
                  <a:pt x="447553" y="84520"/>
                  <a:pt x="833648" y="280230"/>
                  <a:pt x="1146784" y="593366"/>
                </a:cubicBezTo>
                <a:lnTo>
                  <a:pt x="3502652" y="2949234"/>
                </a:lnTo>
                <a:lnTo>
                  <a:pt x="0" y="29492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egnaposto testo 4">
            <a:extLst>
              <a:ext uri="{FF2B5EF4-FFF2-40B4-BE49-F238E27FC236}">
                <a16:creationId xmlns:a16="http://schemas.microsoft.com/office/drawing/2014/main" id="{EBE32D36-E6B7-AE9F-FF46-90291126AA2D}"/>
              </a:ext>
            </a:extLst>
          </p:cNvPr>
          <p:cNvSpPr>
            <a:spLocks noGrp="1"/>
          </p:cNvSpPr>
          <p:nvPr>
            <p:ph type="body" sz="quarter" idx="15" hasCustomPrompt="1"/>
          </p:nvPr>
        </p:nvSpPr>
        <p:spPr>
          <a:xfrm>
            <a:off x="1564654" y="2922104"/>
            <a:ext cx="6187868" cy="253127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9AB73A23-8E54-4F86-5DE7-6D92A082966F}"/>
              </a:ext>
            </a:extLst>
          </p:cNvPr>
          <p:cNvSpPr>
            <a:spLocks noGrp="1"/>
          </p:cNvSpPr>
          <p:nvPr>
            <p:ph type="title" hasCustomPrompt="1"/>
          </p:nvPr>
        </p:nvSpPr>
        <p:spPr>
          <a:xfrm>
            <a:off x="550863" y="549276"/>
            <a:ext cx="4935537" cy="827087"/>
          </a:xfrm>
        </p:spPr>
        <p:txBody>
          <a:bodyPr/>
          <a:lstStyle/>
          <a:p>
            <a:r>
              <a:rPr lang="nl-NL"/>
              <a:t>CLICK TO EDIT </a:t>
            </a:r>
            <a:endParaRPr lang="en-GB"/>
          </a:p>
        </p:txBody>
      </p:sp>
      <p:cxnSp>
        <p:nvCxnSpPr>
          <p:cNvPr id="5" name="Straight Connector 12">
            <a:extLst>
              <a:ext uri="{FF2B5EF4-FFF2-40B4-BE49-F238E27FC236}">
                <a16:creationId xmlns:a16="http://schemas.microsoft.com/office/drawing/2014/main" id="{15EFB0BA-37F8-A3E0-9855-B86F7B8DB0BF}"/>
              </a:ext>
            </a:extLst>
          </p:cNvPr>
          <p:cNvCxnSpPr/>
          <p:nvPr userDrawn="1"/>
        </p:nvCxnSpPr>
        <p:spPr>
          <a:xfrm>
            <a:off x="6886248" y="5660690"/>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13">
            <a:extLst>
              <a:ext uri="{FF2B5EF4-FFF2-40B4-BE49-F238E27FC236}">
                <a16:creationId xmlns:a16="http://schemas.microsoft.com/office/drawing/2014/main" id="{205ABAB6-A46E-D709-37AB-AF758E3D3F3F}"/>
              </a:ext>
            </a:extLst>
          </p:cNvPr>
          <p:cNvCxnSpPr/>
          <p:nvPr userDrawn="1"/>
        </p:nvCxnSpPr>
        <p:spPr>
          <a:xfrm>
            <a:off x="7315278" y="5813090"/>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2BE858AC-FAD9-5BAB-5F98-04FC67DE0C68}"/>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8" name="Segnaposto piè di pagina 7">
            <a:extLst>
              <a:ext uri="{FF2B5EF4-FFF2-40B4-BE49-F238E27FC236}">
                <a16:creationId xmlns:a16="http://schemas.microsoft.com/office/drawing/2014/main" id="{E5CBF12F-62B3-DAF4-F037-0EC97573D8D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658871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Picture + text_6">
    <p:bg>
      <p:bgPr>
        <a:solidFill>
          <a:schemeClr val="accent2"/>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5350445" y="1"/>
            <a:ext cx="6841555" cy="5588995"/>
          </a:xfrm>
          <a:custGeom>
            <a:avLst/>
            <a:gdLst>
              <a:gd name="connsiteX0" fmla="*/ 5709738 w 10262333"/>
              <a:gd name="connsiteY0" fmla="*/ 0 h 8383492"/>
              <a:gd name="connsiteX1" fmla="*/ 10262333 w 10262333"/>
              <a:gd name="connsiteY1" fmla="*/ 0 h 8383492"/>
              <a:gd name="connsiteX2" fmla="*/ 10262333 w 10262333"/>
              <a:gd name="connsiteY2" fmla="*/ 0 h 8383492"/>
              <a:gd name="connsiteX3" fmla="*/ 10262333 w 10262333"/>
              <a:gd name="connsiteY3" fmla="*/ 4229100 h 8383492"/>
              <a:gd name="connsiteX4" fmla="*/ 10262333 w 10262333"/>
              <a:gd name="connsiteY4" fmla="*/ 8383492 h 8383492"/>
              <a:gd name="connsiteX5" fmla="*/ 10146625 w 10262333"/>
              <a:gd name="connsiteY5" fmla="*/ 8375198 h 8383492"/>
              <a:gd name="connsiteX6" fmla="*/ 6788196 w 10262333"/>
              <a:gd name="connsiteY6" fmla="*/ 6791094 h 8383492"/>
              <a:gd name="connsiteX7" fmla="*/ 55849 w 10262333"/>
              <a:gd name="connsiteY7" fmla="*/ 58747 h 8383492"/>
              <a:gd name="connsiteX8" fmla="*/ 0 w 10262333"/>
              <a:gd name="connsiteY8" fmla="*/ 0 h 8383492"/>
              <a:gd name="connsiteX9" fmla="*/ 5709738 w 10262333"/>
              <a:gd name="connsiteY9" fmla="*/ 0 h 838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2333" h="8383492">
                <a:moveTo>
                  <a:pt x="5709738" y="0"/>
                </a:moveTo>
                <a:lnTo>
                  <a:pt x="10262333" y="0"/>
                </a:lnTo>
                <a:lnTo>
                  <a:pt x="10262333" y="0"/>
                </a:lnTo>
                <a:lnTo>
                  <a:pt x="10262333" y="4229100"/>
                </a:lnTo>
                <a:lnTo>
                  <a:pt x="10262333" y="8383492"/>
                </a:lnTo>
                <a:lnTo>
                  <a:pt x="10146625" y="8375198"/>
                </a:lnTo>
                <a:cubicBezTo>
                  <a:pt x="8920827" y="8257857"/>
                  <a:pt x="7726925" y="7729823"/>
                  <a:pt x="6788196" y="6791094"/>
                </a:cubicBezTo>
                <a:lnTo>
                  <a:pt x="55849" y="58747"/>
                </a:lnTo>
                <a:lnTo>
                  <a:pt x="0" y="0"/>
                </a:lnTo>
                <a:lnTo>
                  <a:pt x="5709738" y="0"/>
                </a:ln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2" name="Freeform 27">
            <a:extLst>
              <a:ext uri="{FF2B5EF4-FFF2-40B4-BE49-F238E27FC236}">
                <a16:creationId xmlns:a16="http://schemas.microsoft.com/office/drawing/2014/main" id="{3552127C-6842-1356-F94C-9A898D8DA201}"/>
              </a:ext>
            </a:extLst>
          </p:cNvPr>
          <p:cNvSpPr/>
          <p:nvPr userDrawn="1"/>
        </p:nvSpPr>
        <p:spPr>
          <a:xfrm>
            <a:off x="0" y="5446642"/>
            <a:ext cx="2007704" cy="1411357"/>
          </a:xfrm>
          <a:custGeom>
            <a:avLst/>
            <a:gdLst>
              <a:gd name="connsiteX0" fmla="*/ 0 w 3502652"/>
              <a:gd name="connsiteY0" fmla="*/ 0 h 2949234"/>
              <a:gd name="connsiteX1" fmla="*/ 43219 w 3502652"/>
              <a:gd name="connsiteY1" fmla="*/ 6236 h 2949234"/>
              <a:gd name="connsiteX2" fmla="*/ 1146784 w 3502652"/>
              <a:gd name="connsiteY2" fmla="*/ 593366 h 2949234"/>
              <a:gd name="connsiteX3" fmla="*/ 3502652 w 3502652"/>
              <a:gd name="connsiteY3" fmla="*/ 2949234 h 2949234"/>
              <a:gd name="connsiteX4" fmla="*/ 0 w 3502652"/>
              <a:gd name="connsiteY4" fmla="*/ 2949234 h 2949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652" h="2949234">
                <a:moveTo>
                  <a:pt x="0" y="0"/>
                </a:moveTo>
                <a:lnTo>
                  <a:pt x="43219" y="6236"/>
                </a:lnTo>
                <a:cubicBezTo>
                  <a:pt x="447553" y="84520"/>
                  <a:pt x="833648" y="280230"/>
                  <a:pt x="1146784" y="593366"/>
                </a:cubicBezTo>
                <a:lnTo>
                  <a:pt x="3502652" y="2949234"/>
                </a:lnTo>
                <a:lnTo>
                  <a:pt x="0" y="29492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egnaposto testo 4">
            <a:extLst>
              <a:ext uri="{FF2B5EF4-FFF2-40B4-BE49-F238E27FC236}">
                <a16:creationId xmlns:a16="http://schemas.microsoft.com/office/drawing/2014/main" id="{EBE32D36-E6B7-AE9F-FF46-90291126AA2D}"/>
              </a:ext>
            </a:extLst>
          </p:cNvPr>
          <p:cNvSpPr>
            <a:spLocks noGrp="1"/>
          </p:cNvSpPr>
          <p:nvPr>
            <p:ph type="body" sz="quarter" idx="15" hasCustomPrompt="1"/>
          </p:nvPr>
        </p:nvSpPr>
        <p:spPr>
          <a:xfrm>
            <a:off x="1564654" y="2922104"/>
            <a:ext cx="6187868" cy="2531278"/>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9AB73A23-8E54-4F86-5DE7-6D92A082966F}"/>
              </a:ext>
            </a:extLst>
          </p:cNvPr>
          <p:cNvSpPr>
            <a:spLocks noGrp="1"/>
          </p:cNvSpPr>
          <p:nvPr>
            <p:ph type="title" hasCustomPrompt="1"/>
          </p:nvPr>
        </p:nvSpPr>
        <p:spPr>
          <a:xfrm>
            <a:off x="550863" y="549276"/>
            <a:ext cx="4935537" cy="827087"/>
          </a:xfrm>
        </p:spPr>
        <p:txBody>
          <a:bodyPr/>
          <a:lstStyle>
            <a:lvl1pPr>
              <a:defRPr>
                <a:solidFill>
                  <a:schemeClr val="accent4"/>
                </a:solidFill>
              </a:defRPr>
            </a:lvl1pPr>
          </a:lstStyle>
          <a:p>
            <a:r>
              <a:rPr lang="nl-NL"/>
              <a:t>CLICK TO EDIT </a:t>
            </a:r>
            <a:endParaRPr lang="en-GB"/>
          </a:p>
        </p:txBody>
      </p:sp>
      <p:cxnSp>
        <p:nvCxnSpPr>
          <p:cNvPr id="5" name="Straight Connector 12">
            <a:extLst>
              <a:ext uri="{FF2B5EF4-FFF2-40B4-BE49-F238E27FC236}">
                <a16:creationId xmlns:a16="http://schemas.microsoft.com/office/drawing/2014/main" id="{15EFB0BA-37F8-A3E0-9855-B86F7B8DB0BF}"/>
              </a:ext>
            </a:extLst>
          </p:cNvPr>
          <p:cNvCxnSpPr/>
          <p:nvPr userDrawn="1"/>
        </p:nvCxnSpPr>
        <p:spPr>
          <a:xfrm>
            <a:off x="6886248" y="5660690"/>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13">
            <a:extLst>
              <a:ext uri="{FF2B5EF4-FFF2-40B4-BE49-F238E27FC236}">
                <a16:creationId xmlns:a16="http://schemas.microsoft.com/office/drawing/2014/main" id="{205ABAB6-A46E-D709-37AB-AF758E3D3F3F}"/>
              </a:ext>
            </a:extLst>
          </p:cNvPr>
          <p:cNvCxnSpPr/>
          <p:nvPr userDrawn="1"/>
        </p:nvCxnSpPr>
        <p:spPr>
          <a:xfrm>
            <a:off x="7315278" y="5813090"/>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2BE858AC-FAD9-5BAB-5F98-04FC67DE0C68}"/>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8" name="Segnaposto piè di pagina 7">
            <a:extLst>
              <a:ext uri="{FF2B5EF4-FFF2-40B4-BE49-F238E27FC236}">
                <a16:creationId xmlns:a16="http://schemas.microsoft.com/office/drawing/2014/main" id="{E5CBF12F-62B3-DAF4-F037-0EC97573D8D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40166601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Picture + text_6">
    <p:bg>
      <p:bgPr>
        <a:solidFill>
          <a:schemeClr val="accent4"/>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5350445" y="1"/>
            <a:ext cx="6841555" cy="5588995"/>
          </a:xfrm>
          <a:custGeom>
            <a:avLst/>
            <a:gdLst>
              <a:gd name="connsiteX0" fmla="*/ 5709738 w 10262333"/>
              <a:gd name="connsiteY0" fmla="*/ 0 h 8383492"/>
              <a:gd name="connsiteX1" fmla="*/ 10262333 w 10262333"/>
              <a:gd name="connsiteY1" fmla="*/ 0 h 8383492"/>
              <a:gd name="connsiteX2" fmla="*/ 10262333 w 10262333"/>
              <a:gd name="connsiteY2" fmla="*/ 0 h 8383492"/>
              <a:gd name="connsiteX3" fmla="*/ 10262333 w 10262333"/>
              <a:gd name="connsiteY3" fmla="*/ 4229100 h 8383492"/>
              <a:gd name="connsiteX4" fmla="*/ 10262333 w 10262333"/>
              <a:gd name="connsiteY4" fmla="*/ 8383492 h 8383492"/>
              <a:gd name="connsiteX5" fmla="*/ 10146625 w 10262333"/>
              <a:gd name="connsiteY5" fmla="*/ 8375198 h 8383492"/>
              <a:gd name="connsiteX6" fmla="*/ 6788196 w 10262333"/>
              <a:gd name="connsiteY6" fmla="*/ 6791094 h 8383492"/>
              <a:gd name="connsiteX7" fmla="*/ 55849 w 10262333"/>
              <a:gd name="connsiteY7" fmla="*/ 58747 h 8383492"/>
              <a:gd name="connsiteX8" fmla="*/ 0 w 10262333"/>
              <a:gd name="connsiteY8" fmla="*/ 0 h 8383492"/>
              <a:gd name="connsiteX9" fmla="*/ 5709738 w 10262333"/>
              <a:gd name="connsiteY9" fmla="*/ 0 h 838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2333" h="8383492">
                <a:moveTo>
                  <a:pt x="5709738" y="0"/>
                </a:moveTo>
                <a:lnTo>
                  <a:pt x="10262333" y="0"/>
                </a:lnTo>
                <a:lnTo>
                  <a:pt x="10262333" y="0"/>
                </a:lnTo>
                <a:lnTo>
                  <a:pt x="10262333" y="4229100"/>
                </a:lnTo>
                <a:lnTo>
                  <a:pt x="10262333" y="8383492"/>
                </a:lnTo>
                <a:lnTo>
                  <a:pt x="10146625" y="8375198"/>
                </a:lnTo>
                <a:cubicBezTo>
                  <a:pt x="8920827" y="8257857"/>
                  <a:pt x="7726925" y="7729823"/>
                  <a:pt x="6788196" y="6791094"/>
                </a:cubicBezTo>
                <a:lnTo>
                  <a:pt x="55849" y="58747"/>
                </a:lnTo>
                <a:lnTo>
                  <a:pt x="0" y="0"/>
                </a:lnTo>
                <a:lnTo>
                  <a:pt x="5709738" y="0"/>
                </a:ln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2" name="Freeform 27">
            <a:extLst>
              <a:ext uri="{FF2B5EF4-FFF2-40B4-BE49-F238E27FC236}">
                <a16:creationId xmlns:a16="http://schemas.microsoft.com/office/drawing/2014/main" id="{3552127C-6842-1356-F94C-9A898D8DA201}"/>
              </a:ext>
            </a:extLst>
          </p:cNvPr>
          <p:cNvSpPr/>
          <p:nvPr userDrawn="1"/>
        </p:nvSpPr>
        <p:spPr>
          <a:xfrm>
            <a:off x="0" y="5446642"/>
            <a:ext cx="2007704" cy="1411357"/>
          </a:xfrm>
          <a:custGeom>
            <a:avLst/>
            <a:gdLst>
              <a:gd name="connsiteX0" fmla="*/ 0 w 3502652"/>
              <a:gd name="connsiteY0" fmla="*/ 0 h 2949234"/>
              <a:gd name="connsiteX1" fmla="*/ 43219 w 3502652"/>
              <a:gd name="connsiteY1" fmla="*/ 6236 h 2949234"/>
              <a:gd name="connsiteX2" fmla="*/ 1146784 w 3502652"/>
              <a:gd name="connsiteY2" fmla="*/ 593366 h 2949234"/>
              <a:gd name="connsiteX3" fmla="*/ 3502652 w 3502652"/>
              <a:gd name="connsiteY3" fmla="*/ 2949234 h 2949234"/>
              <a:gd name="connsiteX4" fmla="*/ 0 w 3502652"/>
              <a:gd name="connsiteY4" fmla="*/ 2949234 h 2949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652" h="2949234">
                <a:moveTo>
                  <a:pt x="0" y="0"/>
                </a:moveTo>
                <a:lnTo>
                  <a:pt x="43219" y="6236"/>
                </a:lnTo>
                <a:cubicBezTo>
                  <a:pt x="447553" y="84520"/>
                  <a:pt x="833648" y="280230"/>
                  <a:pt x="1146784" y="593366"/>
                </a:cubicBezTo>
                <a:lnTo>
                  <a:pt x="3502652" y="2949234"/>
                </a:lnTo>
                <a:lnTo>
                  <a:pt x="0" y="29492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egnaposto testo 4">
            <a:extLst>
              <a:ext uri="{FF2B5EF4-FFF2-40B4-BE49-F238E27FC236}">
                <a16:creationId xmlns:a16="http://schemas.microsoft.com/office/drawing/2014/main" id="{EBE32D36-E6B7-AE9F-FF46-90291126AA2D}"/>
              </a:ext>
            </a:extLst>
          </p:cNvPr>
          <p:cNvSpPr>
            <a:spLocks noGrp="1"/>
          </p:cNvSpPr>
          <p:nvPr>
            <p:ph type="body" sz="quarter" idx="15" hasCustomPrompt="1"/>
          </p:nvPr>
        </p:nvSpPr>
        <p:spPr>
          <a:xfrm>
            <a:off x="1564654" y="2922104"/>
            <a:ext cx="6187868" cy="2531278"/>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9AB73A23-8E54-4F86-5DE7-6D92A082966F}"/>
              </a:ext>
            </a:extLst>
          </p:cNvPr>
          <p:cNvSpPr>
            <a:spLocks noGrp="1"/>
          </p:cNvSpPr>
          <p:nvPr>
            <p:ph type="title" hasCustomPrompt="1"/>
          </p:nvPr>
        </p:nvSpPr>
        <p:spPr>
          <a:xfrm>
            <a:off x="550863" y="549276"/>
            <a:ext cx="4935537" cy="827087"/>
          </a:xfrm>
        </p:spPr>
        <p:txBody>
          <a:bodyPr/>
          <a:lstStyle>
            <a:lvl1pPr>
              <a:defRPr>
                <a:solidFill>
                  <a:schemeClr val="bg1"/>
                </a:solidFill>
              </a:defRPr>
            </a:lvl1pPr>
          </a:lstStyle>
          <a:p>
            <a:r>
              <a:rPr lang="nl-NL"/>
              <a:t>CLICK TO EDIT </a:t>
            </a:r>
            <a:endParaRPr lang="en-GB"/>
          </a:p>
        </p:txBody>
      </p:sp>
      <p:cxnSp>
        <p:nvCxnSpPr>
          <p:cNvPr id="5" name="Straight Connector 12">
            <a:extLst>
              <a:ext uri="{FF2B5EF4-FFF2-40B4-BE49-F238E27FC236}">
                <a16:creationId xmlns:a16="http://schemas.microsoft.com/office/drawing/2014/main" id="{15EFB0BA-37F8-A3E0-9855-B86F7B8DB0BF}"/>
              </a:ext>
            </a:extLst>
          </p:cNvPr>
          <p:cNvCxnSpPr/>
          <p:nvPr userDrawn="1"/>
        </p:nvCxnSpPr>
        <p:spPr>
          <a:xfrm>
            <a:off x="6886248" y="5660690"/>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13">
            <a:extLst>
              <a:ext uri="{FF2B5EF4-FFF2-40B4-BE49-F238E27FC236}">
                <a16:creationId xmlns:a16="http://schemas.microsoft.com/office/drawing/2014/main" id="{205ABAB6-A46E-D709-37AB-AF758E3D3F3F}"/>
              </a:ext>
            </a:extLst>
          </p:cNvPr>
          <p:cNvCxnSpPr/>
          <p:nvPr userDrawn="1"/>
        </p:nvCxnSpPr>
        <p:spPr>
          <a:xfrm>
            <a:off x="7315278" y="5813090"/>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2BE858AC-FAD9-5BAB-5F98-04FC67DE0C68}"/>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8" name="Segnaposto piè di pagina 7">
            <a:extLst>
              <a:ext uri="{FF2B5EF4-FFF2-40B4-BE49-F238E27FC236}">
                <a16:creationId xmlns:a16="http://schemas.microsoft.com/office/drawing/2014/main" id="{E5CBF12F-62B3-DAF4-F037-0EC97573D8D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447308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 text_7">
    <p:spTree>
      <p:nvGrpSpPr>
        <p:cNvPr id="1" name=""/>
        <p:cNvGrpSpPr/>
        <p:nvPr/>
      </p:nvGrpSpPr>
      <p:grpSpPr>
        <a:xfrm>
          <a:off x="0" y="0"/>
          <a:ext cx="0" cy="0"/>
          <a:chOff x="0" y="0"/>
          <a:chExt cx="0" cy="0"/>
        </a:xfrm>
      </p:grpSpPr>
      <p:sp>
        <p:nvSpPr>
          <p:cNvPr id="18" name="Picture Placeholder 17"/>
          <p:cNvSpPr>
            <a:spLocks noGrp="1"/>
          </p:cNvSpPr>
          <p:nvPr>
            <p:ph type="pic" sz="quarter" idx="10"/>
          </p:nvPr>
        </p:nvSpPr>
        <p:spPr>
          <a:xfrm>
            <a:off x="8631936" y="459158"/>
            <a:ext cx="3560064" cy="5502730"/>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p:spPr>
        <p:txBody>
          <a:bodyPr wrap="square">
            <a:noAutofit/>
          </a:bodyPr>
          <a:lstStyle/>
          <a:p>
            <a:r>
              <a:rPr lang="nl-NL"/>
              <a:t>Klik op het pictogram als u een afbeelding wilt toevoegen</a:t>
            </a:r>
            <a:endParaRPr lang="en-GB"/>
          </a:p>
        </p:txBody>
      </p:sp>
      <p:sp>
        <p:nvSpPr>
          <p:cNvPr id="2" name="Freeform 38">
            <a:extLst>
              <a:ext uri="{FF2B5EF4-FFF2-40B4-BE49-F238E27FC236}">
                <a16:creationId xmlns:a16="http://schemas.microsoft.com/office/drawing/2014/main" id="{CC284DAB-0332-1548-1135-DA33724B5E82}"/>
              </a:ext>
            </a:extLst>
          </p:cNvPr>
          <p:cNvSpPr>
            <a:spLocks noChangeAspect="1"/>
          </p:cNvSpPr>
          <p:nvPr userDrawn="1"/>
        </p:nvSpPr>
        <p:spPr>
          <a:xfrm>
            <a:off x="8246437" y="146303"/>
            <a:ext cx="3945563" cy="5961889"/>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37">
            <a:extLst>
              <a:ext uri="{FF2B5EF4-FFF2-40B4-BE49-F238E27FC236}">
                <a16:creationId xmlns:a16="http://schemas.microsoft.com/office/drawing/2014/main" id="{FB51179B-3704-8354-2C77-7C6661CB8BBA}"/>
              </a:ext>
            </a:extLst>
          </p:cNvPr>
          <p:cNvSpPr>
            <a:spLocks noChangeAspect="1"/>
          </p:cNvSpPr>
          <p:nvPr userDrawn="1"/>
        </p:nvSpPr>
        <p:spPr>
          <a:xfrm rot="10800000">
            <a:off x="0" y="2571381"/>
            <a:ext cx="1135140" cy="1715238"/>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egnaposto testo 4">
            <a:extLst>
              <a:ext uri="{FF2B5EF4-FFF2-40B4-BE49-F238E27FC236}">
                <a16:creationId xmlns:a16="http://schemas.microsoft.com/office/drawing/2014/main" id="{161DA5BB-3ADD-98EF-1149-22ECDA24FBF3}"/>
              </a:ext>
            </a:extLst>
          </p:cNvPr>
          <p:cNvSpPr>
            <a:spLocks noGrp="1"/>
          </p:cNvSpPr>
          <p:nvPr>
            <p:ph type="body" sz="quarter" idx="15" hasCustomPrompt="1"/>
          </p:nvPr>
        </p:nvSpPr>
        <p:spPr>
          <a:xfrm>
            <a:off x="1298448" y="1376363"/>
            <a:ext cx="6614458" cy="4776155"/>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4D8CB52E-141F-0A2B-1049-31FC73C7AFDE}"/>
              </a:ext>
            </a:extLst>
          </p:cNvPr>
          <p:cNvSpPr>
            <a:spLocks noGrp="1"/>
          </p:cNvSpPr>
          <p:nvPr>
            <p:ph type="title" hasCustomPrompt="1"/>
          </p:nvPr>
        </p:nvSpPr>
        <p:spPr>
          <a:xfrm>
            <a:off x="1298448" y="549276"/>
            <a:ext cx="6259190" cy="827087"/>
          </a:xfrm>
        </p:spPr>
        <p:txBody>
          <a:bodyPr/>
          <a:lstStyle/>
          <a:p>
            <a:r>
              <a:rPr lang="nl-NL"/>
              <a:t>CLICK TO EDIT </a:t>
            </a:r>
            <a:endParaRPr lang="en-GB"/>
          </a:p>
        </p:txBody>
      </p:sp>
      <p:sp>
        <p:nvSpPr>
          <p:cNvPr id="6" name="Slide Number Placeholder 5">
            <a:extLst>
              <a:ext uri="{FF2B5EF4-FFF2-40B4-BE49-F238E27FC236}">
                <a16:creationId xmlns:a16="http://schemas.microsoft.com/office/drawing/2014/main" id="{BD5BEC96-8A07-10AB-29FC-75C908573499}"/>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8AC68B95-C2BA-C8D3-0171-795515BDDB6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9039271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Picture + text_7">
    <p:bg>
      <p:bgPr>
        <a:solidFill>
          <a:schemeClr val="accent2"/>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0"/>
          </p:nvPr>
        </p:nvSpPr>
        <p:spPr>
          <a:xfrm>
            <a:off x="8631936" y="459158"/>
            <a:ext cx="3560064" cy="5502730"/>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2" name="Freeform 38">
            <a:extLst>
              <a:ext uri="{FF2B5EF4-FFF2-40B4-BE49-F238E27FC236}">
                <a16:creationId xmlns:a16="http://schemas.microsoft.com/office/drawing/2014/main" id="{CC284DAB-0332-1548-1135-DA33724B5E82}"/>
              </a:ext>
            </a:extLst>
          </p:cNvPr>
          <p:cNvSpPr>
            <a:spLocks noChangeAspect="1"/>
          </p:cNvSpPr>
          <p:nvPr userDrawn="1"/>
        </p:nvSpPr>
        <p:spPr>
          <a:xfrm>
            <a:off x="8246437" y="146303"/>
            <a:ext cx="3945563" cy="5961889"/>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 name="Freeform 37">
            <a:extLst>
              <a:ext uri="{FF2B5EF4-FFF2-40B4-BE49-F238E27FC236}">
                <a16:creationId xmlns:a16="http://schemas.microsoft.com/office/drawing/2014/main" id="{FB51179B-3704-8354-2C77-7C6661CB8BBA}"/>
              </a:ext>
            </a:extLst>
          </p:cNvPr>
          <p:cNvSpPr>
            <a:spLocks noChangeAspect="1"/>
          </p:cNvSpPr>
          <p:nvPr userDrawn="1"/>
        </p:nvSpPr>
        <p:spPr>
          <a:xfrm rot="10800000">
            <a:off x="0" y="2571381"/>
            <a:ext cx="1135140" cy="1715238"/>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 name="Segnaposto testo 4">
            <a:extLst>
              <a:ext uri="{FF2B5EF4-FFF2-40B4-BE49-F238E27FC236}">
                <a16:creationId xmlns:a16="http://schemas.microsoft.com/office/drawing/2014/main" id="{161DA5BB-3ADD-98EF-1149-22ECDA24FBF3}"/>
              </a:ext>
            </a:extLst>
          </p:cNvPr>
          <p:cNvSpPr>
            <a:spLocks noGrp="1"/>
          </p:cNvSpPr>
          <p:nvPr>
            <p:ph type="body" sz="quarter" idx="15" hasCustomPrompt="1"/>
          </p:nvPr>
        </p:nvSpPr>
        <p:spPr>
          <a:xfrm>
            <a:off x="1298448" y="1376363"/>
            <a:ext cx="6614458" cy="4776155"/>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4D8CB52E-141F-0A2B-1049-31FC73C7AFDE}"/>
              </a:ext>
            </a:extLst>
          </p:cNvPr>
          <p:cNvSpPr>
            <a:spLocks noGrp="1"/>
          </p:cNvSpPr>
          <p:nvPr>
            <p:ph type="title" hasCustomPrompt="1"/>
          </p:nvPr>
        </p:nvSpPr>
        <p:spPr>
          <a:xfrm>
            <a:off x="1298448" y="549276"/>
            <a:ext cx="6259190" cy="827087"/>
          </a:xfrm>
        </p:spPr>
        <p:txBody>
          <a:bodyPr/>
          <a:lstStyle>
            <a:lvl1pPr>
              <a:defRPr>
                <a:solidFill>
                  <a:schemeClr val="accent4"/>
                </a:solidFill>
              </a:defRPr>
            </a:lvl1pPr>
          </a:lstStyle>
          <a:p>
            <a:r>
              <a:rPr lang="nl-NL"/>
              <a:t>CLICK TO EDIT </a:t>
            </a:r>
            <a:endParaRPr lang="en-GB"/>
          </a:p>
        </p:txBody>
      </p:sp>
      <p:sp>
        <p:nvSpPr>
          <p:cNvPr id="6" name="Slide Number Placeholder 5">
            <a:extLst>
              <a:ext uri="{FF2B5EF4-FFF2-40B4-BE49-F238E27FC236}">
                <a16:creationId xmlns:a16="http://schemas.microsoft.com/office/drawing/2014/main" id="{BD5BEC96-8A07-10AB-29FC-75C908573499}"/>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8AC68B95-C2BA-C8D3-0171-795515BDDB6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35103953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icture + text_7">
    <p:bg>
      <p:bgPr>
        <a:solidFill>
          <a:schemeClr val="accent4"/>
        </a:solidFill>
        <a:effectLst/>
      </p:bgPr>
    </p:bg>
    <p:spTree>
      <p:nvGrpSpPr>
        <p:cNvPr id="1" name=""/>
        <p:cNvGrpSpPr/>
        <p:nvPr/>
      </p:nvGrpSpPr>
      <p:grpSpPr>
        <a:xfrm>
          <a:off x="0" y="0"/>
          <a:ext cx="0" cy="0"/>
          <a:chOff x="0" y="0"/>
          <a:chExt cx="0" cy="0"/>
        </a:xfrm>
      </p:grpSpPr>
      <p:sp>
        <p:nvSpPr>
          <p:cNvPr id="18" name="Picture Placeholder 17"/>
          <p:cNvSpPr>
            <a:spLocks noGrp="1"/>
          </p:cNvSpPr>
          <p:nvPr>
            <p:ph type="pic" sz="quarter" idx="10"/>
          </p:nvPr>
        </p:nvSpPr>
        <p:spPr>
          <a:xfrm>
            <a:off x="8631936" y="459158"/>
            <a:ext cx="3560064" cy="5502730"/>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2" name="Freeform 38">
            <a:extLst>
              <a:ext uri="{FF2B5EF4-FFF2-40B4-BE49-F238E27FC236}">
                <a16:creationId xmlns:a16="http://schemas.microsoft.com/office/drawing/2014/main" id="{CC284DAB-0332-1548-1135-DA33724B5E82}"/>
              </a:ext>
            </a:extLst>
          </p:cNvPr>
          <p:cNvSpPr>
            <a:spLocks noChangeAspect="1"/>
          </p:cNvSpPr>
          <p:nvPr userDrawn="1"/>
        </p:nvSpPr>
        <p:spPr>
          <a:xfrm>
            <a:off x="8246437" y="146303"/>
            <a:ext cx="3945563" cy="5961889"/>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 name="Freeform 37">
            <a:extLst>
              <a:ext uri="{FF2B5EF4-FFF2-40B4-BE49-F238E27FC236}">
                <a16:creationId xmlns:a16="http://schemas.microsoft.com/office/drawing/2014/main" id="{FB51179B-3704-8354-2C77-7C6661CB8BBA}"/>
              </a:ext>
            </a:extLst>
          </p:cNvPr>
          <p:cNvSpPr>
            <a:spLocks noChangeAspect="1"/>
          </p:cNvSpPr>
          <p:nvPr userDrawn="1"/>
        </p:nvSpPr>
        <p:spPr>
          <a:xfrm rot="10800000">
            <a:off x="0" y="2571381"/>
            <a:ext cx="1135140" cy="1715238"/>
          </a:xfrm>
          <a:custGeom>
            <a:avLst/>
            <a:gdLst>
              <a:gd name="connsiteX0" fmla="*/ 3683270 w 4875154"/>
              <a:gd name="connsiteY0" fmla="*/ 0 h 7366536"/>
              <a:gd name="connsiteX1" fmla="*/ 4853642 w 4875154"/>
              <a:gd name="connsiteY1" fmla="*/ 484784 h 7366536"/>
              <a:gd name="connsiteX2" fmla="*/ 4875154 w 4875154"/>
              <a:gd name="connsiteY2" fmla="*/ 506296 h 7366536"/>
              <a:gd name="connsiteX3" fmla="*/ 4875154 w 4875154"/>
              <a:gd name="connsiteY3" fmla="*/ 6860241 h 7366536"/>
              <a:gd name="connsiteX4" fmla="*/ 4853642 w 4875154"/>
              <a:gd name="connsiteY4" fmla="*/ 6881753 h 7366536"/>
              <a:gd name="connsiteX5" fmla="*/ 2512895 w 4875154"/>
              <a:gd name="connsiteY5" fmla="*/ 6881753 h 7366536"/>
              <a:gd name="connsiteX6" fmla="*/ 484783 w 4875154"/>
              <a:gd name="connsiteY6" fmla="*/ 4853642 h 7366536"/>
              <a:gd name="connsiteX7" fmla="*/ 484783 w 4875154"/>
              <a:gd name="connsiteY7" fmla="*/ 2512895 h 7366536"/>
              <a:gd name="connsiteX8" fmla="*/ 2512895 w 4875154"/>
              <a:gd name="connsiteY8" fmla="*/ 484784 h 7366536"/>
              <a:gd name="connsiteX9" fmla="*/ 3683270 w 4875154"/>
              <a:gd name="connsiteY9" fmla="*/ 0 h 736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5154" h="7366536">
                <a:moveTo>
                  <a:pt x="3683270" y="0"/>
                </a:moveTo>
                <a:cubicBezTo>
                  <a:pt x="4106862" y="0"/>
                  <a:pt x="4530454" y="161594"/>
                  <a:pt x="4853642" y="484784"/>
                </a:cubicBezTo>
                <a:lnTo>
                  <a:pt x="4875154" y="506296"/>
                </a:lnTo>
                <a:lnTo>
                  <a:pt x="4875154" y="6860241"/>
                </a:lnTo>
                <a:lnTo>
                  <a:pt x="4853642" y="6881753"/>
                </a:lnTo>
                <a:cubicBezTo>
                  <a:pt x="4207262" y="7528131"/>
                  <a:pt x="3159274" y="7528131"/>
                  <a:pt x="2512895" y="6881753"/>
                </a:cubicBezTo>
                <a:lnTo>
                  <a:pt x="484783" y="4853642"/>
                </a:lnTo>
                <a:cubicBezTo>
                  <a:pt x="-161595" y="4207262"/>
                  <a:pt x="-161595" y="3159274"/>
                  <a:pt x="484783" y="2512895"/>
                </a:cubicBezTo>
                <a:lnTo>
                  <a:pt x="2512895" y="484784"/>
                </a:lnTo>
                <a:cubicBezTo>
                  <a:pt x="2836085" y="161594"/>
                  <a:pt x="3259676" y="0"/>
                  <a:pt x="36832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 name="Segnaposto testo 4">
            <a:extLst>
              <a:ext uri="{FF2B5EF4-FFF2-40B4-BE49-F238E27FC236}">
                <a16:creationId xmlns:a16="http://schemas.microsoft.com/office/drawing/2014/main" id="{161DA5BB-3ADD-98EF-1149-22ECDA24FBF3}"/>
              </a:ext>
            </a:extLst>
          </p:cNvPr>
          <p:cNvSpPr>
            <a:spLocks noGrp="1"/>
          </p:cNvSpPr>
          <p:nvPr>
            <p:ph type="body" sz="quarter" idx="15" hasCustomPrompt="1"/>
          </p:nvPr>
        </p:nvSpPr>
        <p:spPr>
          <a:xfrm>
            <a:off x="1298448" y="1376363"/>
            <a:ext cx="6614458" cy="4776155"/>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5" name="Titel 13">
            <a:extLst>
              <a:ext uri="{FF2B5EF4-FFF2-40B4-BE49-F238E27FC236}">
                <a16:creationId xmlns:a16="http://schemas.microsoft.com/office/drawing/2014/main" id="{4D8CB52E-141F-0A2B-1049-31FC73C7AFDE}"/>
              </a:ext>
            </a:extLst>
          </p:cNvPr>
          <p:cNvSpPr>
            <a:spLocks noGrp="1"/>
          </p:cNvSpPr>
          <p:nvPr>
            <p:ph type="title" hasCustomPrompt="1"/>
          </p:nvPr>
        </p:nvSpPr>
        <p:spPr>
          <a:xfrm>
            <a:off x="1298448" y="549276"/>
            <a:ext cx="6259190" cy="827087"/>
          </a:xfrm>
        </p:spPr>
        <p:txBody>
          <a:bodyPr/>
          <a:lstStyle>
            <a:lvl1pPr>
              <a:defRPr>
                <a:solidFill>
                  <a:schemeClr val="bg1"/>
                </a:solidFill>
              </a:defRPr>
            </a:lvl1pPr>
          </a:lstStyle>
          <a:p>
            <a:r>
              <a:rPr lang="nl-NL"/>
              <a:t>CLICK TO EDIT </a:t>
            </a:r>
            <a:endParaRPr lang="en-GB"/>
          </a:p>
        </p:txBody>
      </p:sp>
      <p:sp>
        <p:nvSpPr>
          <p:cNvPr id="6" name="Slide Number Placeholder 5">
            <a:extLst>
              <a:ext uri="{FF2B5EF4-FFF2-40B4-BE49-F238E27FC236}">
                <a16:creationId xmlns:a16="http://schemas.microsoft.com/office/drawing/2014/main" id="{BD5BEC96-8A07-10AB-29FC-75C908573499}"/>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8AC68B95-C2BA-C8D3-0171-795515BDDB6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6657660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 text_6">
    <p:spTree>
      <p:nvGrpSpPr>
        <p:cNvPr id="1" name=""/>
        <p:cNvGrpSpPr/>
        <p:nvPr/>
      </p:nvGrpSpPr>
      <p:grpSpPr>
        <a:xfrm>
          <a:off x="0" y="0"/>
          <a:ext cx="0" cy="0"/>
          <a:chOff x="0" y="0"/>
          <a:chExt cx="0" cy="0"/>
        </a:xfrm>
      </p:grpSpPr>
      <p:sp>
        <p:nvSpPr>
          <p:cNvPr id="3" name="Segnaposto testo 4">
            <a:extLst>
              <a:ext uri="{FF2B5EF4-FFF2-40B4-BE49-F238E27FC236}">
                <a16:creationId xmlns:a16="http://schemas.microsoft.com/office/drawing/2014/main" id="{EBE32D36-E6B7-AE9F-FF46-90291126AA2D}"/>
              </a:ext>
            </a:extLst>
          </p:cNvPr>
          <p:cNvSpPr>
            <a:spLocks noGrp="1"/>
          </p:cNvSpPr>
          <p:nvPr>
            <p:ph type="body" sz="quarter" idx="15" hasCustomPrompt="1"/>
          </p:nvPr>
        </p:nvSpPr>
        <p:spPr>
          <a:xfrm>
            <a:off x="5453271" y="2947504"/>
            <a:ext cx="6187868" cy="2640497"/>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9AB73A23-8E54-4F86-5DE7-6D92A082966F}"/>
              </a:ext>
            </a:extLst>
          </p:cNvPr>
          <p:cNvSpPr>
            <a:spLocks noGrp="1"/>
          </p:cNvSpPr>
          <p:nvPr>
            <p:ph type="title" hasCustomPrompt="1"/>
          </p:nvPr>
        </p:nvSpPr>
        <p:spPr>
          <a:xfrm>
            <a:off x="550863" y="549276"/>
            <a:ext cx="4935537" cy="827087"/>
          </a:xfrm>
        </p:spPr>
        <p:txBody>
          <a:bodyPr/>
          <a:lstStyle/>
          <a:p>
            <a:r>
              <a:rPr lang="nl-NL"/>
              <a:t>CLICK TO EDIT </a:t>
            </a:r>
            <a:endParaRPr lang="en-GB"/>
          </a:p>
        </p:txBody>
      </p:sp>
      <p:sp>
        <p:nvSpPr>
          <p:cNvPr id="7" name="Slide Number Placeholder 5">
            <a:extLst>
              <a:ext uri="{FF2B5EF4-FFF2-40B4-BE49-F238E27FC236}">
                <a16:creationId xmlns:a16="http://schemas.microsoft.com/office/drawing/2014/main" id="{2BE858AC-FAD9-5BAB-5F98-04FC67DE0C68}"/>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8" name="Segnaposto piè di pagina 7">
            <a:extLst>
              <a:ext uri="{FF2B5EF4-FFF2-40B4-BE49-F238E27FC236}">
                <a16:creationId xmlns:a16="http://schemas.microsoft.com/office/drawing/2014/main" id="{E5CBF12F-62B3-DAF4-F037-0EC97573D8D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9" name="Segnaposto testo 4">
            <a:extLst>
              <a:ext uri="{FF2B5EF4-FFF2-40B4-BE49-F238E27FC236}">
                <a16:creationId xmlns:a16="http://schemas.microsoft.com/office/drawing/2014/main" id="{71CBBF71-2F6B-B78D-0B99-0EE9E25F4000}"/>
              </a:ext>
            </a:extLst>
          </p:cNvPr>
          <p:cNvSpPr>
            <a:spLocks noGrp="1"/>
          </p:cNvSpPr>
          <p:nvPr>
            <p:ph type="body" sz="quarter" idx="16" hasCustomPrompt="1"/>
          </p:nvPr>
        </p:nvSpPr>
        <p:spPr>
          <a:xfrm>
            <a:off x="5453271" y="1995190"/>
            <a:ext cx="6187868" cy="952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Copy</a:t>
            </a:r>
          </a:p>
        </p:txBody>
      </p:sp>
      <p:grpSp>
        <p:nvGrpSpPr>
          <p:cNvPr id="10" name="Group 5">
            <a:extLst>
              <a:ext uri="{FF2B5EF4-FFF2-40B4-BE49-F238E27FC236}">
                <a16:creationId xmlns:a16="http://schemas.microsoft.com/office/drawing/2014/main" id="{3B55F98F-C464-257A-FE06-BB29DA9A00FF}"/>
              </a:ext>
            </a:extLst>
          </p:cNvPr>
          <p:cNvGrpSpPr/>
          <p:nvPr userDrawn="1"/>
        </p:nvGrpSpPr>
        <p:grpSpPr>
          <a:xfrm>
            <a:off x="10774865" y="5740400"/>
            <a:ext cx="866274" cy="152400"/>
            <a:chOff x="16144470" y="5085634"/>
            <a:chExt cx="866274" cy="152400"/>
          </a:xfrm>
        </p:grpSpPr>
        <p:cxnSp>
          <p:nvCxnSpPr>
            <p:cNvPr id="11" name="Straight Connector 6">
              <a:extLst>
                <a:ext uri="{FF2B5EF4-FFF2-40B4-BE49-F238E27FC236}">
                  <a16:creationId xmlns:a16="http://schemas.microsoft.com/office/drawing/2014/main" id="{86660A66-098B-24A9-E6F3-6425083D0B3B}"/>
                </a:ext>
              </a:extLst>
            </p:cNvPr>
            <p:cNvCxnSpPr/>
            <p:nvPr/>
          </p:nvCxnSpPr>
          <p:spPr>
            <a:xfrm>
              <a:off x="16144470" y="5085634"/>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7">
              <a:extLst>
                <a:ext uri="{FF2B5EF4-FFF2-40B4-BE49-F238E27FC236}">
                  <a16:creationId xmlns:a16="http://schemas.microsoft.com/office/drawing/2014/main" id="{EA0DA18F-2D76-E86D-ED26-BB07A63E39C6}"/>
                </a:ext>
              </a:extLst>
            </p:cNvPr>
            <p:cNvCxnSpPr/>
            <p:nvPr/>
          </p:nvCxnSpPr>
          <p:spPr>
            <a:xfrm>
              <a:off x="16573500" y="5238034"/>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Picture Placeholder 9">
            <a:extLst>
              <a:ext uri="{FF2B5EF4-FFF2-40B4-BE49-F238E27FC236}">
                <a16:creationId xmlns:a16="http://schemas.microsoft.com/office/drawing/2014/main" id="{D7F9CE54-7071-2F2A-1153-A735244C3312}"/>
              </a:ext>
            </a:extLst>
          </p:cNvPr>
          <p:cNvSpPr>
            <a:spLocks noGrp="1" noChangeAspect="1"/>
          </p:cNvSpPr>
          <p:nvPr>
            <p:ph type="pic" sz="quarter" idx="10"/>
          </p:nvPr>
        </p:nvSpPr>
        <p:spPr>
          <a:xfrm>
            <a:off x="0" y="1803014"/>
            <a:ext cx="6187868" cy="5054986"/>
          </a:xfrm>
          <a:custGeom>
            <a:avLst/>
            <a:gdLst>
              <a:gd name="connsiteX0" fmla="*/ 0 w 8683675"/>
              <a:gd name="connsiteY0" fmla="*/ 0 h 7093857"/>
              <a:gd name="connsiteX1" fmla="*/ 97909 w 8683675"/>
              <a:gd name="connsiteY1" fmla="*/ 7018 h 7093857"/>
              <a:gd name="connsiteX2" fmla="*/ 2939710 w 8683675"/>
              <a:gd name="connsiteY2" fmla="*/ 1347439 h 7093857"/>
              <a:gd name="connsiteX3" fmla="*/ 8636417 w 8683675"/>
              <a:gd name="connsiteY3" fmla="*/ 7044147 h 7093857"/>
              <a:gd name="connsiteX4" fmla="*/ 8683675 w 8683675"/>
              <a:gd name="connsiteY4" fmla="*/ 7093857 h 7093857"/>
              <a:gd name="connsiteX5" fmla="*/ 3852268 w 8683675"/>
              <a:gd name="connsiteY5" fmla="*/ 7093857 h 7093857"/>
              <a:gd name="connsiteX6" fmla="*/ 0 w 8683675"/>
              <a:gd name="connsiteY6" fmla="*/ 7093857 h 7093857"/>
              <a:gd name="connsiteX7" fmla="*/ 0 w 8683675"/>
              <a:gd name="connsiteY7" fmla="*/ 3515321 h 709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83675" h="7093857">
                <a:moveTo>
                  <a:pt x="0" y="0"/>
                </a:moveTo>
                <a:lnTo>
                  <a:pt x="97909" y="7018"/>
                </a:lnTo>
                <a:cubicBezTo>
                  <a:pt x="1135142" y="106308"/>
                  <a:pt x="2145386" y="553115"/>
                  <a:pt x="2939710" y="1347439"/>
                </a:cubicBezTo>
                <a:lnTo>
                  <a:pt x="8636417" y="7044147"/>
                </a:lnTo>
                <a:lnTo>
                  <a:pt x="8683675" y="7093857"/>
                </a:lnTo>
                <a:lnTo>
                  <a:pt x="3852268" y="7093857"/>
                </a:lnTo>
                <a:lnTo>
                  <a:pt x="0" y="7093857"/>
                </a:lnTo>
                <a:lnTo>
                  <a:pt x="0" y="3515321"/>
                </a:lnTo>
                <a:close/>
              </a:path>
            </a:pathLst>
          </a:custGeom>
        </p:spPr>
        <p:txBody>
          <a:bodyPr wrap="square">
            <a:noAutofit/>
          </a:bodyPr>
          <a:lstStyle/>
          <a:p>
            <a:r>
              <a:rPr lang="nl-NL"/>
              <a:t>Klik op het pictogram als u een afbeelding wilt toevoegen</a:t>
            </a:r>
            <a:endParaRPr lang="en-GB"/>
          </a:p>
        </p:txBody>
      </p:sp>
    </p:spTree>
    <p:extLst>
      <p:ext uri="{BB962C8B-B14F-4D97-AF65-F5344CB8AC3E}">
        <p14:creationId xmlns:p14="http://schemas.microsoft.com/office/powerpoint/2010/main" val="29746927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Picture + text_6">
    <p:spTree>
      <p:nvGrpSpPr>
        <p:cNvPr id="1" name=""/>
        <p:cNvGrpSpPr/>
        <p:nvPr/>
      </p:nvGrpSpPr>
      <p:grpSpPr>
        <a:xfrm>
          <a:off x="0" y="0"/>
          <a:ext cx="0" cy="0"/>
          <a:chOff x="0" y="0"/>
          <a:chExt cx="0" cy="0"/>
        </a:xfrm>
      </p:grpSpPr>
      <p:sp>
        <p:nvSpPr>
          <p:cNvPr id="3" name="Segnaposto testo 4">
            <a:extLst>
              <a:ext uri="{FF2B5EF4-FFF2-40B4-BE49-F238E27FC236}">
                <a16:creationId xmlns:a16="http://schemas.microsoft.com/office/drawing/2014/main" id="{EBE32D36-E6B7-AE9F-FF46-90291126AA2D}"/>
              </a:ext>
            </a:extLst>
          </p:cNvPr>
          <p:cNvSpPr>
            <a:spLocks noGrp="1"/>
          </p:cNvSpPr>
          <p:nvPr>
            <p:ph type="body" sz="quarter" idx="15" hasCustomPrompt="1"/>
          </p:nvPr>
        </p:nvSpPr>
        <p:spPr>
          <a:xfrm>
            <a:off x="550863" y="2947504"/>
            <a:ext cx="4315947" cy="3123096"/>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9AB73A23-8E54-4F86-5DE7-6D92A082966F}"/>
              </a:ext>
            </a:extLst>
          </p:cNvPr>
          <p:cNvSpPr>
            <a:spLocks noGrp="1"/>
          </p:cNvSpPr>
          <p:nvPr>
            <p:ph type="title" hasCustomPrompt="1"/>
          </p:nvPr>
        </p:nvSpPr>
        <p:spPr>
          <a:xfrm>
            <a:off x="550863" y="549276"/>
            <a:ext cx="4122737" cy="827087"/>
          </a:xfrm>
        </p:spPr>
        <p:txBody>
          <a:bodyPr/>
          <a:lstStyle/>
          <a:p>
            <a:r>
              <a:rPr lang="nl-NL"/>
              <a:t>CLICK TO EDIT </a:t>
            </a:r>
            <a:endParaRPr lang="en-GB"/>
          </a:p>
        </p:txBody>
      </p:sp>
      <p:sp>
        <p:nvSpPr>
          <p:cNvPr id="7" name="Slide Number Placeholder 5">
            <a:extLst>
              <a:ext uri="{FF2B5EF4-FFF2-40B4-BE49-F238E27FC236}">
                <a16:creationId xmlns:a16="http://schemas.microsoft.com/office/drawing/2014/main" id="{2BE858AC-FAD9-5BAB-5F98-04FC67DE0C68}"/>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8" name="Segnaposto piè di pagina 7">
            <a:extLst>
              <a:ext uri="{FF2B5EF4-FFF2-40B4-BE49-F238E27FC236}">
                <a16:creationId xmlns:a16="http://schemas.microsoft.com/office/drawing/2014/main" id="{E5CBF12F-62B3-DAF4-F037-0EC97573D8D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9" name="Segnaposto testo 4">
            <a:extLst>
              <a:ext uri="{FF2B5EF4-FFF2-40B4-BE49-F238E27FC236}">
                <a16:creationId xmlns:a16="http://schemas.microsoft.com/office/drawing/2014/main" id="{71CBBF71-2F6B-B78D-0B99-0EE9E25F4000}"/>
              </a:ext>
            </a:extLst>
          </p:cNvPr>
          <p:cNvSpPr>
            <a:spLocks noGrp="1"/>
          </p:cNvSpPr>
          <p:nvPr>
            <p:ph type="body" sz="quarter" idx="16" hasCustomPrompt="1"/>
          </p:nvPr>
        </p:nvSpPr>
        <p:spPr>
          <a:xfrm>
            <a:off x="550863" y="1995190"/>
            <a:ext cx="4122737" cy="952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2" name="Picture Placeholder 7">
            <a:extLst>
              <a:ext uri="{FF2B5EF4-FFF2-40B4-BE49-F238E27FC236}">
                <a16:creationId xmlns:a16="http://schemas.microsoft.com/office/drawing/2014/main" id="{FB9A52AF-2BFD-663B-AE8F-243226649E8E}"/>
              </a:ext>
            </a:extLst>
          </p:cNvPr>
          <p:cNvSpPr>
            <a:spLocks noGrp="1" noChangeAspect="1"/>
          </p:cNvSpPr>
          <p:nvPr>
            <p:ph type="pic" sz="quarter" idx="10"/>
          </p:nvPr>
        </p:nvSpPr>
        <p:spPr>
          <a:xfrm>
            <a:off x="4866810" y="0"/>
            <a:ext cx="7325190" cy="6858000"/>
          </a:xfrm>
          <a:custGeom>
            <a:avLst/>
            <a:gdLst>
              <a:gd name="connsiteX0" fmla="*/ 678826 w 10987783"/>
              <a:gd name="connsiteY0" fmla="*/ 0 h 10286999"/>
              <a:gd name="connsiteX1" fmla="*/ 10987783 w 10987783"/>
              <a:gd name="connsiteY1" fmla="*/ 0 h 10286999"/>
              <a:gd name="connsiteX2" fmla="*/ 10987783 w 10987783"/>
              <a:gd name="connsiteY2" fmla="*/ 10286999 h 10286999"/>
              <a:gd name="connsiteX3" fmla="*/ 6025528 w 10987783"/>
              <a:gd name="connsiteY3" fmla="*/ 10286999 h 10286999"/>
              <a:gd name="connsiteX4" fmla="*/ 1329694 w 10987783"/>
              <a:gd name="connsiteY4" fmla="*/ 5591157 h 10286999"/>
              <a:gd name="connsiteX5" fmla="*/ 519411 w 10987783"/>
              <a:gd name="connsiteY5" fmla="*/ 269769 h 102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783" h="10286999">
                <a:moveTo>
                  <a:pt x="678826" y="0"/>
                </a:moveTo>
                <a:lnTo>
                  <a:pt x="10987783" y="0"/>
                </a:lnTo>
                <a:lnTo>
                  <a:pt x="10987783" y="10286999"/>
                </a:lnTo>
                <a:lnTo>
                  <a:pt x="6025528" y="10286999"/>
                </a:lnTo>
                <a:lnTo>
                  <a:pt x="1329694" y="5591157"/>
                </a:lnTo>
                <a:cubicBezTo>
                  <a:pt x="-110809" y="4150660"/>
                  <a:pt x="-380902" y="1982967"/>
                  <a:pt x="519411" y="269769"/>
                </a:cubicBezTo>
                <a:close/>
              </a:path>
            </a:pathLst>
          </a:custGeom>
        </p:spPr>
        <p:txBody>
          <a:bodyPr wrap="square">
            <a:noAutofit/>
          </a:bodyPr>
          <a:lstStyle/>
          <a:p>
            <a:r>
              <a:rPr lang="nl-NL"/>
              <a:t>Klik op het pictogram als u een afbeelding wilt toevoegen</a:t>
            </a:r>
            <a:endParaRPr lang="en-GB"/>
          </a:p>
        </p:txBody>
      </p:sp>
    </p:spTree>
    <p:extLst>
      <p:ext uri="{BB962C8B-B14F-4D97-AF65-F5344CB8AC3E}">
        <p14:creationId xmlns:p14="http://schemas.microsoft.com/office/powerpoint/2010/main" val="31863854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 text_8">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034972" y="2536278"/>
            <a:ext cx="8157029" cy="4321722"/>
          </a:xfrm>
          <a:custGeom>
            <a:avLst/>
            <a:gdLst>
              <a:gd name="connsiteX0" fmla="*/ 0 w 12235543"/>
              <a:gd name="connsiteY0" fmla="*/ 0 h 6482583"/>
              <a:gd name="connsiteX1" fmla="*/ 12235543 w 12235543"/>
              <a:gd name="connsiteY1" fmla="*/ 0 h 6482583"/>
              <a:gd name="connsiteX2" fmla="*/ 12235543 w 12235543"/>
              <a:gd name="connsiteY2" fmla="*/ 6482583 h 6482583"/>
              <a:gd name="connsiteX3" fmla="*/ 0 w 12235543"/>
              <a:gd name="connsiteY3" fmla="*/ 6482583 h 6482583"/>
            </a:gdLst>
            <a:ahLst/>
            <a:cxnLst>
              <a:cxn ang="0">
                <a:pos x="connsiteX0" y="connsiteY0"/>
              </a:cxn>
              <a:cxn ang="0">
                <a:pos x="connsiteX1" y="connsiteY1"/>
              </a:cxn>
              <a:cxn ang="0">
                <a:pos x="connsiteX2" y="connsiteY2"/>
              </a:cxn>
              <a:cxn ang="0">
                <a:pos x="connsiteX3" y="connsiteY3"/>
              </a:cxn>
            </a:cxnLst>
            <a:rect l="l" t="t" r="r" b="b"/>
            <a:pathLst>
              <a:path w="12235543" h="6482583">
                <a:moveTo>
                  <a:pt x="0" y="0"/>
                </a:moveTo>
                <a:lnTo>
                  <a:pt x="12235543" y="0"/>
                </a:lnTo>
                <a:lnTo>
                  <a:pt x="12235543" y="6482583"/>
                </a:lnTo>
                <a:lnTo>
                  <a:pt x="0" y="6482583"/>
                </a:lnTo>
                <a:close/>
              </a:path>
            </a:pathLst>
          </a:custGeom>
        </p:spPr>
        <p:txBody>
          <a:bodyPr wrap="square">
            <a:noAutofit/>
          </a:bodyPr>
          <a:lstStyle/>
          <a:p>
            <a:r>
              <a:rPr lang="nl-NL"/>
              <a:t>Klik op het pictogram als u een afbeelding wilt toevoegen</a:t>
            </a:r>
            <a:endParaRPr lang="en-GB"/>
          </a:p>
        </p:txBody>
      </p:sp>
      <p:sp>
        <p:nvSpPr>
          <p:cNvPr id="2" name="Rounded Rectangle 14">
            <a:extLst>
              <a:ext uri="{FF2B5EF4-FFF2-40B4-BE49-F238E27FC236}">
                <a16:creationId xmlns:a16="http://schemas.microsoft.com/office/drawing/2014/main" id="{344F7E00-5D7C-553E-B3F8-F63861FA8596}"/>
              </a:ext>
            </a:extLst>
          </p:cNvPr>
          <p:cNvSpPr>
            <a:spLocks noChangeAspect="1"/>
          </p:cNvSpPr>
          <p:nvPr userDrawn="1"/>
        </p:nvSpPr>
        <p:spPr>
          <a:xfrm rot="18900000">
            <a:off x="7433847" y="1788207"/>
            <a:ext cx="1359277" cy="1359277"/>
          </a:xfrm>
          <a:prstGeom prst="roundRect">
            <a:avLst>
              <a:gd name="adj" fmla="val 26789"/>
            </a:avLst>
          </a:prstGeom>
          <a:solidFill>
            <a:schemeClr val="accent1"/>
          </a:solidFill>
          <a:ln w="203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egnaposto testo 4">
            <a:extLst>
              <a:ext uri="{FF2B5EF4-FFF2-40B4-BE49-F238E27FC236}">
                <a16:creationId xmlns:a16="http://schemas.microsoft.com/office/drawing/2014/main" id="{037DD3FB-2E4F-8471-78EE-24C4025E4189}"/>
              </a:ext>
            </a:extLst>
          </p:cNvPr>
          <p:cNvSpPr>
            <a:spLocks noGrp="1"/>
          </p:cNvSpPr>
          <p:nvPr>
            <p:ph type="body" sz="quarter" idx="15" hasCustomPrompt="1"/>
          </p:nvPr>
        </p:nvSpPr>
        <p:spPr>
          <a:xfrm>
            <a:off x="569093" y="3429000"/>
            <a:ext cx="3015355" cy="207568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39ED33B2-A8EA-4B68-9CB4-A826AAADDAB9}"/>
              </a:ext>
            </a:extLst>
          </p:cNvPr>
          <p:cNvSpPr>
            <a:spLocks noGrp="1"/>
          </p:cNvSpPr>
          <p:nvPr>
            <p:ph type="title" hasCustomPrompt="1"/>
          </p:nvPr>
        </p:nvSpPr>
        <p:spPr>
          <a:xfrm>
            <a:off x="550863" y="549276"/>
            <a:ext cx="7514145" cy="827087"/>
          </a:xfrm>
        </p:spPr>
        <p:txBody>
          <a:bodyPr/>
          <a:lstStyle/>
          <a:p>
            <a:r>
              <a:rPr lang="nl-NL"/>
              <a:t>CLICK TO EDIT </a:t>
            </a:r>
            <a:endParaRPr lang="en-GB"/>
          </a:p>
        </p:txBody>
      </p:sp>
      <p:sp>
        <p:nvSpPr>
          <p:cNvPr id="6" name="Slide Number Placeholder 5">
            <a:extLst>
              <a:ext uri="{FF2B5EF4-FFF2-40B4-BE49-F238E27FC236}">
                <a16:creationId xmlns:a16="http://schemas.microsoft.com/office/drawing/2014/main" id="{0115182B-D0E1-3B9D-19EC-AFAD3769280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4728DBE3-063B-6283-8DCD-8562A9A38AD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433187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ackpage">
    <p:spTree>
      <p:nvGrpSpPr>
        <p:cNvPr id="1" name=""/>
        <p:cNvGrpSpPr/>
        <p:nvPr/>
      </p:nvGrpSpPr>
      <p:grpSpPr>
        <a:xfrm>
          <a:off x="0" y="0"/>
          <a:ext cx="0" cy="0"/>
          <a:chOff x="0" y="0"/>
          <a:chExt cx="0" cy="0"/>
        </a:xfrm>
      </p:grpSpPr>
      <p:pic>
        <p:nvPicPr>
          <p:cNvPr id="4" name="Afbeelding 3" descr="Afbeelding met persoon, Menselijk gezicht, kleding, glimlach&#10;&#10;Door AI gegenereerde inhoud is mogelijk onjuist.">
            <a:extLst>
              <a:ext uri="{FF2B5EF4-FFF2-40B4-BE49-F238E27FC236}">
                <a16:creationId xmlns:a16="http://schemas.microsoft.com/office/drawing/2014/main" id="{F8E22495-79D8-D844-4085-3B9C3FD2ED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3" name="Rectangle 12">
            <a:extLst>
              <a:ext uri="{FF2B5EF4-FFF2-40B4-BE49-F238E27FC236}">
                <a16:creationId xmlns:a16="http://schemas.microsoft.com/office/drawing/2014/main" id="{6D3E03D0-8025-60A0-66DA-0F449AA82AB7}"/>
              </a:ext>
            </a:extLst>
          </p:cNvPr>
          <p:cNvSpPr/>
          <p:nvPr userDrawn="1"/>
        </p:nvSpPr>
        <p:spPr>
          <a:xfrm>
            <a:off x="0" y="0"/>
            <a:ext cx="12178836" cy="684319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14">
            <a:extLst>
              <a:ext uri="{FF2B5EF4-FFF2-40B4-BE49-F238E27FC236}">
                <a16:creationId xmlns:a16="http://schemas.microsoft.com/office/drawing/2014/main" id="{30F30CA8-CD1D-998B-23F3-99433923C0B3}"/>
              </a:ext>
            </a:extLst>
          </p:cNvPr>
          <p:cNvSpPr txBox="1"/>
          <p:nvPr userDrawn="1"/>
        </p:nvSpPr>
        <p:spPr>
          <a:xfrm>
            <a:off x="972958" y="4710144"/>
            <a:ext cx="10246088" cy="861774"/>
          </a:xfrm>
          <a:prstGeom prst="rect">
            <a:avLst/>
          </a:prstGeom>
          <a:noFill/>
        </p:spPr>
        <p:txBody>
          <a:bodyPr wrap="square" rtlCol="0">
            <a:spAutoFit/>
          </a:bodyPr>
          <a:lstStyle/>
          <a:p>
            <a:pPr algn="ctr"/>
            <a:r>
              <a:rPr lang="de-DE" sz="5000" err="1">
                <a:solidFill>
                  <a:schemeClr val="bg1"/>
                </a:solidFill>
                <a:latin typeface="Fave Script Bold Pro" pitchFamily="2" charset="77"/>
                <a:cs typeface="Arial" panose="020B0604020202020204" pitchFamily="34" charset="0"/>
              </a:rPr>
              <a:t>www.selecta.com</a:t>
            </a:r>
            <a:endParaRPr lang="en-GB" sz="5000">
              <a:solidFill>
                <a:schemeClr val="bg1"/>
              </a:solidFill>
              <a:latin typeface="Fave Script Bold Pro" pitchFamily="2" charset="77"/>
              <a:cs typeface="Arial" panose="020B0604020202020204" pitchFamily="34" charset="0"/>
            </a:endParaRPr>
          </a:p>
        </p:txBody>
      </p:sp>
      <p:sp>
        <p:nvSpPr>
          <p:cNvPr id="8" name="TextBox 15">
            <a:extLst>
              <a:ext uri="{FF2B5EF4-FFF2-40B4-BE49-F238E27FC236}">
                <a16:creationId xmlns:a16="http://schemas.microsoft.com/office/drawing/2014/main" id="{09F77F7B-8F2C-38D1-2142-6F5BB54B0E77}"/>
              </a:ext>
            </a:extLst>
          </p:cNvPr>
          <p:cNvSpPr txBox="1"/>
          <p:nvPr userDrawn="1"/>
        </p:nvSpPr>
        <p:spPr>
          <a:xfrm>
            <a:off x="0" y="3429000"/>
            <a:ext cx="12192000" cy="1015663"/>
          </a:xfrm>
          <a:prstGeom prst="rect">
            <a:avLst/>
          </a:prstGeom>
          <a:noFill/>
          <a:effectLst/>
        </p:spPr>
        <p:txBody>
          <a:bodyPr wrap="square" rtlCol="0">
            <a:spAutoFit/>
          </a:bodyPr>
          <a:lstStyle/>
          <a:p>
            <a:pPr algn="ctr"/>
            <a:r>
              <a:rPr lang="en-US" sz="6000" b="1">
                <a:solidFill>
                  <a:schemeClr val="bg1"/>
                </a:solidFill>
                <a:latin typeface="Prometo" panose="020B0604030203060203" pitchFamily="34" charset="77"/>
                <a:ea typeface="Fira Sans SemiBold" panose="020B0603050000020004" pitchFamily="34" charset="0"/>
              </a:rPr>
              <a:t>JOY TO </a:t>
            </a:r>
            <a:r>
              <a:rPr lang="en-US" sz="6000" b="1" i="1">
                <a:solidFill>
                  <a:schemeClr val="bg1"/>
                </a:solidFill>
                <a:latin typeface="Prometo" panose="020B0604030203060203" pitchFamily="34" charset="77"/>
                <a:ea typeface="Fira Sans SemiBold" panose="020B0603050000020004" pitchFamily="34" charset="0"/>
              </a:rPr>
              <a:t>GO</a:t>
            </a:r>
            <a:endParaRPr lang="en-GB" sz="6000" b="1" i="1">
              <a:solidFill>
                <a:schemeClr val="bg1"/>
              </a:solidFill>
              <a:latin typeface="Prometo" panose="020B0604030203060203" pitchFamily="34" charset="77"/>
              <a:ea typeface="Fira Sans SemiBold" panose="020B0603050000020004" pitchFamily="34" charset="0"/>
            </a:endParaRPr>
          </a:p>
        </p:txBody>
      </p:sp>
      <p:cxnSp>
        <p:nvCxnSpPr>
          <p:cNvPr id="12" name="Straight Connector 16">
            <a:extLst>
              <a:ext uri="{FF2B5EF4-FFF2-40B4-BE49-F238E27FC236}">
                <a16:creationId xmlns:a16="http://schemas.microsoft.com/office/drawing/2014/main" id="{5EF95C70-12C6-05A6-B3AD-C9EEC38C4D3C}"/>
              </a:ext>
            </a:extLst>
          </p:cNvPr>
          <p:cNvCxnSpPr>
            <a:cxnSpLocks/>
          </p:cNvCxnSpPr>
          <p:nvPr userDrawn="1"/>
        </p:nvCxnSpPr>
        <p:spPr>
          <a:xfrm>
            <a:off x="4765831" y="4529778"/>
            <a:ext cx="266033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17687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 text_9">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147734" y="0"/>
            <a:ext cx="6057293" cy="3367314"/>
          </a:xfrm>
          <a:custGeom>
            <a:avLst/>
            <a:gdLst>
              <a:gd name="connsiteX0" fmla="*/ 0 w 9550399"/>
              <a:gd name="connsiteY0" fmla="*/ 0 h 5076371"/>
              <a:gd name="connsiteX1" fmla="*/ 9550399 w 9550399"/>
              <a:gd name="connsiteY1" fmla="*/ 0 h 5076371"/>
              <a:gd name="connsiteX2" fmla="*/ 9550399 w 9550399"/>
              <a:gd name="connsiteY2" fmla="*/ 5076371 h 5076371"/>
              <a:gd name="connsiteX3" fmla="*/ 0 w 9550399"/>
              <a:gd name="connsiteY3" fmla="*/ 5076371 h 5076371"/>
            </a:gdLst>
            <a:ahLst/>
            <a:cxnLst>
              <a:cxn ang="0">
                <a:pos x="connsiteX0" y="connsiteY0"/>
              </a:cxn>
              <a:cxn ang="0">
                <a:pos x="connsiteX1" y="connsiteY1"/>
              </a:cxn>
              <a:cxn ang="0">
                <a:pos x="connsiteX2" y="connsiteY2"/>
              </a:cxn>
              <a:cxn ang="0">
                <a:pos x="connsiteX3" y="connsiteY3"/>
              </a:cxn>
            </a:cxnLst>
            <a:rect l="l" t="t" r="r" b="b"/>
            <a:pathLst>
              <a:path w="9550399" h="5076371">
                <a:moveTo>
                  <a:pt x="0" y="0"/>
                </a:moveTo>
                <a:lnTo>
                  <a:pt x="9550399" y="0"/>
                </a:lnTo>
                <a:lnTo>
                  <a:pt x="9550399" y="5076371"/>
                </a:lnTo>
                <a:lnTo>
                  <a:pt x="0" y="5076371"/>
                </a:lnTo>
                <a:close/>
              </a:path>
            </a:pathLst>
          </a:custGeom>
        </p:spPr>
        <p:txBody>
          <a:bodyPr wrap="square">
            <a:noAutofit/>
          </a:bodyPr>
          <a:lstStyle/>
          <a:p>
            <a:r>
              <a:rPr lang="nl-NL"/>
              <a:t>Klik op het pictogram als u een afbeelding wilt toevoegen</a:t>
            </a:r>
            <a:endParaRPr lang="en-GB"/>
          </a:p>
        </p:txBody>
      </p:sp>
      <p:sp>
        <p:nvSpPr>
          <p:cNvPr id="12" name="Picture Placeholder 11"/>
          <p:cNvSpPr>
            <a:spLocks noGrp="1"/>
          </p:cNvSpPr>
          <p:nvPr>
            <p:ph type="pic" sz="quarter" idx="11"/>
          </p:nvPr>
        </p:nvSpPr>
        <p:spPr>
          <a:xfrm>
            <a:off x="5147734" y="3490686"/>
            <a:ext cx="6057293" cy="3367314"/>
          </a:xfrm>
          <a:custGeom>
            <a:avLst/>
            <a:gdLst>
              <a:gd name="connsiteX0" fmla="*/ 0 w 9550399"/>
              <a:gd name="connsiteY0" fmla="*/ 0 h 5076371"/>
              <a:gd name="connsiteX1" fmla="*/ 9550399 w 9550399"/>
              <a:gd name="connsiteY1" fmla="*/ 0 h 5076371"/>
              <a:gd name="connsiteX2" fmla="*/ 9550399 w 9550399"/>
              <a:gd name="connsiteY2" fmla="*/ 5076371 h 5076371"/>
              <a:gd name="connsiteX3" fmla="*/ 0 w 9550399"/>
              <a:gd name="connsiteY3" fmla="*/ 5076371 h 5076371"/>
            </a:gdLst>
            <a:ahLst/>
            <a:cxnLst>
              <a:cxn ang="0">
                <a:pos x="connsiteX0" y="connsiteY0"/>
              </a:cxn>
              <a:cxn ang="0">
                <a:pos x="connsiteX1" y="connsiteY1"/>
              </a:cxn>
              <a:cxn ang="0">
                <a:pos x="connsiteX2" y="connsiteY2"/>
              </a:cxn>
              <a:cxn ang="0">
                <a:pos x="connsiteX3" y="connsiteY3"/>
              </a:cxn>
            </a:cxnLst>
            <a:rect l="l" t="t" r="r" b="b"/>
            <a:pathLst>
              <a:path w="9550399" h="5076371">
                <a:moveTo>
                  <a:pt x="0" y="0"/>
                </a:moveTo>
                <a:lnTo>
                  <a:pt x="9550399" y="0"/>
                </a:lnTo>
                <a:lnTo>
                  <a:pt x="9550399" y="5076371"/>
                </a:lnTo>
                <a:lnTo>
                  <a:pt x="0" y="5076371"/>
                </a:lnTo>
                <a:close/>
              </a:path>
            </a:pathLst>
          </a:custGeom>
        </p:spPr>
        <p:txBody>
          <a:bodyPr wrap="square">
            <a:noAutofit/>
          </a:bodyPr>
          <a:lstStyle/>
          <a:p>
            <a:r>
              <a:rPr lang="nl-NL"/>
              <a:t>Klik op het pictogram als u een afbeelding wilt toevoegen</a:t>
            </a:r>
            <a:endParaRPr lang="en-GB"/>
          </a:p>
        </p:txBody>
      </p:sp>
      <p:sp>
        <p:nvSpPr>
          <p:cNvPr id="2" name="Rounded Rectangle 14">
            <a:extLst>
              <a:ext uri="{FF2B5EF4-FFF2-40B4-BE49-F238E27FC236}">
                <a16:creationId xmlns:a16="http://schemas.microsoft.com/office/drawing/2014/main" id="{38CD2FEE-F697-D5B8-808A-03EEDD7FD74F}"/>
              </a:ext>
            </a:extLst>
          </p:cNvPr>
          <p:cNvSpPr>
            <a:spLocks noChangeAspect="1"/>
          </p:cNvSpPr>
          <p:nvPr userDrawn="1"/>
        </p:nvSpPr>
        <p:spPr>
          <a:xfrm rot="18900000">
            <a:off x="4220442" y="2670407"/>
            <a:ext cx="1553762" cy="1553762"/>
          </a:xfrm>
          <a:prstGeom prst="roundRect">
            <a:avLst>
              <a:gd name="adj" fmla="val 26789"/>
            </a:avLst>
          </a:prstGeom>
          <a:solidFill>
            <a:schemeClr val="accent1"/>
          </a:solidFill>
          <a:ln w="177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egnaposto testo 4">
            <a:extLst>
              <a:ext uri="{FF2B5EF4-FFF2-40B4-BE49-F238E27FC236}">
                <a16:creationId xmlns:a16="http://schemas.microsoft.com/office/drawing/2014/main" id="{5D13226A-6A13-201C-48DD-637BB6F3E751}"/>
              </a:ext>
            </a:extLst>
          </p:cNvPr>
          <p:cNvSpPr>
            <a:spLocks noGrp="1"/>
          </p:cNvSpPr>
          <p:nvPr>
            <p:ph type="body" sz="quarter" idx="15" hasCustomPrompt="1"/>
          </p:nvPr>
        </p:nvSpPr>
        <p:spPr>
          <a:xfrm>
            <a:off x="569093" y="3017520"/>
            <a:ext cx="3015355" cy="248716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A0F21D22-483E-5391-DBDA-98693118B737}"/>
              </a:ext>
            </a:extLst>
          </p:cNvPr>
          <p:cNvSpPr>
            <a:spLocks noGrp="1"/>
          </p:cNvSpPr>
          <p:nvPr>
            <p:ph type="title" hasCustomPrompt="1"/>
          </p:nvPr>
        </p:nvSpPr>
        <p:spPr>
          <a:xfrm>
            <a:off x="550863" y="549276"/>
            <a:ext cx="3947985" cy="827087"/>
          </a:xfrm>
        </p:spPr>
        <p:txBody>
          <a:bodyPr/>
          <a:lstStyle/>
          <a:p>
            <a:r>
              <a:rPr lang="nl-NL"/>
              <a:t>CLICK TO EDIT </a:t>
            </a:r>
            <a:endParaRPr lang="en-GB"/>
          </a:p>
        </p:txBody>
      </p:sp>
      <p:sp>
        <p:nvSpPr>
          <p:cNvPr id="5" name="Slide Number Placeholder 5">
            <a:extLst>
              <a:ext uri="{FF2B5EF4-FFF2-40B4-BE49-F238E27FC236}">
                <a16:creationId xmlns:a16="http://schemas.microsoft.com/office/drawing/2014/main" id="{B8A884D6-23ED-3F37-F973-60DCADC78CAD}"/>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B7C88B0B-50B6-ED0F-858C-37F793A9BC4B}"/>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155885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 text_10">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0" y="3056467"/>
            <a:ext cx="5544457" cy="3801533"/>
          </a:xfrm>
          <a:custGeom>
            <a:avLst/>
            <a:gdLst>
              <a:gd name="connsiteX0" fmla="*/ 0 w 8316686"/>
              <a:gd name="connsiteY0" fmla="*/ 0 h 5050972"/>
              <a:gd name="connsiteX1" fmla="*/ 3352800 w 8316686"/>
              <a:gd name="connsiteY1" fmla="*/ 0 h 5050972"/>
              <a:gd name="connsiteX2" fmla="*/ 7489368 w 8316686"/>
              <a:gd name="connsiteY2" fmla="*/ 0 h 5050972"/>
              <a:gd name="connsiteX3" fmla="*/ 8316686 w 8316686"/>
              <a:gd name="connsiteY3" fmla="*/ 0 h 5050972"/>
              <a:gd name="connsiteX4" fmla="*/ 8316686 w 8316686"/>
              <a:gd name="connsiteY4" fmla="*/ 5050972 h 5050972"/>
              <a:gd name="connsiteX5" fmla="*/ 0 w 8316686"/>
              <a:gd name="connsiteY5" fmla="*/ 5050972 h 505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6686" h="5050972">
                <a:moveTo>
                  <a:pt x="0" y="0"/>
                </a:moveTo>
                <a:lnTo>
                  <a:pt x="3352800" y="0"/>
                </a:lnTo>
                <a:lnTo>
                  <a:pt x="7489368" y="0"/>
                </a:lnTo>
                <a:lnTo>
                  <a:pt x="8316686" y="0"/>
                </a:lnTo>
                <a:lnTo>
                  <a:pt x="8316686" y="5050972"/>
                </a:lnTo>
                <a:lnTo>
                  <a:pt x="0" y="5050972"/>
                </a:lnTo>
                <a:close/>
              </a:path>
            </a:pathLst>
          </a:custGeom>
        </p:spPr>
        <p:txBody>
          <a:bodyPr wrap="square">
            <a:noAutofit/>
          </a:bodyPr>
          <a:lstStyle/>
          <a:p>
            <a:r>
              <a:rPr lang="nl-NL"/>
              <a:t>Klik op het pictogram als u een afbeelding wilt toevoegen</a:t>
            </a:r>
            <a:endParaRPr lang="en-GB"/>
          </a:p>
        </p:txBody>
      </p:sp>
      <p:sp>
        <p:nvSpPr>
          <p:cNvPr id="9" name="Picture Placeholder 8"/>
          <p:cNvSpPr>
            <a:spLocks noGrp="1"/>
          </p:cNvSpPr>
          <p:nvPr>
            <p:ph type="pic" sz="quarter" idx="11"/>
          </p:nvPr>
        </p:nvSpPr>
        <p:spPr>
          <a:xfrm>
            <a:off x="5660569" y="3056468"/>
            <a:ext cx="5544458" cy="3801533"/>
          </a:xfrm>
          <a:custGeom>
            <a:avLst/>
            <a:gdLst>
              <a:gd name="connsiteX0" fmla="*/ 0 w 8316687"/>
              <a:gd name="connsiteY0" fmla="*/ 0 h 5050972"/>
              <a:gd name="connsiteX1" fmla="*/ 8316687 w 8316687"/>
              <a:gd name="connsiteY1" fmla="*/ 0 h 5050972"/>
              <a:gd name="connsiteX2" fmla="*/ 8316687 w 8316687"/>
              <a:gd name="connsiteY2" fmla="*/ 5050972 h 5050972"/>
              <a:gd name="connsiteX3" fmla="*/ 0 w 8316687"/>
              <a:gd name="connsiteY3" fmla="*/ 5050972 h 5050972"/>
            </a:gdLst>
            <a:ahLst/>
            <a:cxnLst>
              <a:cxn ang="0">
                <a:pos x="connsiteX0" y="connsiteY0"/>
              </a:cxn>
              <a:cxn ang="0">
                <a:pos x="connsiteX1" y="connsiteY1"/>
              </a:cxn>
              <a:cxn ang="0">
                <a:pos x="connsiteX2" y="connsiteY2"/>
              </a:cxn>
              <a:cxn ang="0">
                <a:pos x="connsiteX3" y="connsiteY3"/>
              </a:cxn>
            </a:cxnLst>
            <a:rect l="l" t="t" r="r" b="b"/>
            <a:pathLst>
              <a:path w="8316687" h="5050972">
                <a:moveTo>
                  <a:pt x="0" y="0"/>
                </a:moveTo>
                <a:lnTo>
                  <a:pt x="8316687" y="0"/>
                </a:lnTo>
                <a:lnTo>
                  <a:pt x="8316687" y="5050972"/>
                </a:lnTo>
                <a:lnTo>
                  <a:pt x="0" y="5050972"/>
                </a:lnTo>
                <a:close/>
              </a:path>
            </a:pathLst>
          </a:custGeom>
        </p:spPr>
        <p:txBody>
          <a:bodyPr wrap="square">
            <a:noAutofit/>
          </a:bodyPr>
          <a:lstStyle/>
          <a:p>
            <a:r>
              <a:rPr lang="nl-NL"/>
              <a:t>Klik op het pictogram als u een afbeelding wilt toevoegen</a:t>
            </a:r>
            <a:endParaRPr lang="en-GB"/>
          </a:p>
        </p:txBody>
      </p:sp>
      <p:sp>
        <p:nvSpPr>
          <p:cNvPr id="2" name="Rounded Rectangle 14">
            <a:extLst>
              <a:ext uri="{FF2B5EF4-FFF2-40B4-BE49-F238E27FC236}">
                <a16:creationId xmlns:a16="http://schemas.microsoft.com/office/drawing/2014/main" id="{7D7B4410-4C17-06ED-FB9C-8C3907680B19}"/>
              </a:ext>
            </a:extLst>
          </p:cNvPr>
          <p:cNvSpPr>
            <a:spLocks noChangeAspect="1"/>
          </p:cNvSpPr>
          <p:nvPr userDrawn="1"/>
        </p:nvSpPr>
        <p:spPr>
          <a:xfrm rot="18900000">
            <a:off x="4825633" y="2279586"/>
            <a:ext cx="1553762" cy="1553762"/>
          </a:xfrm>
          <a:prstGeom prst="roundRect">
            <a:avLst>
              <a:gd name="adj" fmla="val 26789"/>
            </a:avLst>
          </a:prstGeom>
          <a:solidFill>
            <a:schemeClr val="accent1"/>
          </a:solidFill>
          <a:ln w="177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egnaposto testo 4">
            <a:extLst>
              <a:ext uri="{FF2B5EF4-FFF2-40B4-BE49-F238E27FC236}">
                <a16:creationId xmlns:a16="http://schemas.microsoft.com/office/drawing/2014/main" id="{8CC58CAF-A46F-5298-3067-842730436E09}"/>
              </a:ext>
            </a:extLst>
          </p:cNvPr>
          <p:cNvSpPr>
            <a:spLocks noGrp="1"/>
          </p:cNvSpPr>
          <p:nvPr>
            <p:ph type="body" sz="quarter" idx="15" hasCustomPrompt="1"/>
          </p:nvPr>
        </p:nvSpPr>
        <p:spPr>
          <a:xfrm>
            <a:off x="6477000" y="549276"/>
            <a:ext cx="4166616" cy="168186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 name="Titel 13">
            <a:extLst>
              <a:ext uri="{FF2B5EF4-FFF2-40B4-BE49-F238E27FC236}">
                <a16:creationId xmlns:a16="http://schemas.microsoft.com/office/drawing/2014/main" id="{5241D11E-735A-6E2A-A291-0DED871AEE56}"/>
              </a:ext>
            </a:extLst>
          </p:cNvPr>
          <p:cNvSpPr>
            <a:spLocks noGrp="1"/>
          </p:cNvSpPr>
          <p:nvPr>
            <p:ph type="title" hasCustomPrompt="1"/>
          </p:nvPr>
        </p:nvSpPr>
        <p:spPr>
          <a:xfrm>
            <a:off x="550863" y="549276"/>
            <a:ext cx="4386897" cy="827087"/>
          </a:xfrm>
        </p:spPr>
        <p:txBody>
          <a:bodyPr/>
          <a:lstStyle/>
          <a:p>
            <a:r>
              <a:rPr lang="nl-NL"/>
              <a:t>CLICK TO EDIT </a:t>
            </a:r>
            <a:endParaRPr lang="en-GB"/>
          </a:p>
        </p:txBody>
      </p:sp>
      <p:sp>
        <p:nvSpPr>
          <p:cNvPr id="5" name="Slide Number Placeholder 5">
            <a:extLst>
              <a:ext uri="{FF2B5EF4-FFF2-40B4-BE49-F238E27FC236}">
                <a16:creationId xmlns:a16="http://schemas.microsoft.com/office/drawing/2014/main" id="{D2F589B2-CD44-47EC-DD13-B0336B05D271}"/>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1BDA66CD-085D-02F4-B120-F5F29BF3A612}"/>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6862901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 text_11">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478272" y="175198"/>
            <a:ext cx="6428601" cy="6501145"/>
          </a:xfrm>
          <a:custGeom>
            <a:avLst/>
            <a:gdLst>
              <a:gd name="connsiteX0" fmla="*/ 4884287 w 9642902"/>
              <a:gd name="connsiteY0" fmla="*/ 5398272 h 9751718"/>
              <a:gd name="connsiteX1" fmla="*/ 5575950 w 9642902"/>
              <a:gd name="connsiteY1" fmla="*/ 5684768 h 9751718"/>
              <a:gd name="connsiteX2" fmla="*/ 6774514 w 9642902"/>
              <a:gd name="connsiteY2" fmla="*/ 6883332 h 9751718"/>
              <a:gd name="connsiteX3" fmla="*/ 6774514 w 9642902"/>
              <a:gd name="connsiteY3" fmla="*/ 8266658 h 9751718"/>
              <a:gd name="connsiteX4" fmla="*/ 5575950 w 9642902"/>
              <a:gd name="connsiteY4" fmla="*/ 9465222 h 9751718"/>
              <a:gd name="connsiteX5" fmla="*/ 4192624 w 9642902"/>
              <a:gd name="connsiteY5" fmla="*/ 9465222 h 9751718"/>
              <a:gd name="connsiteX6" fmla="*/ 2994060 w 9642902"/>
              <a:gd name="connsiteY6" fmla="*/ 8266658 h 9751718"/>
              <a:gd name="connsiteX7" fmla="*/ 2994060 w 9642902"/>
              <a:gd name="connsiteY7" fmla="*/ 6883332 h 9751718"/>
              <a:gd name="connsiteX8" fmla="*/ 4192624 w 9642902"/>
              <a:gd name="connsiteY8" fmla="*/ 5684768 h 9751718"/>
              <a:gd name="connsiteX9" fmla="*/ 4884287 w 9642902"/>
              <a:gd name="connsiteY9" fmla="*/ 5398272 h 9751718"/>
              <a:gd name="connsiteX10" fmla="*/ 2176723 w 9642902"/>
              <a:gd name="connsiteY10" fmla="*/ 2751104 h 9751718"/>
              <a:gd name="connsiteX11" fmla="*/ 2868386 w 9642902"/>
              <a:gd name="connsiteY11" fmla="*/ 3037601 h 9751718"/>
              <a:gd name="connsiteX12" fmla="*/ 4066950 w 9642902"/>
              <a:gd name="connsiteY12" fmla="*/ 4236164 h 9751718"/>
              <a:gd name="connsiteX13" fmla="*/ 4066950 w 9642902"/>
              <a:gd name="connsiteY13" fmla="*/ 5619490 h 9751718"/>
              <a:gd name="connsiteX14" fmla="*/ 2868386 w 9642902"/>
              <a:gd name="connsiteY14" fmla="*/ 6818054 h 9751718"/>
              <a:gd name="connsiteX15" fmla="*/ 1485060 w 9642902"/>
              <a:gd name="connsiteY15" fmla="*/ 6818054 h 9751718"/>
              <a:gd name="connsiteX16" fmla="*/ 286496 w 9642902"/>
              <a:gd name="connsiteY16" fmla="*/ 5619490 h 9751718"/>
              <a:gd name="connsiteX17" fmla="*/ 286496 w 9642902"/>
              <a:gd name="connsiteY17" fmla="*/ 4236164 h 9751718"/>
              <a:gd name="connsiteX18" fmla="*/ 1485060 w 9642902"/>
              <a:gd name="connsiteY18" fmla="*/ 3037601 h 9751718"/>
              <a:gd name="connsiteX19" fmla="*/ 2176723 w 9642902"/>
              <a:gd name="connsiteY19" fmla="*/ 2751104 h 9751718"/>
              <a:gd name="connsiteX20" fmla="*/ 7466179 w 9642902"/>
              <a:gd name="connsiteY20" fmla="*/ 2645584 h 9751718"/>
              <a:gd name="connsiteX21" fmla="*/ 8157842 w 9642902"/>
              <a:gd name="connsiteY21" fmla="*/ 2932080 h 9751718"/>
              <a:gd name="connsiteX22" fmla="*/ 9356406 w 9642902"/>
              <a:gd name="connsiteY22" fmla="*/ 4130644 h 9751718"/>
              <a:gd name="connsiteX23" fmla="*/ 9356406 w 9642902"/>
              <a:gd name="connsiteY23" fmla="*/ 5513970 h 9751718"/>
              <a:gd name="connsiteX24" fmla="*/ 8157842 w 9642902"/>
              <a:gd name="connsiteY24" fmla="*/ 6712534 h 9751718"/>
              <a:gd name="connsiteX25" fmla="*/ 6774516 w 9642902"/>
              <a:gd name="connsiteY25" fmla="*/ 6712534 h 9751718"/>
              <a:gd name="connsiteX26" fmla="*/ 5575952 w 9642902"/>
              <a:gd name="connsiteY26" fmla="*/ 5513970 h 9751718"/>
              <a:gd name="connsiteX27" fmla="*/ 5575952 w 9642902"/>
              <a:gd name="connsiteY27" fmla="*/ 4130644 h 9751718"/>
              <a:gd name="connsiteX28" fmla="*/ 6774516 w 9642902"/>
              <a:gd name="connsiteY28" fmla="*/ 2932080 h 9751718"/>
              <a:gd name="connsiteX29" fmla="*/ 7466179 w 9642902"/>
              <a:gd name="connsiteY29" fmla="*/ 2645584 h 9751718"/>
              <a:gd name="connsiteX30" fmla="*/ 4775407 w 9642902"/>
              <a:gd name="connsiteY30" fmla="*/ 0 h 9751718"/>
              <a:gd name="connsiteX31" fmla="*/ 5467070 w 9642902"/>
              <a:gd name="connsiteY31" fmla="*/ 286496 h 9751718"/>
              <a:gd name="connsiteX32" fmla="*/ 6665634 w 9642902"/>
              <a:gd name="connsiteY32" fmla="*/ 1485060 h 9751718"/>
              <a:gd name="connsiteX33" fmla="*/ 6665634 w 9642902"/>
              <a:gd name="connsiteY33" fmla="*/ 2868386 h 9751718"/>
              <a:gd name="connsiteX34" fmla="*/ 5467070 w 9642902"/>
              <a:gd name="connsiteY34" fmla="*/ 4066950 h 9751718"/>
              <a:gd name="connsiteX35" fmla="*/ 4083744 w 9642902"/>
              <a:gd name="connsiteY35" fmla="*/ 4066950 h 9751718"/>
              <a:gd name="connsiteX36" fmla="*/ 2885180 w 9642902"/>
              <a:gd name="connsiteY36" fmla="*/ 2868386 h 9751718"/>
              <a:gd name="connsiteX37" fmla="*/ 2885180 w 9642902"/>
              <a:gd name="connsiteY37" fmla="*/ 1485060 h 9751718"/>
              <a:gd name="connsiteX38" fmla="*/ 4083744 w 9642902"/>
              <a:gd name="connsiteY38" fmla="*/ 286496 h 9751718"/>
              <a:gd name="connsiteX39" fmla="*/ 4775407 w 9642902"/>
              <a:gd name="connsiteY39" fmla="*/ 0 h 975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2902" h="9751718">
                <a:moveTo>
                  <a:pt x="4884287" y="5398272"/>
                </a:moveTo>
                <a:cubicBezTo>
                  <a:pt x="5134620" y="5398272"/>
                  <a:pt x="5384953" y="5493770"/>
                  <a:pt x="5575950" y="5684768"/>
                </a:cubicBezTo>
                <a:lnTo>
                  <a:pt x="6774514" y="6883332"/>
                </a:lnTo>
                <a:cubicBezTo>
                  <a:pt x="7156509" y="7265327"/>
                  <a:pt x="7156509" y="7884663"/>
                  <a:pt x="6774514" y="8266658"/>
                </a:cubicBezTo>
                <a:lnTo>
                  <a:pt x="5575950" y="9465222"/>
                </a:lnTo>
                <a:cubicBezTo>
                  <a:pt x="5193955" y="9847217"/>
                  <a:pt x="4574619" y="9847217"/>
                  <a:pt x="4192624" y="9465222"/>
                </a:cubicBezTo>
                <a:lnTo>
                  <a:pt x="2994060" y="8266658"/>
                </a:lnTo>
                <a:cubicBezTo>
                  <a:pt x="2612065" y="7884663"/>
                  <a:pt x="2612065" y="7265327"/>
                  <a:pt x="2994060" y="6883332"/>
                </a:cubicBezTo>
                <a:lnTo>
                  <a:pt x="4192624" y="5684768"/>
                </a:lnTo>
                <a:cubicBezTo>
                  <a:pt x="4383622" y="5493770"/>
                  <a:pt x="4633954" y="5398272"/>
                  <a:pt x="4884287" y="5398272"/>
                </a:cubicBezTo>
                <a:close/>
                <a:moveTo>
                  <a:pt x="2176723" y="2751104"/>
                </a:moveTo>
                <a:cubicBezTo>
                  <a:pt x="2427056" y="2751104"/>
                  <a:pt x="2677388" y="2846602"/>
                  <a:pt x="2868386" y="3037601"/>
                </a:cubicBezTo>
                <a:lnTo>
                  <a:pt x="4066950" y="4236164"/>
                </a:lnTo>
                <a:cubicBezTo>
                  <a:pt x="4448945" y="4618159"/>
                  <a:pt x="4448945" y="5237495"/>
                  <a:pt x="4066950" y="5619490"/>
                </a:cubicBezTo>
                <a:lnTo>
                  <a:pt x="2868386" y="6818054"/>
                </a:lnTo>
                <a:cubicBezTo>
                  <a:pt x="2486391" y="7200049"/>
                  <a:pt x="1867055" y="7200049"/>
                  <a:pt x="1485060" y="6818054"/>
                </a:cubicBezTo>
                <a:lnTo>
                  <a:pt x="286496" y="5619490"/>
                </a:lnTo>
                <a:cubicBezTo>
                  <a:pt x="-95499" y="5237495"/>
                  <a:pt x="-95499" y="4618159"/>
                  <a:pt x="286496" y="4236164"/>
                </a:cubicBezTo>
                <a:lnTo>
                  <a:pt x="1485060" y="3037601"/>
                </a:lnTo>
                <a:cubicBezTo>
                  <a:pt x="1676058" y="2846602"/>
                  <a:pt x="1926390" y="2751104"/>
                  <a:pt x="2176723" y="2751104"/>
                </a:cubicBezTo>
                <a:close/>
                <a:moveTo>
                  <a:pt x="7466179" y="2645584"/>
                </a:moveTo>
                <a:cubicBezTo>
                  <a:pt x="7716512" y="2645584"/>
                  <a:pt x="7966844" y="2741082"/>
                  <a:pt x="8157842" y="2932080"/>
                </a:cubicBezTo>
                <a:lnTo>
                  <a:pt x="9356406" y="4130644"/>
                </a:lnTo>
                <a:cubicBezTo>
                  <a:pt x="9738401" y="4512639"/>
                  <a:pt x="9738401" y="5131975"/>
                  <a:pt x="9356406" y="5513970"/>
                </a:cubicBezTo>
                <a:lnTo>
                  <a:pt x="8157842" y="6712534"/>
                </a:lnTo>
                <a:cubicBezTo>
                  <a:pt x="7775847" y="7094529"/>
                  <a:pt x="7156511" y="7094529"/>
                  <a:pt x="6774516" y="6712534"/>
                </a:cubicBezTo>
                <a:lnTo>
                  <a:pt x="5575952" y="5513970"/>
                </a:lnTo>
                <a:cubicBezTo>
                  <a:pt x="5193957" y="5131975"/>
                  <a:pt x="5193957" y="4512639"/>
                  <a:pt x="5575952" y="4130644"/>
                </a:cubicBezTo>
                <a:lnTo>
                  <a:pt x="6774516" y="2932080"/>
                </a:lnTo>
                <a:cubicBezTo>
                  <a:pt x="6965514" y="2741082"/>
                  <a:pt x="7215846" y="2645584"/>
                  <a:pt x="7466179" y="2645584"/>
                </a:cubicBezTo>
                <a:close/>
                <a:moveTo>
                  <a:pt x="4775407" y="0"/>
                </a:moveTo>
                <a:cubicBezTo>
                  <a:pt x="5025740" y="0"/>
                  <a:pt x="5276072" y="95499"/>
                  <a:pt x="5467070" y="286496"/>
                </a:cubicBezTo>
                <a:lnTo>
                  <a:pt x="6665634" y="1485060"/>
                </a:lnTo>
                <a:cubicBezTo>
                  <a:pt x="7047629" y="1867055"/>
                  <a:pt x="7047629" y="2486391"/>
                  <a:pt x="6665634" y="2868386"/>
                </a:cubicBezTo>
                <a:lnTo>
                  <a:pt x="5467070" y="4066950"/>
                </a:lnTo>
                <a:cubicBezTo>
                  <a:pt x="5085075" y="4448945"/>
                  <a:pt x="4465739" y="4448945"/>
                  <a:pt x="4083744" y="4066950"/>
                </a:cubicBezTo>
                <a:lnTo>
                  <a:pt x="2885180" y="2868386"/>
                </a:lnTo>
                <a:cubicBezTo>
                  <a:pt x="2503185" y="2486391"/>
                  <a:pt x="2503185" y="1867055"/>
                  <a:pt x="2885180" y="1485060"/>
                </a:cubicBezTo>
                <a:lnTo>
                  <a:pt x="4083744" y="286496"/>
                </a:lnTo>
                <a:cubicBezTo>
                  <a:pt x="4274742" y="95499"/>
                  <a:pt x="4525074" y="0"/>
                  <a:pt x="4775407" y="0"/>
                </a:cubicBezTo>
                <a:close/>
              </a:path>
            </a:pathLst>
          </a:custGeom>
        </p:spPr>
        <p:txBody>
          <a:bodyPr wrap="square">
            <a:noAutofit/>
          </a:bodyPr>
          <a:lstStyle/>
          <a:p>
            <a:r>
              <a:rPr lang="nl-NL"/>
              <a:t>Klik op het pictogram als u een afbeelding wilt toevoegen</a:t>
            </a:r>
            <a:endParaRPr lang="en-GB"/>
          </a:p>
        </p:txBody>
      </p:sp>
      <p:grpSp>
        <p:nvGrpSpPr>
          <p:cNvPr id="4" name="Group 18">
            <a:extLst>
              <a:ext uri="{FF2B5EF4-FFF2-40B4-BE49-F238E27FC236}">
                <a16:creationId xmlns:a16="http://schemas.microsoft.com/office/drawing/2014/main" id="{D717EF3C-4C64-3A2C-B9F3-7FDCA4F4DFDB}"/>
              </a:ext>
            </a:extLst>
          </p:cNvPr>
          <p:cNvGrpSpPr/>
          <p:nvPr/>
        </p:nvGrpSpPr>
        <p:grpSpPr>
          <a:xfrm>
            <a:off x="7544010" y="3224598"/>
            <a:ext cx="297124" cy="509811"/>
            <a:chOff x="5172075" y="4921250"/>
            <a:chExt cx="592137" cy="1016000"/>
          </a:xfrm>
          <a:solidFill>
            <a:schemeClr val="bg1"/>
          </a:solidFill>
        </p:grpSpPr>
        <p:sp>
          <p:nvSpPr>
            <p:cNvPr id="5" name="Freeform 154">
              <a:extLst>
                <a:ext uri="{FF2B5EF4-FFF2-40B4-BE49-F238E27FC236}">
                  <a16:creationId xmlns:a16="http://schemas.microsoft.com/office/drawing/2014/main" id="{8E941AF5-5E24-8E7D-5A58-D641B9F55EED}"/>
                </a:ext>
              </a:extLst>
            </p:cNvPr>
            <p:cNvSpPr>
              <a:spLocks noChangeArrowheads="1"/>
            </p:cNvSpPr>
            <p:nvPr/>
          </p:nvSpPr>
          <p:spPr bwMode="auto">
            <a:xfrm>
              <a:off x="5386388" y="5905500"/>
              <a:ext cx="163512" cy="31750"/>
            </a:xfrm>
            <a:custGeom>
              <a:avLst/>
              <a:gdLst>
                <a:gd name="T0" fmla="*/ 0 w 464"/>
                <a:gd name="T1" fmla="*/ 94 h 95"/>
                <a:gd name="T2" fmla="*/ 463 w 464"/>
                <a:gd name="T3" fmla="*/ 94 h 95"/>
                <a:gd name="T4" fmla="*/ 463 w 464"/>
                <a:gd name="T5" fmla="*/ 0 h 95"/>
                <a:gd name="T6" fmla="*/ 0 w 464"/>
                <a:gd name="T7" fmla="*/ 0 h 95"/>
                <a:gd name="T8" fmla="*/ 0 w 464"/>
                <a:gd name="T9" fmla="*/ 94 h 95"/>
              </a:gdLst>
              <a:ahLst/>
              <a:cxnLst>
                <a:cxn ang="0">
                  <a:pos x="T0" y="T1"/>
                </a:cxn>
                <a:cxn ang="0">
                  <a:pos x="T2" y="T3"/>
                </a:cxn>
                <a:cxn ang="0">
                  <a:pos x="T4" y="T5"/>
                </a:cxn>
                <a:cxn ang="0">
                  <a:pos x="T6" y="T7"/>
                </a:cxn>
                <a:cxn ang="0">
                  <a:pos x="T8" y="T9"/>
                </a:cxn>
              </a:cxnLst>
              <a:rect l="0" t="0" r="r" b="b"/>
              <a:pathLst>
                <a:path w="464" h="95">
                  <a:moveTo>
                    <a:pt x="0" y="94"/>
                  </a:moveTo>
                  <a:cubicBezTo>
                    <a:pt x="155" y="94"/>
                    <a:pt x="309" y="94"/>
                    <a:pt x="463" y="94"/>
                  </a:cubicBezTo>
                  <a:cubicBezTo>
                    <a:pt x="463" y="63"/>
                    <a:pt x="463" y="32"/>
                    <a:pt x="463" y="0"/>
                  </a:cubicBezTo>
                  <a:cubicBezTo>
                    <a:pt x="309" y="0"/>
                    <a:pt x="155" y="0"/>
                    <a:pt x="0" y="0"/>
                  </a:cubicBezTo>
                  <a:cubicBezTo>
                    <a:pt x="0" y="32"/>
                    <a:pt x="0" y="63"/>
                    <a:pt x="0"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8" name="Freeform 156">
              <a:extLst>
                <a:ext uri="{FF2B5EF4-FFF2-40B4-BE49-F238E27FC236}">
                  <a16:creationId xmlns:a16="http://schemas.microsoft.com/office/drawing/2014/main" id="{760C5C07-0961-D2EE-239B-21865524E13E}"/>
                </a:ext>
              </a:extLst>
            </p:cNvPr>
            <p:cNvSpPr>
              <a:spLocks noChangeArrowheads="1"/>
            </p:cNvSpPr>
            <p:nvPr/>
          </p:nvSpPr>
          <p:spPr bwMode="auto">
            <a:xfrm>
              <a:off x="5362575" y="4930775"/>
              <a:ext cx="41275" cy="39688"/>
            </a:xfrm>
            <a:custGeom>
              <a:avLst/>
              <a:gdLst>
                <a:gd name="T0" fmla="*/ 121 w 122"/>
                <a:gd name="T1" fmla="*/ 89 h 117"/>
                <a:gd name="T2" fmla="*/ 121 w 122"/>
                <a:gd name="T3" fmla="*/ 89 h 117"/>
                <a:gd name="T4" fmla="*/ 100 w 122"/>
                <a:gd name="T5" fmla="*/ 0 h 117"/>
                <a:gd name="T6" fmla="*/ 0 w 122"/>
                <a:gd name="T7" fmla="*/ 26 h 117"/>
                <a:gd name="T8" fmla="*/ 37 w 122"/>
                <a:gd name="T9" fmla="*/ 116 h 117"/>
                <a:gd name="T10" fmla="*/ 121 w 122"/>
                <a:gd name="T11" fmla="*/ 89 h 117"/>
              </a:gdLst>
              <a:ahLst/>
              <a:cxnLst>
                <a:cxn ang="0">
                  <a:pos x="T0" y="T1"/>
                </a:cxn>
                <a:cxn ang="0">
                  <a:pos x="T2" y="T3"/>
                </a:cxn>
                <a:cxn ang="0">
                  <a:pos x="T4" y="T5"/>
                </a:cxn>
                <a:cxn ang="0">
                  <a:pos x="T6" y="T7"/>
                </a:cxn>
                <a:cxn ang="0">
                  <a:pos x="T8" y="T9"/>
                </a:cxn>
                <a:cxn ang="0">
                  <a:pos x="T10" y="T11"/>
                </a:cxn>
              </a:cxnLst>
              <a:rect l="0" t="0" r="r" b="b"/>
              <a:pathLst>
                <a:path w="122" h="117">
                  <a:moveTo>
                    <a:pt x="121" y="89"/>
                  </a:moveTo>
                  <a:lnTo>
                    <a:pt x="121" y="89"/>
                  </a:lnTo>
                  <a:cubicBezTo>
                    <a:pt x="100" y="0"/>
                    <a:pt x="107" y="30"/>
                    <a:pt x="100" y="0"/>
                  </a:cubicBezTo>
                  <a:cubicBezTo>
                    <a:pt x="63" y="6"/>
                    <a:pt x="32" y="16"/>
                    <a:pt x="0" y="26"/>
                  </a:cubicBezTo>
                  <a:cubicBezTo>
                    <a:pt x="37" y="116"/>
                    <a:pt x="25" y="86"/>
                    <a:pt x="37" y="116"/>
                  </a:cubicBezTo>
                  <a:cubicBezTo>
                    <a:pt x="63" y="106"/>
                    <a:pt x="89" y="95"/>
                    <a:pt x="121"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9" name="Freeform 157">
              <a:extLst>
                <a:ext uri="{FF2B5EF4-FFF2-40B4-BE49-F238E27FC236}">
                  <a16:creationId xmlns:a16="http://schemas.microsoft.com/office/drawing/2014/main" id="{69429E6E-9188-4A7B-9B2D-4668D36EF5B6}"/>
                </a:ext>
              </a:extLst>
            </p:cNvPr>
            <p:cNvSpPr>
              <a:spLocks noChangeArrowheads="1"/>
            </p:cNvSpPr>
            <p:nvPr/>
          </p:nvSpPr>
          <p:spPr bwMode="auto">
            <a:xfrm>
              <a:off x="5434013" y="4921250"/>
              <a:ext cx="34925" cy="33338"/>
            </a:xfrm>
            <a:custGeom>
              <a:avLst/>
              <a:gdLst>
                <a:gd name="T0" fmla="*/ 100 w 106"/>
                <a:gd name="T1" fmla="*/ 95 h 101"/>
                <a:gd name="T2" fmla="*/ 100 w 106"/>
                <a:gd name="T3" fmla="*/ 95 h 101"/>
                <a:gd name="T4" fmla="*/ 105 w 106"/>
                <a:gd name="T5" fmla="*/ 95 h 101"/>
                <a:gd name="T6" fmla="*/ 100 w 106"/>
                <a:gd name="T7" fmla="*/ 0 h 101"/>
                <a:gd name="T8" fmla="*/ 0 w 106"/>
                <a:gd name="T9" fmla="*/ 5 h 101"/>
                <a:gd name="T10" fmla="*/ 10 w 106"/>
                <a:gd name="T11" fmla="*/ 100 h 101"/>
                <a:gd name="T12" fmla="*/ 100 w 106"/>
                <a:gd name="T13" fmla="*/ 95 h 101"/>
              </a:gdLst>
              <a:ahLst/>
              <a:cxnLst>
                <a:cxn ang="0">
                  <a:pos x="T0" y="T1"/>
                </a:cxn>
                <a:cxn ang="0">
                  <a:pos x="T2" y="T3"/>
                </a:cxn>
                <a:cxn ang="0">
                  <a:pos x="T4" y="T5"/>
                </a:cxn>
                <a:cxn ang="0">
                  <a:pos x="T6" y="T7"/>
                </a:cxn>
                <a:cxn ang="0">
                  <a:pos x="T8" y="T9"/>
                </a:cxn>
                <a:cxn ang="0">
                  <a:pos x="T10" y="T11"/>
                </a:cxn>
                <a:cxn ang="0">
                  <a:pos x="T12" y="T13"/>
                </a:cxn>
              </a:cxnLst>
              <a:rect l="0" t="0" r="r" b="b"/>
              <a:pathLst>
                <a:path w="106" h="101">
                  <a:moveTo>
                    <a:pt x="100" y="95"/>
                  </a:moveTo>
                  <a:lnTo>
                    <a:pt x="100" y="95"/>
                  </a:lnTo>
                  <a:cubicBezTo>
                    <a:pt x="105" y="95"/>
                    <a:pt x="104" y="95"/>
                    <a:pt x="105" y="95"/>
                  </a:cubicBezTo>
                  <a:cubicBezTo>
                    <a:pt x="100" y="0"/>
                    <a:pt x="102" y="32"/>
                    <a:pt x="100" y="0"/>
                  </a:cubicBezTo>
                  <a:cubicBezTo>
                    <a:pt x="68" y="0"/>
                    <a:pt x="31" y="0"/>
                    <a:pt x="0" y="5"/>
                  </a:cubicBezTo>
                  <a:cubicBezTo>
                    <a:pt x="10" y="100"/>
                    <a:pt x="7" y="69"/>
                    <a:pt x="10" y="100"/>
                  </a:cubicBezTo>
                  <a:cubicBezTo>
                    <a:pt x="42" y="95"/>
                    <a:pt x="68" y="95"/>
                    <a:pt x="100" y="9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0" name="Freeform 158">
              <a:extLst>
                <a:ext uri="{FF2B5EF4-FFF2-40B4-BE49-F238E27FC236}">
                  <a16:creationId xmlns:a16="http://schemas.microsoft.com/office/drawing/2014/main" id="{1822CE95-74D7-F764-44C8-0A34A61C7349}"/>
                </a:ext>
              </a:extLst>
            </p:cNvPr>
            <p:cNvSpPr>
              <a:spLocks noChangeArrowheads="1"/>
            </p:cNvSpPr>
            <p:nvPr/>
          </p:nvSpPr>
          <p:spPr bwMode="auto">
            <a:xfrm>
              <a:off x="5300663" y="4956175"/>
              <a:ext cx="42862" cy="44450"/>
            </a:xfrm>
            <a:custGeom>
              <a:avLst/>
              <a:gdLst>
                <a:gd name="T0" fmla="*/ 126 w 127"/>
                <a:gd name="T1" fmla="*/ 83 h 132"/>
                <a:gd name="T2" fmla="*/ 126 w 127"/>
                <a:gd name="T3" fmla="*/ 83 h 132"/>
                <a:gd name="T4" fmla="*/ 84 w 127"/>
                <a:gd name="T5" fmla="*/ 0 h 132"/>
                <a:gd name="T6" fmla="*/ 0 w 127"/>
                <a:gd name="T7" fmla="*/ 52 h 132"/>
                <a:gd name="T8" fmla="*/ 52 w 127"/>
                <a:gd name="T9" fmla="*/ 131 h 132"/>
                <a:gd name="T10" fmla="*/ 126 w 127"/>
                <a:gd name="T11" fmla="*/ 83 h 132"/>
              </a:gdLst>
              <a:ahLst/>
              <a:cxnLst>
                <a:cxn ang="0">
                  <a:pos x="T0" y="T1"/>
                </a:cxn>
                <a:cxn ang="0">
                  <a:pos x="T2" y="T3"/>
                </a:cxn>
                <a:cxn ang="0">
                  <a:pos x="T4" y="T5"/>
                </a:cxn>
                <a:cxn ang="0">
                  <a:pos x="T6" y="T7"/>
                </a:cxn>
                <a:cxn ang="0">
                  <a:pos x="T8" y="T9"/>
                </a:cxn>
                <a:cxn ang="0">
                  <a:pos x="T10" y="T11"/>
                </a:cxn>
              </a:cxnLst>
              <a:rect l="0" t="0" r="r" b="b"/>
              <a:pathLst>
                <a:path w="127" h="132">
                  <a:moveTo>
                    <a:pt x="126" y="83"/>
                  </a:moveTo>
                  <a:lnTo>
                    <a:pt x="126" y="83"/>
                  </a:lnTo>
                  <a:cubicBezTo>
                    <a:pt x="84" y="0"/>
                    <a:pt x="98" y="28"/>
                    <a:pt x="84" y="0"/>
                  </a:cubicBezTo>
                  <a:cubicBezTo>
                    <a:pt x="57" y="15"/>
                    <a:pt x="26" y="31"/>
                    <a:pt x="0" y="52"/>
                  </a:cubicBezTo>
                  <a:cubicBezTo>
                    <a:pt x="52" y="131"/>
                    <a:pt x="35" y="105"/>
                    <a:pt x="52" y="131"/>
                  </a:cubicBezTo>
                  <a:cubicBezTo>
                    <a:pt x="78" y="115"/>
                    <a:pt x="105" y="100"/>
                    <a:pt x="126" y="8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1" name="Freeform 159">
              <a:extLst>
                <a:ext uri="{FF2B5EF4-FFF2-40B4-BE49-F238E27FC236}">
                  <a16:creationId xmlns:a16="http://schemas.microsoft.com/office/drawing/2014/main" id="{8D31E32E-C655-5576-0108-38021386DEAC}"/>
                </a:ext>
              </a:extLst>
            </p:cNvPr>
            <p:cNvSpPr>
              <a:spLocks noChangeArrowheads="1"/>
            </p:cNvSpPr>
            <p:nvPr/>
          </p:nvSpPr>
          <p:spPr bwMode="auto">
            <a:xfrm>
              <a:off x="5181600" y="5113338"/>
              <a:ext cx="39687" cy="41275"/>
            </a:xfrm>
            <a:custGeom>
              <a:avLst/>
              <a:gdLst>
                <a:gd name="T0" fmla="*/ 116 w 117"/>
                <a:gd name="T1" fmla="*/ 37 h 122"/>
                <a:gd name="T2" fmla="*/ 116 w 117"/>
                <a:gd name="T3" fmla="*/ 37 h 122"/>
                <a:gd name="T4" fmla="*/ 26 w 117"/>
                <a:gd name="T5" fmla="*/ 0 h 122"/>
                <a:gd name="T6" fmla="*/ 0 w 117"/>
                <a:gd name="T7" fmla="*/ 95 h 122"/>
                <a:gd name="T8" fmla="*/ 89 w 117"/>
                <a:gd name="T9" fmla="*/ 121 h 122"/>
                <a:gd name="T10" fmla="*/ 116 w 117"/>
                <a:gd name="T11" fmla="*/ 37 h 122"/>
              </a:gdLst>
              <a:ahLst/>
              <a:cxnLst>
                <a:cxn ang="0">
                  <a:pos x="T0" y="T1"/>
                </a:cxn>
                <a:cxn ang="0">
                  <a:pos x="T2" y="T3"/>
                </a:cxn>
                <a:cxn ang="0">
                  <a:pos x="T4" y="T5"/>
                </a:cxn>
                <a:cxn ang="0">
                  <a:pos x="T6" y="T7"/>
                </a:cxn>
                <a:cxn ang="0">
                  <a:pos x="T8" y="T9"/>
                </a:cxn>
                <a:cxn ang="0">
                  <a:pos x="T10" y="T11"/>
                </a:cxn>
              </a:cxnLst>
              <a:rect l="0" t="0" r="r" b="b"/>
              <a:pathLst>
                <a:path w="117" h="122">
                  <a:moveTo>
                    <a:pt x="116" y="37"/>
                  </a:moveTo>
                  <a:lnTo>
                    <a:pt x="116" y="37"/>
                  </a:lnTo>
                  <a:cubicBezTo>
                    <a:pt x="26" y="0"/>
                    <a:pt x="56" y="13"/>
                    <a:pt x="26" y="0"/>
                  </a:cubicBezTo>
                  <a:cubicBezTo>
                    <a:pt x="16" y="32"/>
                    <a:pt x="6" y="63"/>
                    <a:pt x="0" y="95"/>
                  </a:cubicBezTo>
                  <a:cubicBezTo>
                    <a:pt x="89" y="121"/>
                    <a:pt x="60" y="113"/>
                    <a:pt x="89" y="121"/>
                  </a:cubicBezTo>
                  <a:cubicBezTo>
                    <a:pt x="95" y="89"/>
                    <a:pt x="106" y="63"/>
                    <a:pt x="116" y="3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2" name="Freeform 160">
              <a:extLst>
                <a:ext uri="{FF2B5EF4-FFF2-40B4-BE49-F238E27FC236}">
                  <a16:creationId xmlns:a16="http://schemas.microsoft.com/office/drawing/2014/main" id="{94F22678-60B2-125D-0C01-AF939C457263}"/>
                </a:ext>
              </a:extLst>
            </p:cNvPr>
            <p:cNvSpPr>
              <a:spLocks noChangeArrowheads="1"/>
            </p:cNvSpPr>
            <p:nvPr/>
          </p:nvSpPr>
          <p:spPr bwMode="auto">
            <a:xfrm>
              <a:off x="5205413" y="5049838"/>
              <a:ext cx="44450" cy="42863"/>
            </a:xfrm>
            <a:custGeom>
              <a:avLst/>
              <a:gdLst>
                <a:gd name="T0" fmla="*/ 131 w 132"/>
                <a:gd name="T1" fmla="*/ 52 h 127"/>
                <a:gd name="T2" fmla="*/ 131 w 132"/>
                <a:gd name="T3" fmla="*/ 52 h 127"/>
                <a:gd name="T4" fmla="*/ 52 w 132"/>
                <a:gd name="T5" fmla="*/ 0 h 127"/>
                <a:gd name="T6" fmla="*/ 0 w 132"/>
                <a:gd name="T7" fmla="*/ 84 h 127"/>
                <a:gd name="T8" fmla="*/ 83 w 132"/>
                <a:gd name="T9" fmla="*/ 126 h 127"/>
                <a:gd name="T10" fmla="*/ 131 w 132"/>
                <a:gd name="T11" fmla="*/ 52 h 127"/>
              </a:gdLst>
              <a:ahLst/>
              <a:cxnLst>
                <a:cxn ang="0">
                  <a:pos x="T0" y="T1"/>
                </a:cxn>
                <a:cxn ang="0">
                  <a:pos x="T2" y="T3"/>
                </a:cxn>
                <a:cxn ang="0">
                  <a:pos x="T4" y="T5"/>
                </a:cxn>
                <a:cxn ang="0">
                  <a:pos x="T6" y="T7"/>
                </a:cxn>
                <a:cxn ang="0">
                  <a:pos x="T8" y="T9"/>
                </a:cxn>
                <a:cxn ang="0">
                  <a:pos x="T10" y="T11"/>
                </a:cxn>
              </a:cxnLst>
              <a:rect l="0" t="0" r="r" b="b"/>
              <a:pathLst>
                <a:path w="132" h="127">
                  <a:moveTo>
                    <a:pt x="131" y="52"/>
                  </a:moveTo>
                  <a:lnTo>
                    <a:pt x="131" y="52"/>
                  </a:lnTo>
                  <a:cubicBezTo>
                    <a:pt x="52" y="0"/>
                    <a:pt x="79" y="18"/>
                    <a:pt x="52" y="0"/>
                  </a:cubicBezTo>
                  <a:cubicBezTo>
                    <a:pt x="31" y="26"/>
                    <a:pt x="15" y="52"/>
                    <a:pt x="0" y="84"/>
                  </a:cubicBezTo>
                  <a:cubicBezTo>
                    <a:pt x="83" y="126"/>
                    <a:pt x="56" y="112"/>
                    <a:pt x="83" y="126"/>
                  </a:cubicBezTo>
                  <a:cubicBezTo>
                    <a:pt x="100" y="105"/>
                    <a:pt x="115" y="78"/>
                    <a:pt x="131" y="52"/>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3" name="Freeform 161">
              <a:extLst>
                <a:ext uri="{FF2B5EF4-FFF2-40B4-BE49-F238E27FC236}">
                  <a16:creationId xmlns:a16="http://schemas.microsoft.com/office/drawing/2014/main" id="{CFBF7538-8CCB-DAF1-9BDA-4CECA1D9DED0}"/>
                </a:ext>
              </a:extLst>
            </p:cNvPr>
            <p:cNvSpPr>
              <a:spLocks noChangeArrowheads="1"/>
            </p:cNvSpPr>
            <p:nvPr/>
          </p:nvSpPr>
          <p:spPr bwMode="auto">
            <a:xfrm>
              <a:off x="5500688" y="4922838"/>
              <a:ext cx="36512" cy="36513"/>
            </a:xfrm>
            <a:custGeom>
              <a:avLst/>
              <a:gdLst>
                <a:gd name="T0" fmla="*/ 111 w 112"/>
                <a:gd name="T1" fmla="*/ 21 h 111"/>
                <a:gd name="T2" fmla="*/ 111 w 112"/>
                <a:gd name="T3" fmla="*/ 21 h 111"/>
                <a:gd name="T4" fmla="*/ 16 w 112"/>
                <a:gd name="T5" fmla="*/ 0 h 111"/>
                <a:gd name="T6" fmla="*/ 0 w 112"/>
                <a:gd name="T7" fmla="*/ 95 h 111"/>
                <a:gd name="T8" fmla="*/ 89 w 112"/>
                <a:gd name="T9" fmla="*/ 110 h 111"/>
                <a:gd name="T10" fmla="*/ 111 w 112"/>
                <a:gd name="T11" fmla="*/ 21 h 111"/>
              </a:gdLst>
              <a:ahLst/>
              <a:cxnLst>
                <a:cxn ang="0">
                  <a:pos x="T0" y="T1"/>
                </a:cxn>
                <a:cxn ang="0">
                  <a:pos x="T2" y="T3"/>
                </a:cxn>
                <a:cxn ang="0">
                  <a:pos x="T4" y="T5"/>
                </a:cxn>
                <a:cxn ang="0">
                  <a:pos x="T6" y="T7"/>
                </a:cxn>
                <a:cxn ang="0">
                  <a:pos x="T8" y="T9"/>
                </a:cxn>
                <a:cxn ang="0">
                  <a:pos x="T10" y="T11"/>
                </a:cxn>
              </a:cxnLst>
              <a:rect l="0" t="0" r="r" b="b"/>
              <a:pathLst>
                <a:path w="112" h="111">
                  <a:moveTo>
                    <a:pt x="111" y="21"/>
                  </a:moveTo>
                  <a:lnTo>
                    <a:pt x="111" y="21"/>
                  </a:lnTo>
                  <a:cubicBezTo>
                    <a:pt x="79" y="11"/>
                    <a:pt x="48" y="5"/>
                    <a:pt x="16" y="0"/>
                  </a:cubicBezTo>
                  <a:cubicBezTo>
                    <a:pt x="0" y="95"/>
                    <a:pt x="6" y="64"/>
                    <a:pt x="0" y="95"/>
                  </a:cubicBezTo>
                  <a:cubicBezTo>
                    <a:pt x="31" y="100"/>
                    <a:pt x="58" y="105"/>
                    <a:pt x="89" y="110"/>
                  </a:cubicBezTo>
                  <a:cubicBezTo>
                    <a:pt x="97" y="81"/>
                    <a:pt x="104" y="51"/>
                    <a:pt x="111" y="2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4" name="Freeform 162">
              <a:extLst>
                <a:ext uri="{FF2B5EF4-FFF2-40B4-BE49-F238E27FC236}">
                  <a16:creationId xmlns:a16="http://schemas.microsoft.com/office/drawing/2014/main" id="{51F0F6E2-930E-7015-7915-B4EE11636851}"/>
                </a:ext>
              </a:extLst>
            </p:cNvPr>
            <p:cNvSpPr>
              <a:spLocks noChangeArrowheads="1"/>
            </p:cNvSpPr>
            <p:nvPr/>
          </p:nvSpPr>
          <p:spPr bwMode="auto">
            <a:xfrm>
              <a:off x="5248275" y="4997450"/>
              <a:ext cx="44450" cy="44450"/>
            </a:xfrm>
            <a:custGeom>
              <a:avLst/>
              <a:gdLst>
                <a:gd name="T0" fmla="*/ 132 w 133"/>
                <a:gd name="T1" fmla="*/ 68 h 133"/>
                <a:gd name="T2" fmla="*/ 132 w 133"/>
                <a:gd name="T3" fmla="*/ 68 h 133"/>
                <a:gd name="T4" fmla="*/ 68 w 133"/>
                <a:gd name="T5" fmla="*/ 0 h 133"/>
                <a:gd name="T6" fmla="*/ 0 w 133"/>
                <a:gd name="T7" fmla="*/ 68 h 133"/>
                <a:gd name="T8" fmla="*/ 68 w 133"/>
                <a:gd name="T9" fmla="*/ 132 h 133"/>
                <a:gd name="T10" fmla="*/ 132 w 133"/>
                <a:gd name="T11" fmla="*/ 68 h 133"/>
              </a:gdLst>
              <a:ahLst/>
              <a:cxnLst>
                <a:cxn ang="0">
                  <a:pos x="T0" y="T1"/>
                </a:cxn>
                <a:cxn ang="0">
                  <a:pos x="T2" y="T3"/>
                </a:cxn>
                <a:cxn ang="0">
                  <a:pos x="T4" y="T5"/>
                </a:cxn>
                <a:cxn ang="0">
                  <a:pos x="T6" y="T7"/>
                </a:cxn>
                <a:cxn ang="0">
                  <a:pos x="T8" y="T9"/>
                </a:cxn>
                <a:cxn ang="0">
                  <a:pos x="T10" y="T11"/>
                </a:cxn>
              </a:cxnLst>
              <a:rect l="0" t="0" r="r" b="b"/>
              <a:pathLst>
                <a:path w="133" h="133">
                  <a:moveTo>
                    <a:pt x="132" y="68"/>
                  </a:moveTo>
                  <a:lnTo>
                    <a:pt x="132" y="68"/>
                  </a:lnTo>
                  <a:cubicBezTo>
                    <a:pt x="68" y="0"/>
                    <a:pt x="90" y="23"/>
                    <a:pt x="68" y="0"/>
                  </a:cubicBezTo>
                  <a:cubicBezTo>
                    <a:pt x="42" y="21"/>
                    <a:pt x="21" y="42"/>
                    <a:pt x="0" y="68"/>
                  </a:cubicBezTo>
                  <a:cubicBezTo>
                    <a:pt x="68" y="132"/>
                    <a:pt x="46" y="111"/>
                    <a:pt x="68" y="132"/>
                  </a:cubicBezTo>
                  <a:cubicBezTo>
                    <a:pt x="90" y="111"/>
                    <a:pt x="111" y="90"/>
                    <a:pt x="132" y="6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5" name="Freeform 163">
              <a:extLst>
                <a:ext uri="{FF2B5EF4-FFF2-40B4-BE49-F238E27FC236}">
                  <a16:creationId xmlns:a16="http://schemas.microsoft.com/office/drawing/2014/main" id="{EFDE98AC-D130-2BBD-3917-2490315BC07B}"/>
                </a:ext>
              </a:extLst>
            </p:cNvPr>
            <p:cNvSpPr>
              <a:spLocks noChangeArrowheads="1"/>
            </p:cNvSpPr>
            <p:nvPr/>
          </p:nvSpPr>
          <p:spPr bwMode="auto">
            <a:xfrm>
              <a:off x="5702300" y="5081588"/>
              <a:ext cx="42862" cy="41275"/>
            </a:xfrm>
            <a:custGeom>
              <a:avLst/>
              <a:gdLst>
                <a:gd name="T0" fmla="*/ 37 w 128"/>
                <a:gd name="T1" fmla="*/ 121 h 122"/>
                <a:gd name="T2" fmla="*/ 37 w 128"/>
                <a:gd name="T3" fmla="*/ 121 h 122"/>
                <a:gd name="T4" fmla="*/ 127 w 128"/>
                <a:gd name="T5" fmla="*/ 89 h 122"/>
                <a:gd name="T6" fmla="*/ 85 w 128"/>
                <a:gd name="T7" fmla="*/ 0 h 122"/>
                <a:gd name="T8" fmla="*/ 0 w 128"/>
                <a:gd name="T9" fmla="*/ 42 h 122"/>
                <a:gd name="T10" fmla="*/ 37 w 128"/>
                <a:gd name="T11" fmla="*/ 121 h 122"/>
              </a:gdLst>
              <a:ahLst/>
              <a:cxnLst>
                <a:cxn ang="0">
                  <a:pos x="T0" y="T1"/>
                </a:cxn>
                <a:cxn ang="0">
                  <a:pos x="T2" y="T3"/>
                </a:cxn>
                <a:cxn ang="0">
                  <a:pos x="T4" y="T5"/>
                </a:cxn>
                <a:cxn ang="0">
                  <a:pos x="T6" y="T7"/>
                </a:cxn>
                <a:cxn ang="0">
                  <a:pos x="T8" y="T9"/>
                </a:cxn>
                <a:cxn ang="0">
                  <a:pos x="T10" y="T11"/>
                </a:cxn>
              </a:cxnLst>
              <a:rect l="0" t="0" r="r" b="b"/>
              <a:pathLst>
                <a:path w="128" h="122">
                  <a:moveTo>
                    <a:pt x="37" y="121"/>
                  </a:moveTo>
                  <a:lnTo>
                    <a:pt x="37" y="121"/>
                  </a:lnTo>
                  <a:cubicBezTo>
                    <a:pt x="127" y="89"/>
                    <a:pt x="97" y="100"/>
                    <a:pt x="127" y="89"/>
                  </a:cubicBezTo>
                  <a:cubicBezTo>
                    <a:pt x="116" y="58"/>
                    <a:pt x="100" y="26"/>
                    <a:pt x="85" y="0"/>
                  </a:cubicBezTo>
                  <a:cubicBezTo>
                    <a:pt x="0" y="42"/>
                    <a:pt x="29" y="28"/>
                    <a:pt x="0" y="42"/>
                  </a:cubicBezTo>
                  <a:cubicBezTo>
                    <a:pt x="16" y="68"/>
                    <a:pt x="27" y="94"/>
                    <a:pt x="37" y="12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6" name="Freeform 164">
              <a:extLst>
                <a:ext uri="{FF2B5EF4-FFF2-40B4-BE49-F238E27FC236}">
                  <a16:creationId xmlns:a16="http://schemas.microsoft.com/office/drawing/2014/main" id="{3D448436-ABDA-0E38-5E9C-3F5F20D201D6}"/>
                </a:ext>
              </a:extLst>
            </p:cNvPr>
            <p:cNvSpPr>
              <a:spLocks noChangeArrowheads="1"/>
            </p:cNvSpPr>
            <p:nvPr/>
          </p:nvSpPr>
          <p:spPr bwMode="auto">
            <a:xfrm>
              <a:off x="5564188" y="4940300"/>
              <a:ext cx="42862" cy="42863"/>
            </a:xfrm>
            <a:custGeom>
              <a:avLst/>
              <a:gdLst>
                <a:gd name="T0" fmla="*/ 126 w 127"/>
                <a:gd name="T1" fmla="*/ 43 h 127"/>
                <a:gd name="T2" fmla="*/ 126 w 127"/>
                <a:gd name="T3" fmla="*/ 43 h 127"/>
                <a:gd name="T4" fmla="*/ 31 w 127"/>
                <a:gd name="T5" fmla="*/ 0 h 127"/>
                <a:gd name="T6" fmla="*/ 0 w 127"/>
                <a:gd name="T7" fmla="*/ 90 h 127"/>
                <a:gd name="T8" fmla="*/ 78 w 127"/>
                <a:gd name="T9" fmla="*/ 126 h 127"/>
                <a:gd name="T10" fmla="*/ 126 w 127"/>
                <a:gd name="T11" fmla="*/ 43 h 127"/>
              </a:gdLst>
              <a:ahLst/>
              <a:cxnLst>
                <a:cxn ang="0">
                  <a:pos x="T0" y="T1"/>
                </a:cxn>
                <a:cxn ang="0">
                  <a:pos x="T2" y="T3"/>
                </a:cxn>
                <a:cxn ang="0">
                  <a:pos x="T4" y="T5"/>
                </a:cxn>
                <a:cxn ang="0">
                  <a:pos x="T6" y="T7"/>
                </a:cxn>
                <a:cxn ang="0">
                  <a:pos x="T8" y="T9"/>
                </a:cxn>
                <a:cxn ang="0">
                  <a:pos x="T10" y="T11"/>
                </a:cxn>
              </a:cxnLst>
              <a:rect l="0" t="0" r="r" b="b"/>
              <a:pathLst>
                <a:path w="127" h="127">
                  <a:moveTo>
                    <a:pt x="126" y="43"/>
                  </a:moveTo>
                  <a:lnTo>
                    <a:pt x="126" y="43"/>
                  </a:lnTo>
                  <a:cubicBezTo>
                    <a:pt x="94" y="27"/>
                    <a:pt x="63" y="16"/>
                    <a:pt x="31" y="0"/>
                  </a:cubicBezTo>
                  <a:cubicBezTo>
                    <a:pt x="0" y="90"/>
                    <a:pt x="11" y="60"/>
                    <a:pt x="0" y="90"/>
                  </a:cubicBezTo>
                  <a:cubicBezTo>
                    <a:pt x="26" y="100"/>
                    <a:pt x="52" y="116"/>
                    <a:pt x="78" y="126"/>
                  </a:cubicBezTo>
                  <a:cubicBezTo>
                    <a:pt x="94" y="99"/>
                    <a:pt x="110" y="71"/>
                    <a:pt x="126" y="4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7" name="Freeform 165">
              <a:extLst>
                <a:ext uri="{FF2B5EF4-FFF2-40B4-BE49-F238E27FC236}">
                  <a16:creationId xmlns:a16="http://schemas.microsoft.com/office/drawing/2014/main" id="{ACE33B25-DA76-1D1B-D42C-C4633DF0605A}"/>
                </a:ext>
              </a:extLst>
            </p:cNvPr>
            <p:cNvSpPr>
              <a:spLocks noChangeArrowheads="1"/>
            </p:cNvSpPr>
            <p:nvPr/>
          </p:nvSpPr>
          <p:spPr bwMode="auto">
            <a:xfrm>
              <a:off x="5724525" y="5148263"/>
              <a:ext cx="36512" cy="36513"/>
            </a:xfrm>
            <a:custGeom>
              <a:avLst/>
              <a:gdLst>
                <a:gd name="T0" fmla="*/ 15 w 111"/>
                <a:gd name="T1" fmla="*/ 110 h 111"/>
                <a:gd name="T2" fmla="*/ 15 w 111"/>
                <a:gd name="T3" fmla="*/ 110 h 111"/>
                <a:gd name="T4" fmla="*/ 110 w 111"/>
                <a:gd name="T5" fmla="*/ 100 h 111"/>
                <a:gd name="T6" fmla="*/ 94 w 111"/>
                <a:gd name="T7" fmla="*/ 0 h 111"/>
                <a:gd name="T8" fmla="*/ 0 w 111"/>
                <a:gd name="T9" fmla="*/ 21 h 111"/>
                <a:gd name="T10" fmla="*/ 15 w 111"/>
                <a:gd name="T11" fmla="*/ 110 h 111"/>
              </a:gdLst>
              <a:ahLst/>
              <a:cxnLst>
                <a:cxn ang="0">
                  <a:pos x="T0" y="T1"/>
                </a:cxn>
                <a:cxn ang="0">
                  <a:pos x="T2" y="T3"/>
                </a:cxn>
                <a:cxn ang="0">
                  <a:pos x="T4" y="T5"/>
                </a:cxn>
                <a:cxn ang="0">
                  <a:pos x="T6" y="T7"/>
                </a:cxn>
                <a:cxn ang="0">
                  <a:pos x="T8" y="T9"/>
                </a:cxn>
                <a:cxn ang="0">
                  <a:pos x="T10" y="T11"/>
                </a:cxn>
              </a:cxnLst>
              <a:rect l="0" t="0" r="r" b="b"/>
              <a:pathLst>
                <a:path w="111" h="111">
                  <a:moveTo>
                    <a:pt x="15" y="110"/>
                  </a:moveTo>
                  <a:lnTo>
                    <a:pt x="15" y="110"/>
                  </a:lnTo>
                  <a:cubicBezTo>
                    <a:pt x="110" y="100"/>
                    <a:pt x="79" y="104"/>
                    <a:pt x="110" y="100"/>
                  </a:cubicBezTo>
                  <a:cubicBezTo>
                    <a:pt x="105" y="63"/>
                    <a:pt x="100" y="32"/>
                    <a:pt x="94" y="0"/>
                  </a:cubicBezTo>
                  <a:cubicBezTo>
                    <a:pt x="0" y="21"/>
                    <a:pt x="32" y="14"/>
                    <a:pt x="0" y="21"/>
                  </a:cubicBezTo>
                  <a:cubicBezTo>
                    <a:pt x="5" y="52"/>
                    <a:pt x="10" y="79"/>
                    <a:pt x="15" y="11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8" name="Freeform 166">
              <a:extLst>
                <a:ext uri="{FF2B5EF4-FFF2-40B4-BE49-F238E27FC236}">
                  <a16:creationId xmlns:a16="http://schemas.microsoft.com/office/drawing/2014/main" id="{A1484232-2428-950C-4CDE-24484C97D8A0}"/>
                </a:ext>
              </a:extLst>
            </p:cNvPr>
            <p:cNvSpPr>
              <a:spLocks noChangeArrowheads="1"/>
            </p:cNvSpPr>
            <p:nvPr/>
          </p:nvSpPr>
          <p:spPr bwMode="auto">
            <a:xfrm>
              <a:off x="5665788" y="5021263"/>
              <a:ext cx="46037" cy="46038"/>
            </a:xfrm>
            <a:custGeom>
              <a:avLst/>
              <a:gdLst>
                <a:gd name="T0" fmla="*/ 59 w 138"/>
                <a:gd name="T1" fmla="*/ 137 h 138"/>
                <a:gd name="T2" fmla="*/ 59 w 138"/>
                <a:gd name="T3" fmla="*/ 137 h 138"/>
                <a:gd name="T4" fmla="*/ 137 w 138"/>
                <a:gd name="T5" fmla="*/ 80 h 138"/>
                <a:gd name="T6" fmla="*/ 74 w 138"/>
                <a:gd name="T7" fmla="*/ 0 h 138"/>
                <a:gd name="T8" fmla="*/ 0 w 138"/>
                <a:gd name="T9" fmla="*/ 64 h 138"/>
                <a:gd name="T10" fmla="*/ 59 w 138"/>
                <a:gd name="T11" fmla="*/ 137 h 138"/>
              </a:gdLst>
              <a:ahLst/>
              <a:cxnLst>
                <a:cxn ang="0">
                  <a:pos x="T0" y="T1"/>
                </a:cxn>
                <a:cxn ang="0">
                  <a:pos x="T2" y="T3"/>
                </a:cxn>
                <a:cxn ang="0">
                  <a:pos x="T4" y="T5"/>
                </a:cxn>
                <a:cxn ang="0">
                  <a:pos x="T6" y="T7"/>
                </a:cxn>
                <a:cxn ang="0">
                  <a:pos x="T8" y="T9"/>
                </a:cxn>
                <a:cxn ang="0">
                  <a:pos x="T10" y="T11"/>
                </a:cxn>
              </a:cxnLst>
              <a:rect l="0" t="0" r="r" b="b"/>
              <a:pathLst>
                <a:path w="138" h="138">
                  <a:moveTo>
                    <a:pt x="59" y="137"/>
                  </a:moveTo>
                  <a:lnTo>
                    <a:pt x="59" y="137"/>
                  </a:lnTo>
                  <a:cubicBezTo>
                    <a:pt x="137" y="80"/>
                    <a:pt x="111" y="99"/>
                    <a:pt x="137" y="80"/>
                  </a:cubicBezTo>
                  <a:cubicBezTo>
                    <a:pt x="116" y="53"/>
                    <a:pt x="95" y="27"/>
                    <a:pt x="74" y="0"/>
                  </a:cubicBezTo>
                  <a:cubicBezTo>
                    <a:pt x="0" y="64"/>
                    <a:pt x="25" y="43"/>
                    <a:pt x="0" y="64"/>
                  </a:cubicBezTo>
                  <a:cubicBezTo>
                    <a:pt x="22" y="85"/>
                    <a:pt x="42" y="111"/>
                    <a:pt x="59" y="13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19" name="Freeform 167">
              <a:extLst>
                <a:ext uri="{FF2B5EF4-FFF2-40B4-BE49-F238E27FC236}">
                  <a16:creationId xmlns:a16="http://schemas.microsoft.com/office/drawing/2014/main" id="{1BA48AF6-DC37-F989-6B44-4E3155314C3D}"/>
                </a:ext>
              </a:extLst>
            </p:cNvPr>
            <p:cNvSpPr>
              <a:spLocks noChangeArrowheads="1"/>
            </p:cNvSpPr>
            <p:nvPr/>
          </p:nvSpPr>
          <p:spPr bwMode="auto">
            <a:xfrm>
              <a:off x="5618163" y="4973638"/>
              <a:ext cx="46037" cy="44450"/>
            </a:xfrm>
            <a:custGeom>
              <a:avLst/>
              <a:gdLst>
                <a:gd name="T0" fmla="*/ 137 w 138"/>
                <a:gd name="T1" fmla="*/ 63 h 132"/>
                <a:gd name="T2" fmla="*/ 137 w 138"/>
                <a:gd name="T3" fmla="*/ 63 h 132"/>
                <a:gd name="T4" fmla="*/ 58 w 138"/>
                <a:gd name="T5" fmla="*/ 0 h 132"/>
                <a:gd name="T6" fmla="*/ 0 w 138"/>
                <a:gd name="T7" fmla="*/ 79 h 132"/>
                <a:gd name="T8" fmla="*/ 73 w 138"/>
                <a:gd name="T9" fmla="*/ 131 h 132"/>
                <a:gd name="T10" fmla="*/ 137 w 138"/>
                <a:gd name="T11" fmla="*/ 63 h 132"/>
              </a:gdLst>
              <a:ahLst/>
              <a:cxnLst>
                <a:cxn ang="0">
                  <a:pos x="T0" y="T1"/>
                </a:cxn>
                <a:cxn ang="0">
                  <a:pos x="T2" y="T3"/>
                </a:cxn>
                <a:cxn ang="0">
                  <a:pos x="T4" y="T5"/>
                </a:cxn>
                <a:cxn ang="0">
                  <a:pos x="T6" y="T7"/>
                </a:cxn>
                <a:cxn ang="0">
                  <a:pos x="T8" y="T9"/>
                </a:cxn>
                <a:cxn ang="0">
                  <a:pos x="T10" y="T11"/>
                </a:cxn>
              </a:cxnLst>
              <a:rect l="0" t="0" r="r" b="b"/>
              <a:pathLst>
                <a:path w="138" h="132">
                  <a:moveTo>
                    <a:pt x="137" y="63"/>
                  </a:moveTo>
                  <a:lnTo>
                    <a:pt x="137" y="63"/>
                  </a:lnTo>
                  <a:cubicBezTo>
                    <a:pt x="110" y="42"/>
                    <a:pt x="84" y="21"/>
                    <a:pt x="58" y="0"/>
                  </a:cubicBezTo>
                  <a:cubicBezTo>
                    <a:pt x="0" y="79"/>
                    <a:pt x="20" y="53"/>
                    <a:pt x="0" y="79"/>
                  </a:cubicBezTo>
                  <a:cubicBezTo>
                    <a:pt x="26" y="95"/>
                    <a:pt x="47" y="116"/>
                    <a:pt x="73" y="131"/>
                  </a:cubicBezTo>
                  <a:cubicBezTo>
                    <a:pt x="95" y="109"/>
                    <a:pt x="116" y="86"/>
                    <a:pt x="137" y="6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0" name="Freeform 168">
              <a:extLst>
                <a:ext uri="{FF2B5EF4-FFF2-40B4-BE49-F238E27FC236}">
                  <a16:creationId xmlns:a16="http://schemas.microsoft.com/office/drawing/2014/main" id="{2C94F47B-3372-C565-945B-180EDF7E7807}"/>
                </a:ext>
              </a:extLst>
            </p:cNvPr>
            <p:cNvSpPr>
              <a:spLocks noChangeArrowheads="1"/>
            </p:cNvSpPr>
            <p:nvPr/>
          </p:nvSpPr>
          <p:spPr bwMode="auto">
            <a:xfrm>
              <a:off x="5730875" y="5218113"/>
              <a:ext cx="33337" cy="33338"/>
            </a:xfrm>
            <a:custGeom>
              <a:avLst/>
              <a:gdLst>
                <a:gd name="T0" fmla="*/ 6 w 101"/>
                <a:gd name="T1" fmla="*/ 0 h 101"/>
                <a:gd name="T2" fmla="*/ 6 w 101"/>
                <a:gd name="T3" fmla="*/ 0 h 101"/>
                <a:gd name="T4" fmla="*/ 0 w 101"/>
                <a:gd name="T5" fmla="*/ 89 h 101"/>
                <a:gd name="T6" fmla="*/ 95 w 101"/>
                <a:gd name="T7" fmla="*/ 100 h 101"/>
                <a:gd name="T8" fmla="*/ 100 w 101"/>
                <a:gd name="T9" fmla="*/ 5 h 101"/>
                <a:gd name="T10" fmla="*/ 6 w 101"/>
                <a:gd name="T11" fmla="*/ 0 h 101"/>
              </a:gdLst>
              <a:ahLst/>
              <a:cxnLst>
                <a:cxn ang="0">
                  <a:pos x="T0" y="T1"/>
                </a:cxn>
                <a:cxn ang="0">
                  <a:pos x="T2" y="T3"/>
                </a:cxn>
                <a:cxn ang="0">
                  <a:pos x="T4" y="T5"/>
                </a:cxn>
                <a:cxn ang="0">
                  <a:pos x="T6" y="T7"/>
                </a:cxn>
                <a:cxn ang="0">
                  <a:pos x="T8" y="T9"/>
                </a:cxn>
                <a:cxn ang="0">
                  <a:pos x="T10" y="T11"/>
                </a:cxn>
              </a:cxnLst>
              <a:rect l="0" t="0" r="r" b="b"/>
              <a:pathLst>
                <a:path w="101" h="101">
                  <a:moveTo>
                    <a:pt x="6" y="0"/>
                  </a:moveTo>
                  <a:lnTo>
                    <a:pt x="6" y="0"/>
                  </a:lnTo>
                  <a:cubicBezTo>
                    <a:pt x="6" y="31"/>
                    <a:pt x="6" y="63"/>
                    <a:pt x="0" y="89"/>
                  </a:cubicBezTo>
                  <a:cubicBezTo>
                    <a:pt x="95" y="100"/>
                    <a:pt x="64" y="97"/>
                    <a:pt x="95" y="100"/>
                  </a:cubicBezTo>
                  <a:cubicBezTo>
                    <a:pt x="100" y="68"/>
                    <a:pt x="100" y="37"/>
                    <a:pt x="100" y="5"/>
                  </a:cubicBezTo>
                  <a:cubicBezTo>
                    <a:pt x="69" y="4"/>
                    <a:pt x="38" y="2"/>
                    <a:pt x="6"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1" name="Freeform 169">
              <a:extLst>
                <a:ext uri="{FF2B5EF4-FFF2-40B4-BE49-F238E27FC236}">
                  <a16:creationId xmlns:a16="http://schemas.microsoft.com/office/drawing/2014/main" id="{66646CE5-D368-81C3-4E4D-164F294BDD8C}"/>
                </a:ext>
              </a:extLst>
            </p:cNvPr>
            <p:cNvSpPr>
              <a:spLocks noChangeArrowheads="1"/>
            </p:cNvSpPr>
            <p:nvPr/>
          </p:nvSpPr>
          <p:spPr bwMode="auto">
            <a:xfrm>
              <a:off x="5643563" y="5394325"/>
              <a:ext cx="44450" cy="44450"/>
            </a:xfrm>
            <a:custGeom>
              <a:avLst/>
              <a:gdLst>
                <a:gd name="T0" fmla="*/ 0 w 133"/>
                <a:gd name="T1" fmla="*/ 58 h 133"/>
                <a:gd name="T2" fmla="*/ 0 w 133"/>
                <a:gd name="T3" fmla="*/ 58 h 133"/>
                <a:gd name="T4" fmla="*/ 63 w 133"/>
                <a:gd name="T5" fmla="*/ 132 h 133"/>
                <a:gd name="T6" fmla="*/ 132 w 133"/>
                <a:gd name="T7" fmla="*/ 58 h 133"/>
                <a:gd name="T8" fmla="*/ 63 w 133"/>
                <a:gd name="T9" fmla="*/ 0 h 133"/>
                <a:gd name="T10" fmla="*/ 0 w 133"/>
                <a:gd name="T11" fmla="*/ 58 h 133"/>
              </a:gdLst>
              <a:ahLst/>
              <a:cxnLst>
                <a:cxn ang="0">
                  <a:pos x="T0" y="T1"/>
                </a:cxn>
                <a:cxn ang="0">
                  <a:pos x="T2" y="T3"/>
                </a:cxn>
                <a:cxn ang="0">
                  <a:pos x="T4" y="T5"/>
                </a:cxn>
                <a:cxn ang="0">
                  <a:pos x="T6" y="T7"/>
                </a:cxn>
                <a:cxn ang="0">
                  <a:pos x="T8" y="T9"/>
                </a:cxn>
                <a:cxn ang="0">
                  <a:pos x="T10" y="T11"/>
                </a:cxn>
              </a:cxnLst>
              <a:rect l="0" t="0" r="r" b="b"/>
              <a:pathLst>
                <a:path w="133" h="133">
                  <a:moveTo>
                    <a:pt x="0" y="58"/>
                  </a:moveTo>
                  <a:lnTo>
                    <a:pt x="0" y="58"/>
                  </a:lnTo>
                  <a:cubicBezTo>
                    <a:pt x="63" y="132"/>
                    <a:pt x="42" y="108"/>
                    <a:pt x="63" y="132"/>
                  </a:cubicBezTo>
                  <a:cubicBezTo>
                    <a:pt x="90" y="111"/>
                    <a:pt x="111" y="85"/>
                    <a:pt x="132" y="58"/>
                  </a:cubicBezTo>
                  <a:cubicBezTo>
                    <a:pt x="63" y="0"/>
                    <a:pt x="86" y="20"/>
                    <a:pt x="63" y="0"/>
                  </a:cubicBezTo>
                  <a:cubicBezTo>
                    <a:pt x="42" y="22"/>
                    <a:pt x="22" y="43"/>
                    <a:pt x="0" y="5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2" name="Freeform 170">
              <a:extLst>
                <a:ext uri="{FF2B5EF4-FFF2-40B4-BE49-F238E27FC236}">
                  <a16:creationId xmlns:a16="http://schemas.microsoft.com/office/drawing/2014/main" id="{CDDD2992-8509-CEBF-ADCF-FD463D7CEC7D}"/>
                </a:ext>
              </a:extLst>
            </p:cNvPr>
            <p:cNvSpPr>
              <a:spLocks noChangeArrowheads="1"/>
            </p:cNvSpPr>
            <p:nvPr/>
          </p:nvSpPr>
          <p:spPr bwMode="auto">
            <a:xfrm>
              <a:off x="5589588" y="5437188"/>
              <a:ext cx="44450" cy="42863"/>
            </a:xfrm>
            <a:custGeom>
              <a:avLst/>
              <a:gdLst>
                <a:gd name="T0" fmla="*/ 0 w 133"/>
                <a:gd name="T1" fmla="*/ 41 h 127"/>
                <a:gd name="T2" fmla="*/ 0 w 133"/>
                <a:gd name="T3" fmla="*/ 41 h 127"/>
                <a:gd name="T4" fmla="*/ 47 w 133"/>
                <a:gd name="T5" fmla="*/ 126 h 127"/>
                <a:gd name="T6" fmla="*/ 132 w 133"/>
                <a:gd name="T7" fmla="*/ 73 h 127"/>
                <a:gd name="T8" fmla="*/ 79 w 133"/>
                <a:gd name="T9" fmla="*/ 0 h 127"/>
                <a:gd name="T10" fmla="*/ 0 w 133"/>
                <a:gd name="T11" fmla="*/ 41 h 127"/>
              </a:gdLst>
              <a:ahLst/>
              <a:cxnLst>
                <a:cxn ang="0">
                  <a:pos x="T0" y="T1"/>
                </a:cxn>
                <a:cxn ang="0">
                  <a:pos x="T2" y="T3"/>
                </a:cxn>
                <a:cxn ang="0">
                  <a:pos x="T4" y="T5"/>
                </a:cxn>
                <a:cxn ang="0">
                  <a:pos x="T6" y="T7"/>
                </a:cxn>
                <a:cxn ang="0">
                  <a:pos x="T8" y="T9"/>
                </a:cxn>
                <a:cxn ang="0">
                  <a:pos x="T10" y="T11"/>
                </a:cxn>
              </a:cxnLst>
              <a:rect l="0" t="0" r="r" b="b"/>
              <a:pathLst>
                <a:path w="133" h="127">
                  <a:moveTo>
                    <a:pt x="0" y="41"/>
                  </a:moveTo>
                  <a:lnTo>
                    <a:pt x="0" y="41"/>
                  </a:lnTo>
                  <a:cubicBezTo>
                    <a:pt x="47" y="126"/>
                    <a:pt x="32" y="98"/>
                    <a:pt x="47" y="126"/>
                  </a:cubicBezTo>
                  <a:cubicBezTo>
                    <a:pt x="74" y="110"/>
                    <a:pt x="105" y="94"/>
                    <a:pt x="132" y="73"/>
                  </a:cubicBezTo>
                  <a:cubicBezTo>
                    <a:pt x="79" y="0"/>
                    <a:pt x="97" y="25"/>
                    <a:pt x="79" y="0"/>
                  </a:cubicBezTo>
                  <a:cubicBezTo>
                    <a:pt x="53" y="15"/>
                    <a:pt x="26" y="31"/>
                    <a:pt x="0" y="4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3" name="Freeform 171">
              <a:extLst>
                <a:ext uri="{FF2B5EF4-FFF2-40B4-BE49-F238E27FC236}">
                  <a16:creationId xmlns:a16="http://schemas.microsoft.com/office/drawing/2014/main" id="{4DF201B1-C9D0-55D0-C7F1-B6F2FB720C58}"/>
                </a:ext>
              </a:extLst>
            </p:cNvPr>
            <p:cNvSpPr>
              <a:spLocks noChangeArrowheads="1"/>
            </p:cNvSpPr>
            <p:nvPr/>
          </p:nvSpPr>
          <p:spPr bwMode="auto">
            <a:xfrm>
              <a:off x="5530850" y="5464175"/>
              <a:ext cx="39687" cy="41275"/>
            </a:xfrm>
            <a:custGeom>
              <a:avLst/>
              <a:gdLst>
                <a:gd name="T0" fmla="*/ 0 w 117"/>
                <a:gd name="T1" fmla="*/ 27 h 122"/>
                <a:gd name="T2" fmla="*/ 0 w 117"/>
                <a:gd name="T3" fmla="*/ 27 h 122"/>
                <a:gd name="T4" fmla="*/ 21 w 117"/>
                <a:gd name="T5" fmla="*/ 121 h 122"/>
                <a:gd name="T6" fmla="*/ 116 w 117"/>
                <a:gd name="T7" fmla="*/ 90 h 122"/>
                <a:gd name="T8" fmla="*/ 84 w 117"/>
                <a:gd name="T9" fmla="*/ 0 h 122"/>
                <a:gd name="T10" fmla="*/ 0 w 117"/>
                <a:gd name="T11" fmla="*/ 27 h 122"/>
              </a:gdLst>
              <a:ahLst/>
              <a:cxnLst>
                <a:cxn ang="0">
                  <a:pos x="T0" y="T1"/>
                </a:cxn>
                <a:cxn ang="0">
                  <a:pos x="T2" y="T3"/>
                </a:cxn>
                <a:cxn ang="0">
                  <a:pos x="T4" y="T5"/>
                </a:cxn>
                <a:cxn ang="0">
                  <a:pos x="T6" y="T7"/>
                </a:cxn>
                <a:cxn ang="0">
                  <a:pos x="T8" y="T9"/>
                </a:cxn>
                <a:cxn ang="0">
                  <a:pos x="T10" y="T11"/>
                </a:cxn>
              </a:cxnLst>
              <a:rect l="0" t="0" r="r" b="b"/>
              <a:pathLst>
                <a:path w="117" h="122">
                  <a:moveTo>
                    <a:pt x="0" y="27"/>
                  </a:moveTo>
                  <a:lnTo>
                    <a:pt x="0" y="27"/>
                  </a:lnTo>
                  <a:cubicBezTo>
                    <a:pt x="21" y="121"/>
                    <a:pt x="14" y="90"/>
                    <a:pt x="21" y="121"/>
                  </a:cubicBezTo>
                  <a:cubicBezTo>
                    <a:pt x="53" y="111"/>
                    <a:pt x="90" y="100"/>
                    <a:pt x="116" y="90"/>
                  </a:cubicBezTo>
                  <a:cubicBezTo>
                    <a:pt x="84" y="0"/>
                    <a:pt x="95" y="30"/>
                    <a:pt x="84" y="0"/>
                  </a:cubicBezTo>
                  <a:cubicBezTo>
                    <a:pt x="58" y="11"/>
                    <a:pt x="27" y="22"/>
                    <a:pt x="0" y="2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4" name="Freeform 172">
              <a:extLst>
                <a:ext uri="{FF2B5EF4-FFF2-40B4-BE49-F238E27FC236}">
                  <a16:creationId xmlns:a16="http://schemas.microsoft.com/office/drawing/2014/main" id="{1C4ACC81-C1D0-78BB-D34B-E5E1DF0FE247}"/>
                </a:ext>
              </a:extLst>
            </p:cNvPr>
            <p:cNvSpPr>
              <a:spLocks noChangeArrowheads="1"/>
            </p:cNvSpPr>
            <p:nvPr/>
          </p:nvSpPr>
          <p:spPr bwMode="auto">
            <a:xfrm>
              <a:off x="5468938" y="5480050"/>
              <a:ext cx="33337" cy="33338"/>
            </a:xfrm>
            <a:custGeom>
              <a:avLst/>
              <a:gdLst>
                <a:gd name="T0" fmla="*/ 0 w 101"/>
                <a:gd name="T1" fmla="*/ 6 h 101"/>
                <a:gd name="T2" fmla="*/ 0 w 101"/>
                <a:gd name="T3" fmla="*/ 6 h 101"/>
                <a:gd name="T4" fmla="*/ 0 w 101"/>
                <a:gd name="T5" fmla="*/ 6 h 101"/>
                <a:gd name="T6" fmla="*/ 0 w 101"/>
                <a:gd name="T7" fmla="*/ 100 h 101"/>
                <a:gd name="T8" fmla="*/ 100 w 101"/>
                <a:gd name="T9" fmla="*/ 95 h 101"/>
                <a:gd name="T10" fmla="*/ 89 w 101"/>
                <a:gd name="T11" fmla="*/ 0 h 101"/>
                <a:gd name="T12" fmla="*/ 0 w 101"/>
                <a:gd name="T13" fmla="*/ 6 h 101"/>
              </a:gdLst>
              <a:ahLst/>
              <a:cxnLst>
                <a:cxn ang="0">
                  <a:pos x="T0" y="T1"/>
                </a:cxn>
                <a:cxn ang="0">
                  <a:pos x="T2" y="T3"/>
                </a:cxn>
                <a:cxn ang="0">
                  <a:pos x="T4" y="T5"/>
                </a:cxn>
                <a:cxn ang="0">
                  <a:pos x="T6" y="T7"/>
                </a:cxn>
                <a:cxn ang="0">
                  <a:pos x="T8" y="T9"/>
                </a:cxn>
                <a:cxn ang="0">
                  <a:pos x="T10" y="T11"/>
                </a:cxn>
                <a:cxn ang="0">
                  <a:pos x="T12" y="T13"/>
                </a:cxn>
              </a:cxnLst>
              <a:rect l="0" t="0" r="r" b="b"/>
              <a:pathLst>
                <a:path w="101" h="101">
                  <a:moveTo>
                    <a:pt x="0" y="6"/>
                  </a:moveTo>
                  <a:lnTo>
                    <a:pt x="0" y="6"/>
                  </a:lnTo>
                  <a:lnTo>
                    <a:pt x="0" y="6"/>
                  </a:lnTo>
                  <a:cubicBezTo>
                    <a:pt x="0" y="100"/>
                    <a:pt x="0" y="69"/>
                    <a:pt x="0" y="100"/>
                  </a:cubicBezTo>
                  <a:cubicBezTo>
                    <a:pt x="31" y="100"/>
                    <a:pt x="68" y="100"/>
                    <a:pt x="100" y="95"/>
                  </a:cubicBezTo>
                  <a:cubicBezTo>
                    <a:pt x="89" y="0"/>
                    <a:pt x="93" y="32"/>
                    <a:pt x="89" y="0"/>
                  </a:cubicBezTo>
                  <a:cubicBezTo>
                    <a:pt x="57" y="6"/>
                    <a:pt x="31" y="6"/>
                    <a:pt x="0" y="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5" name="Freeform 173">
              <a:extLst>
                <a:ext uri="{FF2B5EF4-FFF2-40B4-BE49-F238E27FC236}">
                  <a16:creationId xmlns:a16="http://schemas.microsoft.com/office/drawing/2014/main" id="{8436271F-7110-605C-190D-F6339000E290}"/>
                </a:ext>
              </a:extLst>
            </p:cNvPr>
            <p:cNvSpPr>
              <a:spLocks noChangeArrowheads="1"/>
            </p:cNvSpPr>
            <p:nvPr/>
          </p:nvSpPr>
          <p:spPr bwMode="auto">
            <a:xfrm>
              <a:off x="5684838" y="5341938"/>
              <a:ext cx="44450" cy="44450"/>
            </a:xfrm>
            <a:custGeom>
              <a:avLst/>
              <a:gdLst>
                <a:gd name="T0" fmla="*/ 0 w 133"/>
                <a:gd name="T1" fmla="*/ 73 h 132"/>
                <a:gd name="T2" fmla="*/ 0 w 133"/>
                <a:gd name="T3" fmla="*/ 73 h 132"/>
                <a:gd name="T4" fmla="*/ 79 w 133"/>
                <a:gd name="T5" fmla="*/ 131 h 132"/>
                <a:gd name="T6" fmla="*/ 132 w 133"/>
                <a:gd name="T7" fmla="*/ 41 h 132"/>
                <a:gd name="T8" fmla="*/ 47 w 133"/>
                <a:gd name="T9" fmla="*/ 0 h 132"/>
                <a:gd name="T10" fmla="*/ 0 w 133"/>
                <a:gd name="T11" fmla="*/ 73 h 132"/>
              </a:gdLst>
              <a:ahLst/>
              <a:cxnLst>
                <a:cxn ang="0">
                  <a:pos x="T0" y="T1"/>
                </a:cxn>
                <a:cxn ang="0">
                  <a:pos x="T2" y="T3"/>
                </a:cxn>
                <a:cxn ang="0">
                  <a:pos x="T4" y="T5"/>
                </a:cxn>
                <a:cxn ang="0">
                  <a:pos x="T6" y="T7"/>
                </a:cxn>
                <a:cxn ang="0">
                  <a:pos x="T8" y="T9"/>
                </a:cxn>
                <a:cxn ang="0">
                  <a:pos x="T10" y="T11"/>
                </a:cxn>
              </a:cxnLst>
              <a:rect l="0" t="0" r="r" b="b"/>
              <a:pathLst>
                <a:path w="133" h="132">
                  <a:moveTo>
                    <a:pt x="0" y="73"/>
                  </a:moveTo>
                  <a:lnTo>
                    <a:pt x="0" y="73"/>
                  </a:lnTo>
                  <a:cubicBezTo>
                    <a:pt x="79" y="131"/>
                    <a:pt x="53" y="112"/>
                    <a:pt x="79" y="131"/>
                  </a:cubicBezTo>
                  <a:cubicBezTo>
                    <a:pt x="100" y="99"/>
                    <a:pt x="116" y="73"/>
                    <a:pt x="132" y="41"/>
                  </a:cubicBezTo>
                  <a:cubicBezTo>
                    <a:pt x="47" y="0"/>
                    <a:pt x="76" y="14"/>
                    <a:pt x="47" y="0"/>
                  </a:cubicBezTo>
                  <a:cubicBezTo>
                    <a:pt x="32" y="26"/>
                    <a:pt x="16" y="52"/>
                    <a:pt x="0" y="7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6" name="Freeform 174">
              <a:extLst>
                <a:ext uri="{FF2B5EF4-FFF2-40B4-BE49-F238E27FC236}">
                  <a16:creationId xmlns:a16="http://schemas.microsoft.com/office/drawing/2014/main" id="{9BB58A47-5AFC-F501-08CA-4360755146BA}"/>
                </a:ext>
              </a:extLst>
            </p:cNvPr>
            <p:cNvSpPr>
              <a:spLocks noChangeArrowheads="1"/>
            </p:cNvSpPr>
            <p:nvPr/>
          </p:nvSpPr>
          <p:spPr bwMode="auto">
            <a:xfrm>
              <a:off x="5715000" y="5283200"/>
              <a:ext cx="39687" cy="39688"/>
            </a:xfrm>
            <a:custGeom>
              <a:avLst/>
              <a:gdLst>
                <a:gd name="T0" fmla="*/ 0 w 117"/>
                <a:gd name="T1" fmla="*/ 85 h 117"/>
                <a:gd name="T2" fmla="*/ 0 w 117"/>
                <a:gd name="T3" fmla="*/ 85 h 117"/>
                <a:gd name="T4" fmla="*/ 90 w 117"/>
                <a:gd name="T5" fmla="*/ 116 h 117"/>
                <a:gd name="T6" fmla="*/ 116 w 117"/>
                <a:gd name="T7" fmla="*/ 22 h 117"/>
                <a:gd name="T8" fmla="*/ 27 w 117"/>
                <a:gd name="T9" fmla="*/ 0 h 117"/>
                <a:gd name="T10" fmla="*/ 0 w 117"/>
                <a:gd name="T11" fmla="*/ 85 h 117"/>
              </a:gdLst>
              <a:ahLst/>
              <a:cxnLst>
                <a:cxn ang="0">
                  <a:pos x="T0" y="T1"/>
                </a:cxn>
                <a:cxn ang="0">
                  <a:pos x="T2" y="T3"/>
                </a:cxn>
                <a:cxn ang="0">
                  <a:pos x="T4" y="T5"/>
                </a:cxn>
                <a:cxn ang="0">
                  <a:pos x="T6" y="T7"/>
                </a:cxn>
                <a:cxn ang="0">
                  <a:pos x="T8" y="T9"/>
                </a:cxn>
                <a:cxn ang="0">
                  <a:pos x="T10" y="T11"/>
                </a:cxn>
              </a:cxnLst>
              <a:rect l="0" t="0" r="r" b="b"/>
              <a:pathLst>
                <a:path w="117" h="117">
                  <a:moveTo>
                    <a:pt x="0" y="85"/>
                  </a:moveTo>
                  <a:lnTo>
                    <a:pt x="0" y="85"/>
                  </a:lnTo>
                  <a:cubicBezTo>
                    <a:pt x="90" y="116"/>
                    <a:pt x="60" y="106"/>
                    <a:pt x="90" y="116"/>
                  </a:cubicBezTo>
                  <a:cubicBezTo>
                    <a:pt x="100" y="85"/>
                    <a:pt x="111" y="53"/>
                    <a:pt x="116" y="22"/>
                  </a:cubicBezTo>
                  <a:cubicBezTo>
                    <a:pt x="27" y="0"/>
                    <a:pt x="57" y="8"/>
                    <a:pt x="27" y="0"/>
                  </a:cubicBezTo>
                  <a:cubicBezTo>
                    <a:pt x="21" y="27"/>
                    <a:pt x="11" y="58"/>
                    <a:pt x="0" y="8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7" name="Freeform 175">
              <a:extLst>
                <a:ext uri="{FF2B5EF4-FFF2-40B4-BE49-F238E27FC236}">
                  <a16:creationId xmlns:a16="http://schemas.microsoft.com/office/drawing/2014/main" id="{9A27DCFE-FE5A-6266-F33C-BFD1C3DB6EC1}"/>
                </a:ext>
              </a:extLst>
            </p:cNvPr>
            <p:cNvSpPr>
              <a:spLocks noChangeArrowheads="1"/>
            </p:cNvSpPr>
            <p:nvPr/>
          </p:nvSpPr>
          <p:spPr bwMode="auto">
            <a:xfrm>
              <a:off x="5173663" y="5251450"/>
              <a:ext cx="36512" cy="36513"/>
            </a:xfrm>
            <a:custGeom>
              <a:avLst/>
              <a:gdLst>
                <a:gd name="T0" fmla="*/ 95 w 111"/>
                <a:gd name="T1" fmla="*/ 0 h 112"/>
                <a:gd name="T2" fmla="*/ 95 w 111"/>
                <a:gd name="T3" fmla="*/ 0 h 112"/>
                <a:gd name="T4" fmla="*/ 0 w 111"/>
                <a:gd name="T5" fmla="*/ 11 h 112"/>
                <a:gd name="T6" fmla="*/ 21 w 111"/>
                <a:gd name="T7" fmla="*/ 111 h 112"/>
                <a:gd name="T8" fmla="*/ 110 w 111"/>
                <a:gd name="T9" fmla="*/ 84 h 112"/>
                <a:gd name="T10" fmla="*/ 95 w 111"/>
                <a:gd name="T11" fmla="*/ 0 h 112"/>
              </a:gdLst>
              <a:ahLst/>
              <a:cxnLst>
                <a:cxn ang="0">
                  <a:pos x="T0" y="T1"/>
                </a:cxn>
                <a:cxn ang="0">
                  <a:pos x="T2" y="T3"/>
                </a:cxn>
                <a:cxn ang="0">
                  <a:pos x="T4" y="T5"/>
                </a:cxn>
                <a:cxn ang="0">
                  <a:pos x="T6" y="T7"/>
                </a:cxn>
                <a:cxn ang="0">
                  <a:pos x="T8" y="T9"/>
                </a:cxn>
                <a:cxn ang="0">
                  <a:pos x="T10" y="T11"/>
                </a:cxn>
              </a:cxnLst>
              <a:rect l="0" t="0" r="r" b="b"/>
              <a:pathLst>
                <a:path w="111" h="112">
                  <a:moveTo>
                    <a:pt x="95" y="0"/>
                  </a:moveTo>
                  <a:lnTo>
                    <a:pt x="95" y="0"/>
                  </a:lnTo>
                  <a:cubicBezTo>
                    <a:pt x="0" y="11"/>
                    <a:pt x="32" y="8"/>
                    <a:pt x="0" y="11"/>
                  </a:cubicBezTo>
                  <a:cubicBezTo>
                    <a:pt x="5" y="42"/>
                    <a:pt x="11" y="74"/>
                    <a:pt x="21" y="111"/>
                  </a:cubicBezTo>
                  <a:cubicBezTo>
                    <a:pt x="110" y="84"/>
                    <a:pt x="81" y="93"/>
                    <a:pt x="110" y="84"/>
                  </a:cubicBezTo>
                  <a:cubicBezTo>
                    <a:pt x="105" y="58"/>
                    <a:pt x="100" y="26"/>
                    <a:pt x="95"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8" name="Freeform 176">
              <a:extLst>
                <a:ext uri="{FF2B5EF4-FFF2-40B4-BE49-F238E27FC236}">
                  <a16:creationId xmlns:a16="http://schemas.microsoft.com/office/drawing/2014/main" id="{6A70398C-D0A2-CEC4-3CB2-FB3011290AF9}"/>
                </a:ext>
              </a:extLst>
            </p:cNvPr>
            <p:cNvSpPr>
              <a:spLocks noChangeArrowheads="1"/>
            </p:cNvSpPr>
            <p:nvPr/>
          </p:nvSpPr>
          <p:spPr bwMode="auto">
            <a:xfrm>
              <a:off x="5397500" y="5473700"/>
              <a:ext cx="36512" cy="36513"/>
            </a:xfrm>
            <a:custGeom>
              <a:avLst/>
              <a:gdLst>
                <a:gd name="T0" fmla="*/ 0 w 111"/>
                <a:gd name="T1" fmla="*/ 94 h 111"/>
                <a:gd name="T2" fmla="*/ 0 w 111"/>
                <a:gd name="T3" fmla="*/ 94 h 111"/>
                <a:gd name="T4" fmla="*/ 100 w 111"/>
                <a:gd name="T5" fmla="*/ 110 h 111"/>
                <a:gd name="T6" fmla="*/ 110 w 111"/>
                <a:gd name="T7" fmla="*/ 15 h 111"/>
                <a:gd name="T8" fmla="*/ 26 w 111"/>
                <a:gd name="T9" fmla="*/ 0 h 111"/>
                <a:gd name="T10" fmla="*/ 0 w 111"/>
                <a:gd name="T11" fmla="*/ 94 h 111"/>
              </a:gdLst>
              <a:ahLst/>
              <a:cxnLst>
                <a:cxn ang="0">
                  <a:pos x="T0" y="T1"/>
                </a:cxn>
                <a:cxn ang="0">
                  <a:pos x="T2" y="T3"/>
                </a:cxn>
                <a:cxn ang="0">
                  <a:pos x="T4" y="T5"/>
                </a:cxn>
                <a:cxn ang="0">
                  <a:pos x="T6" y="T7"/>
                </a:cxn>
                <a:cxn ang="0">
                  <a:pos x="T8" y="T9"/>
                </a:cxn>
                <a:cxn ang="0">
                  <a:pos x="T10" y="T11"/>
                </a:cxn>
              </a:cxnLst>
              <a:rect l="0" t="0" r="r" b="b"/>
              <a:pathLst>
                <a:path w="111" h="111">
                  <a:moveTo>
                    <a:pt x="0" y="94"/>
                  </a:moveTo>
                  <a:lnTo>
                    <a:pt x="0" y="94"/>
                  </a:lnTo>
                  <a:cubicBezTo>
                    <a:pt x="31" y="100"/>
                    <a:pt x="68" y="105"/>
                    <a:pt x="100" y="110"/>
                  </a:cubicBezTo>
                  <a:cubicBezTo>
                    <a:pt x="110" y="15"/>
                    <a:pt x="107" y="47"/>
                    <a:pt x="110" y="15"/>
                  </a:cubicBezTo>
                  <a:cubicBezTo>
                    <a:pt x="84" y="10"/>
                    <a:pt x="52" y="5"/>
                    <a:pt x="26" y="0"/>
                  </a:cubicBezTo>
                  <a:cubicBezTo>
                    <a:pt x="18" y="32"/>
                    <a:pt x="9" y="63"/>
                    <a:pt x="0"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29" name="Freeform 177">
              <a:extLst>
                <a:ext uri="{FF2B5EF4-FFF2-40B4-BE49-F238E27FC236}">
                  <a16:creationId xmlns:a16="http://schemas.microsoft.com/office/drawing/2014/main" id="{C319D75E-4BAE-3171-2567-856FA8799117}"/>
                </a:ext>
              </a:extLst>
            </p:cNvPr>
            <p:cNvSpPr>
              <a:spLocks noChangeArrowheads="1"/>
            </p:cNvSpPr>
            <p:nvPr/>
          </p:nvSpPr>
          <p:spPr bwMode="auto">
            <a:xfrm>
              <a:off x="5191125" y="5311775"/>
              <a:ext cx="42862" cy="42863"/>
            </a:xfrm>
            <a:custGeom>
              <a:avLst/>
              <a:gdLst>
                <a:gd name="T0" fmla="*/ 90 w 127"/>
                <a:gd name="T1" fmla="*/ 0 h 127"/>
                <a:gd name="T2" fmla="*/ 90 w 127"/>
                <a:gd name="T3" fmla="*/ 0 h 127"/>
                <a:gd name="T4" fmla="*/ 0 w 127"/>
                <a:gd name="T5" fmla="*/ 37 h 127"/>
                <a:gd name="T6" fmla="*/ 43 w 127"/>
                <a:gd name="T7" fmla="*/ 126 h 127"/>
                <a:gd name="T8" fmla="*/ 126 w 127"/>
                <a:gd name="T9" fmla="*/ 85 h 127"/>
                <a:gd name="T10" fmla="*/ 90 w 127"/>
                <a:gd name="T11" fmla="*/ 0 h 127"/>
              </a:gdLst>
              <a:ahLst/>
              <a:cxnLst>
                <a:cxn ang="0">
                  <a:pos x="T0" y="T1"/>
                </a:cxn>
                <a:cxn ang="0">
                  <a:pos x="T2" y="T3"/>
                </a:cxn>
                <a:cxn ang="0">
                  <a:pos x="T4" y="T5"/>
                </a:cxn>
                <a:cxn ang="0">
                  <a:pos x="T6" y="T7"/>
                </a:cxn>
                <a:cxn ang="0">
                  <a:pos x="T8" y="T9"/>
                </a:cxn>
                <a:cxn ang="0">
                  <a:pos x="T10" y="T11"/>
                </a:cxn>
              </a:cxnLst>
              <a:rect l="0" t="0" r="r" b="b"/>
              <a:pathLst>
                <a:path w="127" h="127">
                  <a:moveTo>
                    <a:pt x="90" y="0"/>
                  </a:moveTo>
                  <a:lnTo>
                    <a:pt x="90" y="0"/>
                  </a:lnTo>
                  <a:cubicBezTo>
                    <a:pt x="0" y="37"/>
                    <a:pt x="30" y="25"/>
                    <a:pt x="0" y="37"/>
                  </a:cubicBezTo>
                  <a:cubicBezTo>
                    <a:pt x="11" y="69"/>
                    <a:pt x="27" y="95"/>
                    <a:pt x="43" y="126"/>
                  </a:cubicBezTo>
                  <a:cubicBezTo>
                    <a:pt x="126" y="85"/>
                    <a:pt x="99" y="99"/>
                    <a:pt x="126" y="85"/>
                  </a:cubicBezTo>
                  <a:cubicBezTo>
                    <a:pt x="111" y="58"/>
                    <a:pt x="100" y="26"/>
                    <a:pt x="90"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30" name="Freeform 178">
              <a:extLst>
                <a:ext uri="{FF2B5EF4-FFF2-40B4-BE49-F238E27FC236}">
                  <a16:creationId xmlns:a16="http://schemas.microsoft.com/office/drawing/2014/main" id="{2807581A-B971-B172-2862-C5B6B0856707}"/>
                </a:ext>
              </a:extLst>
            </p:cNvPr>
            <p:cNvSpPr>
              <a:spLocks noChangeArrowheads="1"/>
            </p:cNvSpPr>
            <p:nvPr/>
          </p:nvSpPr>
          <p:spPr bwMode="auto">
            <a:xfrm>
              <a:off x="5172075" y="5183188"/>
              <a:ext cx="33337" cy="33338"/>
            </a:xfrm>
            <a:custGeom>
              <a:avLst/>
              <a:gdLst>
                <a:gd name="T0" fmla="*/ 100 w 101"/>
                <a:gd name="T1" fmla="*/ 10 h 101"/>
                <a:gd name="T2" fmla="*/ 100 w 101"/>
                <a:gd name="T3" fmla="*/ 10 h 101"/>
                <a:gd name="T4" fmla="*/ 5 w 101"/>
                <a:gd name="T5" fmla="*/ 0 h 101"/>
                <a:gd name="T6" fmla="*/ 0 w 101"/>
                <a:gd name="T7" fmla="*/ 100 h 101"/>
                <a:gd name="T8" fmla="*/ 95 w 101"/>
                <a:gd name="T9" fmla="*/ 100 h 101"/>
                <a:gd name="T10" fmla="*/ 100 w 101"/>
                <a:gd name="T11" fmla="*/ 10 h 101"/>
              </a:gdLst>
              <a:ahLst/>
              <a:cxnLst>
                <a:cxn ang="0">
                  <a:pos x="T0" y="T1"/>
                </a:cxn>
                <a:cxn ang="0">
                  <a:pos x="T2" y="T3"/>
                </a:cxn>
                <a:cxn ang="0">
                  <a:pos x="T4" y="T5"/>
                </a:cxn>
                <a:cxn ang="0">
                  <a:pos x="T6" y="T7"/>
                </a:cxn>
                <a:cxn ang="0">
                  <a:pos x="T8" y="T9"/>
                </a:cxn>
                <a:cxn ang="0">
                  <a:pos x="T10" y="T11"/>
                </a:cxn>
              </a:cxnLst>
              <a:rect l="0" t="0" r="r" b="b"/>
              <a:pathLst>
                <a:path w="101" h="101">
                  <a:moveTo>
                    <a:pt x="100" y="10"/>
                  </a:moveTo>
                  <a:lnTo>
                    <a:pt x="100" y="10"/>
                  </a:lnTo>
                  <a:cubicBezTo>
                    <a:pt x="5" y="0"/>
                    <a:pt x="37" y="4"/>
                    <a:pt x="5" y="0"/>
                  </a:cubicBezTo>
                  <a:cubicBezTo>
                    <a:pt x="0" y="31"/>
                    <a:pt x="0" y="68"/>
                    <a:pt x="0" y="100"/>
                  </a:cubicBezTo>
                  <a:cubicBezTo>
                    <a:pt x="95" y="100"/>
                    <a:pt x="64" y="100"/>
                    <a:pt x="95" y="100"/>
                  </a:cubicBezTo>
                  <a:cubicBezTo>
                    <a:pt x="95" y="68"/>
                    <a:pt x="95" y="42"/>
                    <a:pt x="100" y="1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31" name="Freeform 179">
              <a:extLst>
                <a:ext uri="{FF2B5EF4-FFF2-40B4-BE49-F238E27FC236}">
                  <a16:creationId xmlns:a16="http://schemas.microsoft.com/office/drawing/2014/main" id="{2A7A119A-F7BD-1624-C71D-7E28EDDFE0CB}"/>
                </a:ext>
              </a:extLst>
            </p:cNvPr>
            <p:cNvSpPr>
              <a:spLocks noChangeArrowheads="1"/>
            </p:cNvSpPr>
            <p:nvPr/>
          </p:nvSpPr>
          <p:spPr bwMode="auto">
            <a:xfrm>
              <a:off x="5224463" y="5368925"/>
              <a:ext cx="44450" cy="44450"/>
            </a:xfrm>
            <a:custGeom>
              <a:avLst/>
              <a:gdLst>
                <a:gd name="T0" fmla="*/ 79 w 132"/>
                <a:gd name="T1" fmla="*/ 0 h 132"/>
                <a:gd name="T2" fmla="*/ 79 w 132"/>
                <a:gd name="T3" fmla="*/ 0 h 132"/>
                <a:gd name="T4" fmla="*/ 0 w 132"/>
                <a:gd name="T5" fmla="*/ 53 h 132"/>
                <a:gd name="T6" fmla="*/ 58 w 132"/>
                <a:gd name="T7" fmla="*/ 131 h 132"/>
                <a:gd name="T8" fmla="*/ 131 w 132"/>
                <a:gd name="T9" fmla="*/ 68 h 132"/>
                <a:gd name="T10" fmla="*/ 79 w 132"/>
                <a:gd name="T11" fmla="*/ 0 h 132"/>
              </a:gdLst>
              <a:ahLst/>
              <a:cxnLst>
                <a:cxn ang="0">
                  <a:pos x="T0" y="T1"/>
                </a:cxn>
                <a:cxn ang="0">
                  <a:pos x="T2" y="T3"/>
                </a:cxn>
                <a:cxn ang="0">
                  <a:pos x="T4" y="T5"/>
                </a:cxn>
                <a:cxn ang="0">
                  <a:pos x="T6" y="T7"/>
                </a:cxn>
                <a:cxn ang="0">
                  <a:pos x="T8" y="T9"/>
                </a:cxn>
                <a:cxn ang="0">
                  <a:pos x="T10" y="T11"/>
                </a:cxn>
              </a:cxnLst>
              <a:rect l="0" t="0" r="r" b="b"/>
              <a:pathLst>
                <a:path w="132" h="132">
                  <a:moveTo>
                    <a:pt x="79" y="0"/>
                  </a:moveTo>
                  <a:lnTo>
                    <a:pt x="79" y="0"/>
                  </a:lnTo>
                  <a:cubicBezTo>
                    <a:pt x="0" y="53"/>
                    <a:pt x="27" y="36"/>
                    <a:pt x="0" y="53"/>
                  </a:cubicBezTo>
                  <a:cubicBezTo>
                    <a:pt x="16" y="79"/>
                    <a:pt x="37" y="105"/>
                    <a:pt x="58" y="131"/>
                  </a:cubicBezTo>
                  <a:cubicBezTo>
                    <a:pt x="131" y="68"/>
                    <a:pt x="107" y="89"/>
                    <a:pt x="131" y="68"/>
                  </a:cubicBezTo>
                  <a:cubicBezTo>
                    <a:pt x="111" y="47"/>
                    <a:pt x="95" y="26"/>
                    <a:pt x="79"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32" name="Freeform 180">
              <a:extLst>
                <a:ext uri="{FF2B5EF4-FFF2-40B4-BE49-F238E27FC236}">
                  <a16:creationId xmlns:a16="http://schemas.microsoft.com/office/drawing/2014/main" id="{3D1E81D9-1307-0C2F-6864-8241CA4EED82}"/>
                </a:ext>
              </a:extLst>
            </p:cNvPr>
            <p:cNvSpPr>
              <a:spLocks noChangeArrowheads="1"/>
            </p:cNvSpPr>
            <p:nvPr/>
          </p:nvSpPr>
          <p:spPr bwMode="auto">
            <a:xfrm>
              <a:off x="5272088" y="5414963"/>
              <a:ext cx="44450" cy="44450"/>
            </a:xfrm>
            <a:custGeom>
              <a:avLst/>
              <a:gdLst>
                <a:gd name="T0" fmla="*/ 0 w 133"/>
                <a:gd name="T1" fmla="*/ 69 h 133"/>
                <a:gd name="T2" fmla="*/ 0 w 133"/>
                <a:gd name="T3" fmla="*/ 69 h 133"/>
                <a:gd name="T4" fmla="*/ 80 w 133"/>
                <a:gd name="T5" fmla="*/ 132 h 133"/>
                <a:gd name="T6" fmla="*/ 132 w 133"/>
                <a:gd name="T7" fmla="*/ 53 h 133"/>
                <a:gd name="T8" fmla="*/ 64 w 133"/>
                <a:gd name="T9" fmla="*/ 0 h 133"/>
                <a:gd name="T10" fmla="*/ 0 w 133"/>
                <a:gd name="T11" fmla="*/ 69 h 133"/>
              </a:gdLst>
              <a:ahLst/>
              <a:cxnLst>
                <a:cxn ang="0">
                  <a:pos x="T0" y="T1"/>
                </a:cxn>
                <a:cxn ang="0">
                  <a:pos x="T2" y="T3"/>
                </a:cxn>
                <a:cxn ang="0">
                  <a:pos x="T4" y="T5"/>
                </a:cxn>
                <a:cxn ang="0">
                  <a:pos x="T6" y="T7"/>
                </a:cxn>
                <a:cxn ang="0">
                  <a:pos x="T8" y="T9"/>
                </a:cxn>
                <a:cxn ang="0">
                  <a:pos x="T10" y="T11"/>
                </a:cxn>
              </a:cxnLst>
              <a:rect l="0" t="0" r="r" b="b"/>
              <a:pathLst>
                <a:path w="133" h="133">
                  <a:moveTo>
                    <a:pt x="0" y="69"/>
                  </a:moveTo>
                  <a:lnTo>
                    <a:pt x="0" y="69"/>
                  </a:lnTo>
                  <a:cubicBezTo>
                    <a:pt x="22" y="95"/>
                    <a:pt x="53" y="116"/>
                    <a:pt x="80" y="132"/>
                  </a:cubicBezTo>
                  <a:cubicBezTo>
                    <a:pt x="132" y="53"/>
                    <a:pt x="115" y="80"/>
                    <a:pt x="132" y="53"/>
                  </a:cubicBezTo>
                  <a:cubicBezTo>
                    <a:pt x="106" y="37"/>
                    <a:pt x="85" y="22"/>
                    <a:pt x="64" y="0"/>
                  </a:cubicBezTo>
                  <a:cubicBezTo>
                    <a:pt x="43" y="23"/>
                    <a:pt x="22" y="46"/>
                    <a:pt x="0" y="6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33" name="Freeform 181">
              <a:extLst>
                <a:ext uri="{FF2B5EF4-FFF2-40B4-BE49-F238E27FC236}">
                  <a16:creationId xmlns:a16="http://schemas.microsoft.com/office/drawing/2014/main" id="{55EE2053-442A-1865-A6AF-0F0966C28B42}"/>
                </a:ext>
              </a:extLst>
            </p:cNvPr>
            <p:cNvSpPr>
              <a:spLocks noChangeArrowheads="1"/>
            </p:cNvSpPr>
            <p:nvPr/>
          </p:nvSpPr>
          <p:spPr bwMode="auto">
            <a:xfrm>
              <a:off x="5330825" y="5451475"/>
              <a:ext cx="42862" cy="42863"/>
            </a:xfrm>
            <a:custGeom>
              <a:avLst/>
              <a:gdLst>
                <a:gd name="T0" fmla="*/ 0 w 127"/>
                <a:gd name="T1" fmla="*/ 85 h 128"/>
                <a:gd name="T2" fmla="*/ 0 w 127"/>
                <a:gd name="T3" fmla="*/ 85 h 128"/>
                <a:gd name="T4" fmla="*/ 89 w 127"/>
                <a:gd name="T5" fmla="*/ 127 h 128"/>
                <a:gd name="T6" fmla="*/ 126 w 127"/>
                <a:gd name="T7" fmla="*/ 37 h 128"/>
                <a:gd name="T8" fmla="*/ 42 w 127"/>
                <a:gd name="T9" fmla="*/ 0 h 128"/>
                <a:gd name="T10" fmla="*/ 0 w 127"/>
                <a:gd name="T11" fmla="*/ 85 h 128"/>
              </a:gdLst>
              <a:ahLst/>
              <a:cxnLst>
                <a:cxn ang="0">
                  <a:pos x="T0" y="T1"/>
                </a:cxn>
                <a:cxn ang="0">
                  <a:pos x="T2" y="T3"/>
                </a:cxn>
                <a:cxn ang="0">
                  <a:pos x="T4" y="T5"/>
                </a:cxn>
                <a:cxn ang="0">
                  <a:pos x="T6" y="T7"/>
                </a:cxn>
                <a:cxn ang="0">
                  <a:pos x="T8" y="T9"/>
                </a:cxn>
                <a:cxn ang="0">
                  <a:pos x="T10" y="T11"/>
                </a:cxn>
              </a:cxnLst>
              <a:rect l="0" t="0" r="r" b="b"/>
              <a:pathLst>
                <a:path w="127" h="128">
                  <a:moveTo>
                    <a:pt x="0" y="85"/>
                  </a:moveTo>
                  <a:lnTo>
                    <a:pt x="0" y="85"/>
                  </a:lnTo>
                  <a:cubicBezTo>
                    <a:pt x="26" y="100"/>
                    <a:pt x="58" y="116"/>
                    <a:pt x="89" y="127"/>
                  </a:cubicBezTo>
                  <a:cubicBezTo>
                    <a:pt x="126" y="37"/>
                    <a:pt x="114" y="67"/>
                    <a:pt x="126" y="37"/>
                  </a:cubicBezTo>
                  <a:cubicBezTo>
                    <a:pt x="94" y="27"/>
                    <a:pt x="68" y="16"/>
                    <a:pt x="42" y="0"/>
                  </a:cubicBezTo>
                  <a:cubicBezTo>
                    <a:pt x="28" y="29"/>
                    <a:pt x="14" y="57"/>
                    <a:pt x="0" y="8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sp>
          <p:nvSpPr>
            <p:cNvPr id="34" name="Freeform 182">
              <a:extLst>
                <a:ext uri="{FF2B5EF4-FFF2-40B4-BE49-F238E27FC236}">
                  <a16:creationId xmlns:a16="http://schemas.microsoft.com/office/drawing/2014/main" id="{D6CA03E6-3209-01B7-6C08-17BD503BEFF9}"/>
                </a:ext>
              </a:extLst>
            </p:cNvPr>
            <p:cNvSpPr>
              <a:spLocks noChangeArrowheads="1"/>
            </p:cNvSpPr>
            <p:nvPr/>
          </p:nvSpPr>
          <p:spPr bwMode="auto">
            <a:xfrm>
              <a:off x="5397500" y="5146675"/>
              <a:ext cx="141287" cy="141288"/>
            </a:xfrm>
            <a:custGeom>
              <a:avLst/>
              <a:gdLst>
                <a:gd name="T0" fmla="*/ 200 w 401"/>
                <a:gd name="T1" fmla="*/ 0 h 401"/>
                <a:gd name="T2" fmla="*/ 200 w 401"/>
                <a:gd name="T3" fmla="*/ 0 h 401"/>
                <a:gd name="T4" fmla="*/ 0 w 401"/>
                <a:gd name="T5" fmla="*/ 200 h 401"/>
                <a:gd name="T6" fmla="*/ 200 w 401"/>
                <a:gd name="T7" fmla="*/ 400 h 401"/>
                <a:gd name="T8" fmla="*/ 400 w 401"/>
                <a:gd name="T9" fmla="*/ 200 h 401"/>
                <a:gd name="T10" fmla="*/ 200 w 401"/>
                <a:gd name="T11" fmla="*/ 0 h 401"/>
                <a:gd name="T12" fmla="*/ 200 w 401"/>
                <a:gd name="T13" fmla="*/ 305 h 401"/>
                <a:gd name="T14" fmla="*/ 200 w 401"/>
                <a:gd name="T15" fmla="*/ 305 h 401"/>
                <a:gd name="T16" fmla="*/ 94 w 401"/>
                <a:gd name="T17" fmla="*/ 200 h 401"/>
                <a:gd name="T18" fmla="*/ 200 w 401"/>
                <a:gd name="T19" fmla="*/ 94 h 401"/>
                <a:gd name="T20" fmla="*/ 305 w 401"/>
                <a:gd name="T21" fmla="*/ 200 h 401"/>
                <a:gd name="T22" fmla="*/ 200 w 401"/>
                <a:gd name="T23" fmla="*/ 30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401">
                  <a:moveTo>
                    <a:pt x="200" y="0"/>
                  </a:moveTo>
                  <a:lnTo>
                    <a:pt x="200" y="0"/>
                  </a:lnTo>
                  <a:cubicBezTo>
                    <a:pt x="89" y="0"/>
                    <a:pt x="0" y="89"/>
                    <a:pt x="0" y="200"/>
                  </a:cubicBezTo>
                  <a:cubicBezTo>
                    <a:pt x="0" y="310"/>
                    <a:pt x="89" y="400"/>
                    <a:pt x="200" y="400"/>
                  </a:cubicBezTo>
                  <a:cubicBezTo>
                    <a:pt x="310" y="400"/>
                    <a:pt x="400" y="310"/>
                    <a:pt x="400" y="200"/>
                  </a:cubicBezTo>
                  <a:cubicBezTo>
                    <a:pt x="400" y="89"/>
                    <a:pt x="310" y="0"/>
                    <a:pt x="200" y="0"/>
                  </a:cubicBezTo>
                  <a:close/>
                  <a:moveTo>
                    <a:pt x="200" y="305"/>
                  </a:moveTo>
                  <a:lnTo>
                    <a:pt x="200" y="305"/>
                  </a:lnTo>
                  <a:cubicBezTo>
                    <a:pt x="142" y="305"/>
                    <a:pt x="94" y="257"/>
                    <a:pt x="94" y="200"/>
                  </a:cubicBezTo>
                  <a:cubicBezTo>
                    <a:pt x="94" y="142"/>
                    <a:pt x="142" y="94"/>
                    <a:pt x="200" y="94"/>
                  </a:cubicBezTo>
                  <a:cubicBezTo>
                    <a:pt x="257" y="94"/>
                    <a:pt x="305" y="142"/>
                    <a:pt x="305" y="200"/>
                  </a:cubicBezTo>
                  <a:cubicBezTo>
                    <a:pt x="305" y="257"/>
                    <a:pt x="257" y="305"/>
                    <a:pt x="200" y="305"/>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endParaRPr lang="en-GB" sz="4050"/>
            </a:p>
          </p:txBody>
        </p:sp>
      </p:grpSp>
      <p:sp>
        <p:nvSpPr>
          <p:cNvPr id="36" name="Rounded Rectangle 17">
            <a:extLst>
              <a:ext uri="{FF2B5EF4-FFF2-40B4-BE49-F238E27FC236}">
                <a16:creationId xmlns:a16="http://schemas.microsoft.com/office/drawing/2014/main" id="{B5029045-3147-5345-2167-06B26EA21F2E}"/>
              </a:ext>
            </a:extLst>
          </p:cNvPr>
          <p:cNvSpPr/>
          <p:nvPr userDrawn="1"/>
        </p:nvSpPr>
        <p:spPr>
          <a:xfrm rot="18900000">
            <a:off x="7214121" y="2947319"/>
            <a:ext cx="956902" cy="956902"/>
          </a:xfrm>
          <a:prstGeom prst="roundRect">
            <a:avLst>
              <a:gd name="adj" fmla="val 26789"/>
            </a:avLst>
          </a:pr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50">
            <a:extLst>
              <a:ext uri="{FF2B5EF4-FFF2-40B4-BE49-F238E27FC236}">
                <a16:creationId xmlns:a16="http://schemas.microsoft.com/office/drawing/2014/main" id="{DDBBF854-0442-C5B3-6B59-2019B10768C2}"/>
              </a:ext>
            </a:extLst>
          </p:cNvPr>
          <p:cNvGrpSpPr/>
          <p:nvPr userDrawn="1"/>
        </p:nvGrpSpPr>
        <p:grpSpPr>
          <a:xfrm>
            <a:off x="3033597" y="5362579"/>
            <a:ext cx="866274" cy="152400"/>
            <a:chOff x="16144470" y="5085634"/>
            <a:chExt cx="866274" cy="152400"/>
          </a:xfrm>
        </p:grpSpPr>
        <p:cxnSp>
          <p:nvCxnSpPr>
            <p:cNvPr id="38" name="Straight Connector 51">
              <a:extLst>
                <a:ext uri="{FF2B5EF4-FFF2-40B4-BE49-F238E27FC236}">
                  <a16:creationId xmlns:a16="http://schemas.microsoft.com/office/drawing/2014/main" id="{9C65D4DA-B29B-43DA-DF62-FDF0E8BF6550}"/>
                </a:ext>
              </a:extLst>
            </p:cNvPr>
            <p:cNvCxnSpPr/>
            <p:nvPr/>
          </p:nvCxnSpPr>
          <p:spPr>
            <a:xfrm>
              <a:off x="16144470" y="5085634"/>
              <a:ext cx="8662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52">
              <a:extLst>
                <a:ext uri="{FF2B5EF4-FFF2-40B4-BE49-F238E27FC236}">
                  <a16:creationId xmlns:a16="http://schemas.microsoft.com/office/drawing/2014/main" id="{706AAF1E-A14E-9DB2-F5BE-A8B28BEA69B2}"/>
                </a:ext>
              </a:extLst>
            </p:cNvPr>
            <p:cNvCxnSpPr/>
            <p:nvPr/>
          </p:nvCxnSpPr>
          <p:spPr>
            <a:xfrm>
              <a:off x="16573500" y="5238034"/>
              <a:ext cx="43724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0" name="Segnaposto testo 4">
            <a:extLst>
              <a:ext uri="{FF2B5EF4-FFF2-40B4-BE49-F238E27FC236}">
                <a16:creationId xmlns:a16="http://schemas.microsoft.com/office/drawing/2014/main" id="{D7DDE999-0FA7-4370-D1C9-680F8DF29EDB}"/>
              </a:ext>
            </a:extLst>
          </p:cNvPr>
          <p:cNvSpPr>
            <a:spLocks noGrp="1"/>
          </p:cNvSpPr>
          <p:nvPr>
            <p:ph type="body" sz="quarter" idx="15" hasCustomPrompt="1"/>
          </p:nvPr>
        </p:nvSpPr>
        <p:spPr>
          <a:xfrm>
            <a:off x="530697" y="2474893"/>
            <a:ext cx="3397746" cy="248716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1" name="Titel 13">
            <a:extLst>
              <a:ext uri="{FF2B5EF4-FFF2-40B4-BE49-F238E27FC236}">
                <a16:creationId xmlns:a16="http://schemas.microsoft.com/office/drawing/2014/main" id="{8FC764A5-6D5C-3350-B53E-5C1952796222}"/>
              </a:ext>
            </a:extLst>
          </p:cNvPr>
          <p:cNvSpPr>
            <a:spLocks noGrp="1"/>
          </p:cNvSpPr>
          <p:nvPr>
            <p:ph type="title" hasCustomPrompt="1"/>
          </p:nvPr>
        </p:nvSpPr>
        <p:spPr>
          <a:xfrm>
            <a:off x="550863" y="549276"/>
            <a:ext cx="3947985" cy="827087"/>
          </a:xfrm>
        </p:spPr>
        <p:txBody>
          <a:bodyPr/>
          <a:lstStyle/>
          <a:p>
            <a:r>
              <a:rPr lang="nl-NL"/>
              <a:t>CLICK TO EDIT </a:t>
            </a:r>
            <a:endParaRPr lang="en-GB"/>
          </a:p>
        </p:txBody>
      </p:sp>
      <p:sp>
        <p:nvSpPr>
          <p:cNvPr id="42" name="Slide Number Placeholder 5">
            <a:extLst>
              <a:ext uri="{FF2B5EF4-FFF2-40B4-BE49-F238E27FC236}">
                <a16:creationId xmlns:a16="http://schemas.microsoft.com/office/drawing/2014/main" id="{EB697C1F-D2F8-07A2-8BBF-DBCACE863F8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3" name="Segnaposto piè di pagina 7">
            <a:extLst>
              <a:ext uri="{FF2B5EF4-FFF2-40B4-BE49-F238E27FC236}">
                <a16:creationId xmlns:a16="http://schemas.microsoft.com/office/drawing/2014/main" id="{582F51FD-46B6-9074-482C-B9E45E8DEF9B}"/>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16095544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 text_12">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4768490" y="549276"/>
            <a:ext cx="2252541" cy="5604781"/>
          </a:xfrm>
          <a:custGeom>
            <a:avLst/>
            <a:gdLst>
              <a:gd name="connsiteX0" fmla="*/ 0 w 3378811"/>
              <a:gd name="connsiteY0" fmla="*/ 0 h 7745186"/>
              <a:gd name="connsiteX1" fmla="*/ 3378811 w 3378811"/>
              <a:gd name="connsiteY1" fmla="*/ 0 h 7745186"/>
              <a:gd name="connsiteX2" fmla="*/ 3378811 w 3378811"/>
              <a:gd name="connsiteY2" fmla="*/ 7745186 h 7745186"/>
              <a:gd name="connsiteX3" fmla="*/ 0 w 3378811"/>
              <a:gd name="connsiteY3" fmla="*/ 7745186 h 7745186"/>
            </a:gdLst>
            <a:ahLst/>
            <a:cxnLst>
              <a:cxn ang="0">
                <a:pos x="connsiteX0" y="connsiteY0"/>
              </a:cxn>
              <a:cxn ang="0">
                <a:pos x="connsiteX1" y="connsiteY1"/>
              </a:cxn>
              <a:cxn ang="0">
                <a:pos x="connsiteX2" y="connsiteY2"/>
              </a:cxn>
              <a:cxn ang="0">
                <a:pos x="connsiteX3" y="connsiteY3"/>
              </a:cxn>
            </a:cxnLst>
            <a:rect l="l" t="t" r="r" b="b"/>
            <a:pathLst>
              <a:path w="3378811" h="7745186">
                <a:moveTo>
                  <a:pt x="0" y="0"/>
                </a:moveTo>
                <a:lnTo>
                  <a:pt x="3378811" y="0"/>
                </a:lnTo>
                <a:lnTo>
                  <a:pt x="3378811" y="7745186"/>
                </a:lnTo>
                <a:lnTo>
                  <a:pt x="0" y="7745186"/>
                </a:lnTo>
                <a:close/>
              </a:path>
            </a:pathLst>
          </a:custGeom>
        </p:spPr>
        <p:txBody>
          <a:bodyPr wrap="square">
            <a:noAutofit/>
          </a:bodyPr>
          <a:lstStyle/>
          <a:p>
            <a:r>
              <a:rPr lang="nl-NL"/>
              <a:t>Klik op het pictogram als u een afbeelding wilt toevoegen</a:t>
            </a:r>
            <a:endParaRPr lang="en-GB"/>
          </a:p>
        </p:txBody>
      </p:sp>
      <p:sp>
        <p:nvSpPr>
          <p:cNvPr id="13" name="Picture Placeholder 12"/>
          <p:cNvSpPr>
            <a:spLocks noGrp="1"/>
          </p:cNvSpPr>
          <p:nvPr>
            <p:ph type="pic" sz="quarter" idx="11"/>
          </p:nvPr>
        </p:nvSpPr>
        <p:spPr>
          <a:xfrm>
            <a:off x="7096619" y="549276"/>
            <a:ext cx="2252541" cy="5604781"/>
          </a:xfrm>
          <a:custGeom>
            <a:avLst/>
            <a:gdLst>
              <a:gd name="connsiteX0" fmla="*/ 0 w 3378811"/>
              <a:gd name="connsiteY0" fmla="*/ 0 h 7745186"/>
              <a:gd name="connsiteX1" fmla="*/ 3378811 w 3378811"/>
              <a:gd name="connsiteY1" fmla="*/ 0 h 7745186"/>
              <a:gd name="connsiteX2" fmla="*/ 3378811 w 3378811"/>
              <a:gd name="connsiteY2" fmla="*/ 7745186 h 7745186"/>
              <a:gd name="connsiteX3" fmla="*/ 0 w 3378811"/>
              <a:gd name="connsiteY3" fmla="*/ 7745186 h 7745186"/>
            </a:gdLst>
            <a:ahLst/>
            <a:cxnLst>
              <a:cxn ang="0">
                <a:pos x="connsiteX0" y="connsiteY0"/>
              </a:cxn>
              <a:cxn ang="0">
                <a:pos x="connsiteX1" y="connsiteY1"/>
              </a:cxn>
              <a:cxn ang="0">
                <a:pos x="connsiteX2" y="connsiteY2"/>
              </a:cxn>
              <a:cxn ang="0">
                <a:pos x="connsiteX3" y="connsiteY3"/>
              </a:cxn>
            </a:cxnLst>
            <a:rect l="l" t="t" r="r" b="b"/>
            <a:pathLst>
              <a:path w="3378811" h="7745186">
                <a:moveTo>
                  <a:pt x="0" y="0"/>
                </a:moveTo>
                <a:lnTo>
                  <a:pt x="3378811" y="0"/>
                </a:lnTo>
                <a:lnTo>
                  <a:pt x="3378811" y="7745186"/>
                </a:lnTo>
                <a:lnTo>
                  <a:pt x="0" y="7745186"/>
                </a:lnTo>
                <a:close/>
              </a:path>
            </a:pathLst>
          </a:custGeom>
        </p:spPr>
        <p:txBody>
          <a:bodyPr wrap="square">
            <a:noAutofit/>
          </a:bodyPr>
          <a:lstStyle/>
          <a:p>
            <a:r>
              <a:rPr lang="nl-NL"/>
              <a:t>Klik op het pictogram als u een afbeelding wilt toevoegen</a:t>
            </a:r>
            <a:endParaRPr lang="en-GB"/>
          </a:p>
        </p:txBody>
      </p:sp>
      <p:sp>
        <p:nvSpPr>
          <p:cNvPr id="12" name="Picture Placeholder 11"/>
          <p:cNvSpPr>
            <a:spLocks noGrp="1"/>
          </p:cNvSpPr>
          <p:nvPr>
            <p:ph type="pic" sz="quarter" idx="12"/>
          </p:nvPr>
        </p:nvSpPr>
        <p:spPr>
          <a:xfrm>
            <a:off x="9424748" y="549276"/>
            <a:ext cx="2252540" cy="5604781"/>
          </a:xfrm>
          <a:custGeom>
            <a:avLst/>
            <a:gdLst>
              <a:gd name="connsiteX0" fmla="*/ 0 w 3378810"/>
              <a:gd name="connsiteY0" fmla="*/ 0 h 7745186"/>
              <a:gd name="connsiteX1" fmla="*/ 3378810 w 3378810"/>
              <a:gd name="connsiteY1" fmla="*/ 0 h 7745186"/>
              <a:gd name="connsiteX2" fmla="*/ 3378810 w 3378810"/>
              <a:gd name="connsiteY2" fmla="*/ 7745186 h 7745186"/>
              <a:gd name="connsiteX3" fmla="*/ 0 w 3378810"/>
              <a:gd name="connsiteY3" fmla="*/ 7745186 h 7745186"/>
            </a:gdLst>
            <a:ahLst/>
            <a:cxnLst>
              <a:cxn ang="0">
                <a:pos x="connsiteX0" y="connsiteY0"/>
              </a:cxn>
              <a:cxn ang="0">
                <a:pos x="connsiteX1" y="connsiteY1"/>
              </a:cxn>
              <a:cxn ang="0">
                <a:pos x="connsiteX2" y="connsiteY2"/>
              </a:cxn>
              <a:cxn ang="0">
                <a:pos x="connsiteX3" y="connsiteY3"/>
              </a:cxn>
            </a:cxnLst>
            <a:rect l="l" t="t" r="r" b="b"/>
            <a:pathLst>
              <a:path w="3378810" h="7745186">
                <a:moveTo>
                  <a:pt x="0" y="0"/>
                </a:moveTo>
                <a:lnTo>
                  <a:pt x="3378810" y="0"/>
                </a:lnTo>
                <a:lnTo>
                  <a:pt x="3378810" y="7745186"/>
                </a:lnTo>
                <a:lnTo>
                  <a:pt x="0" y="7745186"/>
                </a:lnTo>
                <a:close/>
              </a:path>
            </a:pathLst>
          </a:custGeom>
        </p:spPr>
        <p:txBody>
          <a:bodyPr wrap="square">
            <a:noAutofit/>
          </a:bodyPr>
          <a:lstStyle/>
          <a:p>
            <a:r>
              <a:rPr lang="nl-NL"/>
              <a:t>Klik op het pictogram als u een afbeelding wilt toevoegen</a:t>
            </a:r>
            <a:endParaRPr lang="en-GB"/>
          </a:p>
        </p:txBody>
      </p:sp>
      <p:cxnSp>
        <p:nvCxnSpPr>
          <p:cNvPr id="2" name="Straight Connector 111">
            <a:extLst>
              <a:ext uri="{FF2B5EF4-FFF2-40B4-BE49-F238E27FC236}">
                <a16:creationId xmlns:a16="http://schemas.microsoft.com/office/drawing/2014/main" id="{6DE1925C-342F-6FEF-073B-D12415BA76E2}"/>
              </a:ext>
            </a:extLst>
          </p:cNvPr>
          <p:cNvCxnSpPr>
            <a:cxnSpLocks noChangeAspect="1"/>
          </p:cNvCxnSpPr>
          <p:nvPr userDrawn="1"/>
        </p:nvCxnSpPr>
        <p:spPr>
          <a:xfrm>
            <a:off x="4988607" y="5280833"/>
            <a:ext cx="4271869"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12">
            <a:extLst>
              <a:ext uri="{FF2B5EF4-FFF2-40B4-BE49-F238E27FC236}">
                <a16:creationId xmlns:a16="http://schemas.microsoft.com/office/drawing/2014/main" id="{350F661D-4D3F-D90C-6864-C3042C975686}"/>
              </a:ext>
            </a:extLst>
          </p:cNvPr>
          <p:cNvCxnSpPr>
            <a:cxnSpLocks noChangeAspect="1"/>
          </p:cNvCxnSpPr>
          <p:nvPr userDrawn="1"/>
        </p:nvCxnSpPr>
        <p:spPr>
          <a:xfrm>
            <a:off x="488835" y="5277023"/>
            <a:ext cx="427965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Rounded Rectangle 26">
            <a:extLst>
              <a:ext uri="{FF2B5EF4-FFF2-40B4-BE49-F238E27FC236}">
                <a16:creationId xmlns:a16="http://schemas.microsoft.com/office/drawing/2014/main" id="{23D8C06E-093F-A687-3EB3-CCCFA49FD9D3}"/>
              </a:ext>
            </a:extLst>
          </p:cNvPr>
          <p:cNvSpPr>
            <a:spLocks noChangeAspect="1"/>
          </p:cNvSpPr>
          <p:nvPr userDrawn="1"/>
        </p:nvSpPr>
        <p:spPr>
          <a:xfrm rot="18900000">
            <a:off x="4749526" y="4952606"/>
            <a:ext cx="653224" cy="653224"/>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59">
            <a:extLst>
              <a:ext uri="{FF2B5EF4-FFF2-40B4-BE49-F238E27FC236}">
                <a16:creationId xmlns:a16="http://schemas.microsoft.com/office/drawing/2014/main" id="{BF85D119-8743-7D97-AEFE-EED8D82860D2}"/>
              </a:ext>
            </a:extLst>
          </p:cNvPr>
          <p:cNvSpPr>
            <a:spLocks noChangeAspect="1"/>
          </p:cNvSpPr>
          <p:nvPr userDrawn="1"/>
        </p:nvSpPr>
        <p:spPr>
          <a:xfrm rot="18900000">
            <a:off x="6715056" y="4952606"/>
            <a:ext cx="653224" cy="653224"/>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60">
            <a:extLst>
              <a:ext uri="{FF2B5EF4-FFF2-40B4-BE49-F238E27FC236}">
                <a16:creationId xmlns:a16="http://schemas.microsoft.com/office/drawing/2014/main" id="{EF6B1F2C-0596-7A75-8A01-D29FA7E32AD7}"/>
              </a:ext>
            </a:extLst>
          </p:cNvPr>
          <p:cNvSpPr>
            <a:spLocks noChangeAspect="1"/>
          </p:cNvSpPr>
          <p:nvPr userDrawn="1"/>
        </p:nvSpPr>
        <p:spPr>
          <a:xfrm rot="18900000">
            <a:off x="9048149" y="4952605"/>
            <a:ext cx="653224" cy="653224"/>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83">
            <a:extLst>
              <a:ext uri="{FF2B5EF4-FFF2-40B4-BE49-F238E27FC236}">
                <a16:creationId xmlns:a16="http://schemas.microsoft.com/office/drawing/2014/main" id="{AF3F7BED-A49E-A6FF-B86F-87B3CB00E239}"/>
              </a:ext>
            </a:extLst>
          </p:cNvPr>
          <p:cNvSpPr>
            <a:spLocks/>
          </p:cNvSpPr>
          <p:nvPr/>
        </p:nvSpPr>
        <p:spPr bwMode="auto">
          <a:xfrm>
            <a:off x="6917983" y="5144754"/>
            <a:ext cx="31125" cy="292355"/>
          </a:xfrm>
          <a:custGeom>
            <a:avLst/>
            <a:gdLst>
              <a:gd name="T0" fmla="*/ 0 w 21"/>
              <a:gd name="T1" fmla="*/ 0 h 198"/>
              <a:gd name="T2" fmla="*/ 0 w 21"/>
              <a:gd name="T3" fmla="*/ 198 h 198"/>
              <a:gd name="T4" fmla="*/ 21 w 21"/>
              <a:gd name="T5" fmla="*/ 198 h 198"/>
              <a:gd name="T6" fmla="*/ 21 w 21"/>
              <a:gd name="T7" fmla="*/ 0 h 198"/>
              <a:gd name="T8" fmla="*/ 11 w 21"/>
              <a:gd name="T9" fmla="*/ 2 h 198"/>
              <a:gd name="T10" fmla="*/ 0 w 21"/>
              <a:gd name="T11" fmla="*/ 0 h 198"/>
            </a:gdLst>
            <a:ahLst/>
            <a:cxnLst>
              <a:cxn ang="0">
                <a:pos x="T0" y="T1"/>
              </a:cxn>
              <a:cxn ang="0">
                <a:pos x="T2" y="T3"/>
              </a:cxn>
              <a:cxn ang="0">
                <a:pos x="T4" y="T5"/>
              </a:cxn>
              <a:cxn ang="0">
                <a:pos x="T6" y="T7"/>
              </a:cxn>
              <a:cxn ang="0">
                <a:pos x="T8" y="T9"/>
              </a:cxn>
              <a:cxn ang="0">
                <a:pos x="T10" y="T11"/>
              </a:cxn>
            </a:cxnLst>
            <a:rect l="0" t="0" r="r" b="b"/>
            <a:pathLst>
              <a:path w="21" h="198">
                <a:moveTo>
                  <a:pt x="0" y="0"/>
                </a:moveTo>
                <a:cubicBezTo>
                  <a:pt x="0" y="198"/>
                  <a:pt x="0" y="198"/>
                  <a:pt x="0" y="198"/>
                </a:cubicBezTo>
                <a:cubicBezTo>
                  <a:pt x="21" y="198"/>
                  <a:pt x="21" y="198"/>
                  <a:pt x="21" y="198"/>
                </a:cubicBezTo>
                <a:cubicBezTo>
                  <a:pt x="21" y="0"/>
                  <a:pt x="21" y="0"/>
                  <a:pt x="21" y="0"/>
                </a:cubicBezTo>
                <a:cubicBezTo>
                  <a:pt x="18" y="1"/>
                  <a:pt x="14" y="2"/>
                  <a:pt x="11" y="2"/>
                </a:cubicBezTo>
                <a:cubicBezTo>
                  <a:pt x="7" y="2"/>
                  <a:pt x="4" y="1"/>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8" name="Oval 84">
            <a:extLst>
              <a:ext uri="{FF2B5EF4-FFF2-40B4-BE49-F238E27FC236}">
                <a16:creationId xmlns:a16="http://schemas.microsoft.com/office/drawing/2014/main" id="{DD176E34-8D40-051A-B7DE-B4B74E86B75B}"/>
              </a:ext>
            </a:extLst>
          </p:cNvPr>
          <p:cNvSpPr>
            <a:spLocks noChangeArrowheads="1"/>
          </p:cNvSpPr>
          <p:nvPr/>
        </p:nvSpPr>
        <p:spPr bwMode="auto">
          <a:xfrm>
            <a:off x="6910202" y="5091398"/>
            <a:ext cx="45576" cy="4557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9" name="Rectangle 85">
            <a:extLst>
              <a:ext uri="{FF2B5EF4-FFF2-40B4-BE49-F238E27FC236}">
                <a16:creationId xmlns:a16="http://schemas.microsoft.com/office/drawing/2014/main" id="{B9F12159-8510-D306-7DE9-F9D8E0D0D936}"/>
              </a:ext>
            </a:extLst>
          </p:cNvPr>
          <p:cNvSpPr>
            <a:spLocks noChangeArrowheads="1"/>
          </p:cNvSpPr>
          <p:nvPr/>
        </p:nvSpPr>
        <p:spPr bwMode="auto">
          <a:xfrm>
            <a:off x="6965783" y="5145866"/>
            <a:ext cx="252336" cy="18008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1" name="Freeform 87">
            <a:extLst>
              <a:ext uri="{FF2B5EF4-FFF2-40B4-BE49-F238E27FC236}">
                <a16:creationId xmlns:a16="http://schemas.microsoft.com/office/drawing/2014/main" id="{25618352-BA32-2AE7-1B3F-DD11C7876736}"/>
              </a:ext>
            </a:extLst>
          </p:cNvPr>
          <p:cNvSpPr>
            <a:spLocks/>
          </p:cNvSpPr>
          <p:nvPr/>
        </p:nvSpPr>
        <p:spPr bwMode="auto">
          <a:xfrm>
            <a:off x="4925378" y="5156056"/>
            <a:ext cx="293915" cy="263801"/>
          </a:xfrm>
          <a:custGeom>
            <a:avLst/>
            <a:gdLst>
              <a:gd name="T0" fmla="*/ 19 w 184"/>
              <a:gd name="T1" fmla="*/ 16 h 165"/>
              <a:gd name="T2" fmla="*/ 2 w 184"/>
              <a:gd name="T3" fmla="*/ 50 h 165"/>
              <a:gd name="T4" fmla="*/ 0 w 184"/>
              <a:gd name="T5" fmla="*/ 60 h 165"/>
              <a:gd name="T6" fmla="*/ 0 w 184"/>
              <a:gd name="T7" fmla="*/ 61 h 165"/>
              <a:gd name="T8" fmla="*/ 0 w 184"/>
              <a:gd name="T9" fmla="*/ 70 h 165"/>
              <a:gd name="T10" fmla="*/ 1 w 184"/>
              <a:gd name="T11" fmla="*/ 77 h 165"/>
              <a:gd name="T12" fmla="*/ 8 w 184"/>
              <a:gd name="T13" fmla="*/ 107 h 165"/>
              <a:gd name="T14" fmla="*/ 28 w 184"/>
              <a:gd name="T15" fmla="*/ 144 h 165"/>
              <a:gd name="T16" fmla="*/ 29 w 184"/>
              <a:gd name="T17" fmla="*/ 145 h 165"/>
              <a:gd name="T18" fmla="*/ 41 w 184"/>
              <a:gd name="T19" fmla="*/ 158 h 165"/>
              <a:gd name="T20" fmla="*/ 44 w 184"/>
              <a:gd name="T21" fmla="*/ 161 h 165"/>
              <a:gd name="T22" fmla="*/ 64 w 184"/>
              <a:gd name="T23" fmla="*/ 163 h 165"/>
              <a:gd name="T24" fmla="*/ 65 w 184"/>
              <a:gd name="T25" fmla="*/ 163 h 165"/>
              <a:gd name="T26" fmla="*/ 74 w 184"/>
              <a:gd name="T27" fmla="*/ 160 h 165"/>
              <a:gd name="T28" fmla="*/ 81 w 184"/>
              <a:gd name="T29" fmla="*/ 157 h 165"/>
              <a:gd name="T30" fmla="*/ 92 w 184"/>
              <a:gd name="T31" fmla="*/ 156 h 165"/>
              <a:gd name="T32" fmla="*/ 93 w 184"/>
              <a:gd name="T33" fmla="*/ 156 h 165"/>
              <a:gd name="T34" fmla="*/ 104 w 184"/>
              <a:gd name="T35" fmla="*/ 157 h 165"/>
              <a:gd name="T36" fmla="*/ 110 w 184"/>
              <a:gd name="T37" fmla="*/ 160 h 165"/>
              <a:gd name="T38" fmla="*/ 120 w 184"/>
              <a:gd name="T39" fmla="*/ 163 h 165"/>
              <a:gd name="T40" fmla="*/ 120 w 184"/>
              <a:gd name="T41" fmla="*/ 163 h 165"/>
              <a:gd name="T42" fmla="*/ 140 w 184"/>
              <a:gd name="T43" fmla="*/ 161 h 165"/>
              <a:gd name="T44" fmla="*/ 144 w 184"/>
              <a:gd name="T45" fmla="*/ 158 h 165"/>
              <a:gd name="T46" fmla="*/ 156 w 184"/>
              <a:gd name="T47" fmla="*/ 145 h 165"/>
              <a:gd name="T48" fmla="*/ 157 w 184"/>
              <a:gd name="T49" fmla="*/ 144 h 165"/>
              <a:gd name="T50" fmla="*/ 177 w 184"/>
              <a:gd name="T51" fmla="*/ 107 h 165"/>
              <a:gd name="T52" fmla="*/ 184 w 184"/>
              <a:gd name="T53" fmla="*/ 77 h 165"/>
              <a:gd name="T54" fmla="*/ 184 w 184"/>
              <a:gd name="T55" fmla="*/ 70 h 165"/>
              <a:gd name="T56" fmla="*/ 184 w 184"/>
              <a:gd name="T57" fmla="*/ 61 h 165"/>
              <a:gd name="T58" fmla="*/ 184 w 184"/>
              <a:gd name="T59" fmla="*/ 60 h 165"/>
              <a:gd name="T60" fmla="*/ 183 w 184"/>
              <a:gd name="T61" fmla="*/ 50 h 165"/>
              <a:gd name="T62" fmla="*/ 166 w 184"/>
              <a:gd name="T63" fmla="*/ 16 h 165"/>
              <a:gd name="T64" fmla="*/ 162 w 184"/>
              <a:gd name="T65" fmla="*/ 12 h 165"/>
              <a:gd name="T66" fmla="*/ 136 w 184"/>
              <a:gd name="T67" fmla="*/ 1 h 165"/>
              <a:gd name="T68" fmla="*/ 107 w 184"/>
              <a:gd name="T69" fmla="*/ 5 h 165"/>
              <a:gd name="T70" fmla="*/ 92 w 184"/>
              <a:gd name="T71" fmla="*/ 10 h 165"/>
              <a:gd name="T72" fmla="*/ 77 w 184"/>
              <a:gd name="T73" fmla="*/ 5 h 165"/>
              <a:gd name="T74" fmla="*/ 49 w 184"/>
              <a:gd name="T75" fmla="*/ 1 h 165"/>
              <a:gd name="T76" fmla="*/ 23 w 184"/>
              <a:gd name="T77" fmla="*/ 12 h 165"/>
              <a:gd name="T78" fmla="*/ 19 w 184"/>
              <a:gd name="T79" fmla="*/ 1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 h="165">
                <a:moveTo>
                  <a:pt x="19" y="16"/>
                </a:moveTo>
                <a:cubicBezTo>
                  <a:pt x="9" y="25"/>
                  <a:pt x="4" y="37"/>
                  <a:pt x="2" y="50"/>
                </a:cubicBezTo>
                <a:cubicBezTo>
                  <a:pt x="1" y="53"/>
                  <a:pt x="1" y="56"/>
                  <a:pt x="0" y="60"/>
                </a:cubicBezTo>
                <a:cubicBezTo>
                  <a:pt x="0" y="60"/>
                  <a:pt x="0" y="60"/>
                  <a:pt x="0" y="61"/>
                </a:cubicBezTo>
                <a:cubicBezTo>
                  <a:pt x="0" y="64"/>
                  <a:pt x="0" y="67"/>
                  <a:pt x="0" y="70"/>
                </a:cubicBezTo>
                <a:cubicBezTo>
                  <a:pt x="0" y="73"/>
                  <a:pt x="1" y="75"/>
                  <a:pt x="1" y="77"/>
                </a:cubicBezTo>
                <a:cubicBezTo>
                  <a:pt x="2" y="87"/>
                  <a:pt x="4" y="98"/>
                  <a:pt x="8" y="107"/>
                </a:cubicBezTo>
                <a:cubicBezTo>
                  <a:pt x="13" y="121"/>
                  <a:pt x="19" y="133"/>
                  <a:pt x="28" y="144"/>
                </a:cubicBezTo>
                <a:cubicBezTo>
                  <a:pt x="28" y="144"/>
                  <a:pt x="28" y="145"/>
                  <a:pt x="29" y="145"/>
                </a:cubicBezTo>
                <a:cubicBezTo>
                  <a:pt x="32" y="150"/>
                  <a:pt x="36" y="155"/>
                  <a:pt x="41" y="158"/>
                </a:cubicBezTo>
                <a:cubicBezTo>
                  <a:pt x="42" y="159"/>
                  <a:pt x="43" y="160"/>
                  <a:pt x="44" y="161"/>
                </a:cubicBezTo>
                <a:cubicBezTo>
                  <a:pt x="50" y="165"/>
                  <a:pt x="57" y="165"/>
                  <a:pt x="64" y="163"/>
                </a:cubicBezTo>
                <a:cubicBezTo>
                  <a:pt x="64" y="163"/>
                  <a:pt x="65" y="163"/>
                  <a:pt x="65" y="163"/>
                </a:cubicBezTo>
                <a:cubicBezTo>
                  <a:pt x="68" y="162"/>
                  <a:pt x="71" y="161"/>
                  <a:pt x="74" y="160"/>
                </a:cubicBezTo>
                <a:cubicBezTo>
                  <a:pt x="76" y="159"/>
                  <a:pt x="78" y="158"/>
                  <a:pt x="81" y="157"/>
                </a:cubicBezTo>
                <a:cubicBezTo>
                  <a:pt x="84" y="156"/>
                  <a:pt x="92" y="156"/>
                  <a:pt x="92" y="156"/>
                </a:cubicBezTo>
                <a:cubicBezTo>
                  <a:pt x="92" y="156"/>
                  <a:pt x="93" y="156"/>
                  <a:pt x="93" y="156"/>
                </a:cubicBezTo>
                <a:cubicBezTo>
                  <a:pt x="97" y="156"/>
                  <a:pt x="100" y="156"/>
                  <a:pt x="104" y="157"/>
                </a:cubicBezTo>
                <a:cubicBezTo>
                  <a:pt x="106" y="158"/>
                  <a:pt x="108" y="159"/>
                  <a:pt x="110" y="160"/>
                </a:cubicBezTo>
                <a:cubicBezTo>
                  <a:pt x="113" y="161"/>
                  <a:pt x="117" y="162"/>
                  <a:pt x="120" y="163"/>
                </a:cubicBezTo>
                <a:cubicBezTo>
                  <a:pt x="120" y="163"/>
                  <a:pt x="120" y="163"/>
                  <a:pt x="120" y="163"/>
                </a:cubicBezTo>
                <a:cubicBezTo>
                  <a:pt x="127" y="165"/>
                  <a:pt x="134" y="165"/>
                  <a:pt x="140" y="161"/>
                </a:cubicBezTo>
                <a:cubicBezTo>
                  <a:pt x="142" y="160"/>
                  <a:pt x="143" y="159"/>
                  <a:pt x="144" y="158"/>
                </a:cubicBezTo>
                <a:cubicBezTo>
                  <a:pt x="149" y="155"/>
                  <a:pt x="152" y="150"/>
                  <a:pt x="156" y="145"/>
                </a:cubicBezTo>
                <a:cubicBezTo>
                  <a:pt x="156" y="145"/>
                  <a:pt x="157" y="144"/>
                  <a:pt x="157" y="144"/>
                </a:cubicBezTo>
                <a:cubicBezTo>
                  <a:pt x="165" y="133"/>
                  <a:pt x="172" y="121"/>
                  <a:pt x="177" y="107"/>
                </a:cubicBezTo>
                <a:cubicBezTo>
                  <a:pt x="180" y="98"/>
                  <a:pt x="183" y="87"/>
                  <a:pt x="184" y="77"/>
                </a:cubicBezTo>
                <a:cubicBezTo>
                  <a:pt x="184" y="75"/>
                  <a:pt x="184" y="73"/>
                  <a:pt x="184" y="70"/>
                </a:cubicBezTo>
                <a:cubicBezTo>
                  <a:pt x="184" y="67"/>
                  <a:pt x="184" y="64"/>
                  <a:pt x="184" y="61"/>
                </a:cubicBezTo>
                <a:cubicBezTo>
                  <a:pt x="184" y="60"/>
                  <a:pt x="184" y="60"/>
                  <a:pt x="184" y="60"/>
                </a:cubicBezTo>
                <a:cubicBezTo>
                  <a:pt x="184" y="56"/>
                  <a:pt x="184" y="53"/>
                  <a:pt x="183" y="50"/>
                </a:cubicBezTo>
                <a:cubicBezTo>
                  <a:pt x="181" y="37"/>
                  <a:pt x="175" y="25"/>
                  <a:pt x="166" y="16"/>
                </a:cubicBezTo>
                <a:cubicBezTo>
                  <a:pt x="164" y="15"/>
                  <a:pt x="163" y="14"/>
                  <a:pt x="162" y="12"/>
                </a:cubicBezTo>
                <a:cubicBezTo>
                  <a:pt x="154" y="6"/>
                  <a:pt x="145" y="3"/>
                  <a:pt x="136" y="1"/>
                </a:cubicBezTo>
                <a:cubicBezTo>
                  <a:pt x="126" y="0"/>
                  <a:pt x="116" y="2"/>
                  <a:pt x="107" y="5"/>
                </a:cubicBezTo>
                <a:cubicBezTo>
                  <a:pt x="102" y="7"/>
                  <a:pt x="92" y="10"/>
                  <a:pt x="92" y="10"/>
                </a:cubicBezTo>
                <a:cubicBezTo>
                  <a:pt x="92" y="10"/>
                  <a:pt x="82" y="7"/>
                  <a:pt x="77" y="5"/>
                </a:cubicBezTo>
                <a:cubicBezTo>
                  <a:pt x="68" y="2"/>
                  <a:pt x="59" y="0"/>
                  <a:pt x="49" y="1"/>
                </a:cubicBezTo>
                <a:cubicBezTo>
                  <a:pt x="39" y="3"/>
                  <a:pt x="30" y="6"/>
                  <a:pt x="23" y="12"/>
                </a:cubicBezTo>
                <a:cubicBezTo>
                  <a:pt x="22" y="14"/>
                  <a:pt x="20" y="15"/>
                  <a:pt x="19"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5" name="Freeform 88">
            <a:extLst>
              <a:ext uri="{FF2B5EF4-FFF2-40B4-BE49-F238E27FC236}">
                <a16:creationId xmlns:a16="http://schemas.microsoft.com/office/drawing/2014/main" id="{801A0E64-4D1F-F012-73E1-6B713A010078}"/>
              </a:ext>
            </a:extLst>
          </p:cNvPr>
          <p:cNvSpPr>
            <a:spLocks/>
          </p:cNvSpPr>
          <p:nvPr/>
        </p:nvSpPr>
        <p:spPr bwMode="auto">
          <a:xfrm>
            <a:off x="5002470" y="5074145"/>
            <a:ext cx="71070" cy="80707"/>
          </a:xfrm>
          <a:custGeom>
            <a:avLst/>
            <a:gdLst>
              <a:gd name="T0" fmla="*/ 14 w 45"/>
              <a:gd name="T1" fmla="*/ 37 h 50"/>
              <a:gd name="T2" fmla="*/ 32 w 45"/>
              <a:gd name="T3" fmla="*/ 48 h 50"/>
              <a:gd name="T4" fmla="*/ 43 w 45"/>
              <a:gd name="T5" fmla="*/ 50 h 50"/>
              <a:gd name="T6" fmla="*/ 44 w 45"/>
              <a:gd name="T7" fmla="*/ 48 h 50"/>
              <a:gd name="T8" fmla="*/ 35 w 45"/>
              <a:gd name="T9" fmla="*/ 19 h 50"/>
              <a:gd name="T10" fmla="*/ 4 w 45"/>
              <a:gd name="T11" fmla="*/ 0 h 50"/>
              <a:gd name="T12" fmla="*/ 2 w 45"/>
              <a:gd name="T13" fmla="*/ 0 h 50"/>
              <a:gd name="T14" fmla="*/ 1 w 45"/>
              <a:gd name="T15" fmla="*/ 0 h 50"/>
              <a:gd name="T16" fmla="*/ 1 w 45"/>
              <a:gd name="T17" fmla="*/ 12 h 50"/>
              <a:gd name="T18" fmla="*/ 14 w 45"/>
              <a:gd name="T19"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50">
                <a:moveTo>
                  <a:pt x="14" y="37"/>
                </a:moveTo>
                <a:cubicBezTo>
                  <a:pt x="19" y="42"/>
                  <a:pt x="25" y="46"/>
                  <a:pt x="32" y="48"/>
                </a:cubicBezTo>
                <a:cubicBezTo>
                  <a:pt x="36" y="49"/>
                  <a:pt x="39" y="50"/>
                  <a:pt x="43" y="50"/>
                </a:cubicBezTo>
                <a:cubicBezTo>
                  <a:pt x="44" y="50"/>
                  <a:pt x="44" y="49"/>
                  <a:pt x="44" y="48"/>
                </a:cubicBezTo>
                <a:cubicBezTo>
                  <a:pt x="45" y="37"/>
                  <a:pt x="41" y="28"/>
                  <a:pt x="35" y="19"/>
                </a:cubicBezTo>
                <a:cubicBezTo>
                  <a:pt x="27" y="9"/>
                  <a:pt x="17" y="3"/>
                  <a:pt x="4" y="0"/>
                </a:cubicBezTo>
                <a:cubicBezTo>
                  <a:pt x="4" y="0"/>
                  <a:pt x="3" y="0"/>
                  <a:pt x="2" y="0"/>
                </a:cubicBezTo>
                <a:cubicBezTo>
                  <a:pt x="2" y="0"/>
                  <a:pt x="1" y="0"/>
                  <a:pt x="1" y="0"/>
                </a:cubicBezTo>
                <a:cubicBezTo>
                  <a:pt x="0" y="4"/>
                  <a:pt x="1" y="8"/>
                  <a:pt x="1" y="12"/>
                </a:cubicBezTo>
                <a:cubicBezTo>
                  <a:pt x="3" y="22"/>
                  <a:pt x="8" y="30"/>
                  <a:pt x="14" y="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7" name="Freeform 77">
            <a:extLst>
              <a:ext uri="{FF2B5EF4-FFF2-40B4-BE49-F238E27FC236}">
                <a16:creationId xmlns:a16="http://schemas.microsoft.com/office/drawing/2014/main" id="{9358D430-95D3-1DC6-9FD7-3F3685C5B949}"/>
              </a:ext>
            </a:extLst>
          </p:cNvPr>
          <p:cNvSpPr>
            <a:spLocks/>
          </p:cNvSpPr>
          <p:nvPr/>
        </p:nvSpPr>
        <p:spPr bwMode="auto">
          <a:xfrm>
            <a:off x="9415115" y="5105738"/>
            <a:ext cx="155601" cy="155601"/>
          </a:xfrm>
          <a:custGeom>
            <a:avLst/>
            <a:gdLst>
              <a:gd name="T0" fmla="*/ 21 w 92"/>
              <a:gd name="T1" fmla="*/ 84 h 92"/>
              <a:gd name="T2" fmla="*/ 46 w 92"/>
              <a:gd name="T3" fmla="*/ 92 h 92"/>
              <a:gd name="T4" fmla="*/ 92 w 92"/>
              <a:gd name="T5" fmla="*/ 46 h 92"/>
              <a:gd name="T6" fmla="*/ 46 w 92"/>
              <a:gd name="T7" fmla="*/ 0 h 92"/>
              <a:gd name="T8" fmla="*/ 0 w 92"/>
              <a:gd name="T9" fmla="*/ 39 h 92"/>
              <a:gd name="T10" fmla="*/ 46 w 92"/>
              <a:gd name="T11" fmla="*/ 39 h 92"/>
              <a:gd name="T12" fmla="*/ 61 w 92"/>
              <a:gd name="T13" fmla="*/ 39 h 92"/>
              <a:gd name="T14" fmla="*/ 51 w 92"/>
              <a:gd name="T15" fmla="*/ 50 h 92"/>
              <a:gd name="T16" fmla="*/ 21 w 92"/>
              <a:gd name="T1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2">
                <a:moveTo>
                  <a:pt x="21" y="84"/>
                </a:moveTo>
                <a:cubicBezTo>
                  <a:pt x="28" y="89"/>
                  <a:pt x="36" y="92"/>
                  <a:pt x="46" y="92"/>
                </a:cubicBezTo>
                <a:cubicBezTo>
                  <a:pt x="71" y="92"/>
                  <a:pt x="92" y="71"/>
                  <a:pt x="92" y="46"/>
                </a:cubicBezTo>
                <a:cubicBezTo>
                  <a:pt x="92" y="20"/>
                  <a:pt x="71" y="0"/>
                  <a:pt x="46" y="0"/>
                </a:cubicBezTo>
                <a:cubicBezTo>
                  <a:pt x="23" y="0"/>
                  <a:pt x="4" y="17"/>
                  <a:pt x="0" y="39"/>
                </a:cubicBezTo>
                <a:cubicBezTo>
                  <a:pt x="46" y="39"/>
                  <a:pt x="46" y="39"/>
                  <a:pt x="46" y="39"/>
                </a:cubicBezTo>
                <a:cubicBezTo>
                  <a:pt x="61" y="39"/>
                  <a:pt x="61" y="39"/>
                  <a:pt x="61" y="39"/>
                </a:cubicBezTo>
                <a:cubicBezTo>
                  <a:pt x="51" y="50"/>
                  <a:pt x="51" y="50"/>
                  <a:pt x="51" y="50"/>
                </a:cubicBezTo>
                <a:lnTo>
                  <a:pt x="21" y="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8" name="Freeform 78">
            <a:extLst>
              <a:ext uri="{FF2B5EF4-FFF2-40B4-BE49-F238E27FC236}">
                <a16:creationId xmlns:a16="http://schemas.microsoft.com/office/drawing/2014/main" id="{769E273C-C063-8DEA-2DEA-FA4B1368A3A7}"/>
              </a:ext>
            </a:extLst>
          </p:cNvPr>
          <p:cNvSpPr>
            <a:spLocks/>
          </p:cNvSpPr>
          <p:nvPr/>
        </p:nvSpPr>
        <p:spPr bwMode="auto">
          <a:xfrm>
            <a:off x="9173750" y="5186223"/>
            <a:ext cx="319778" cy="298950"/>
          </a:xfrm>
          <a:custGeom>
            <a:avLst/>
            <a:gdLst>
              <a:gd name="T0" fmla="*/ 84 w 189"/>
              <a:gd name="T1" fmla="*/ 95 h 177"/>
              <a:gd name="T2" fmla="*/ 84 w 189"/>
              <a:gd name="T3" fmla="*/ 100 h 177"/>
              <a:gd name="T4" fmla="*/ 84 w 189"/>
              <a:gd name="T5" fmla="*/ 105 h 177"/>
              <a:gd name="T6" fmla="*/ 84 w 189"/>
              <a:gd name="T7" fmla="*/ 162 h 177"/>
              <a:gd name="T8" fmla="*/ 62 w 189"/>
              <a:gd name="T9" fmla="*/ 177 h 177"/>
              <a:gd name="T10" fmla="*/ 124 w 189"/>
              <a:gd name="T11" fmla="*/ 177 h 177"/>
              <a:gd name="T12" fmla="*/ 105 w 189"/>
              <a:gd name="T13" fmla="*/ 162 h 177"/>
              <a:gd name="T14" fmla="*/ 105 w 189"/>
              <a:gd name="T15" fmla="*/ 105 h 177"/>
              <a:gd name="T16" fmla="*/ 105 w 189"/>
              <a:gd name="T17" fmla="*/ 100 h 177"/>
              <a:gd name="T18" fmla="*/ 105 w 189"/>
              <a:gd name="T19" fmla="*/ 95 h 177"/>
              <a:gd name="T20" fmla="*/ 158 w 189"/>
              <a:gd name="T21" fmla="*/ 34 h 177"/>
              <a:gd name="T22" fmla="*/ 189 w 189"/>
              <a:gd name="T23" fmla="*/ 0 h 177"/>
              <a:gd name="T24" fmla="*/ 143 w 189"/>
              <a:gd name="T25" fmla="*/ 0 h 177"/>
              <a:gd name="T26" fmla="*/ 0 w 189"/>
              <a:gd name="T27" fmla="*/ 0 h 177"/>
              <a:gd name="T28" fmla="*/ 84 w 189"/>
              <a:gd name="T29" fmla="*/ 9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177">
                <a:moveTo>
                  <a:pt x="84" y="95"/>
                </a:moveTo>
                <a:cubicBezTo>
                  <a:pt x="84" y="100"/>
                  <a:pt x="84" y="100"/>
                  <a:pt x="84" y="100"/>
                </a:cubicBezTo>
                <a:cubicBezTo>
                  <a:pt x="84" y="105"/>
                  <a:pt x="84" y="105"/>
                  <a:pt x="84" y="105"/>
                </a:cubicBezTo>
                <a:cubicBezTo>
                  <a:pt x="84" y="162"/>
                  <a:pt x="84" y="162"/>
                  <a:pt x="84" y="162"/>
                </a:cubicBezTo>
                <a:cubicBezTo>
                  <a:pt x="72" y="164"/>
                  <a:pt x="62" y="170"/>
                  <a:pt x="62" y="177"/>
                </a:cubicBezTo>
                <a:cubicBezTo>
                  <a:pt x="124" y="177"/>
                  <a:pt x="124" y="177"/>
                  <a:pt x="124" y="177"/>
                </a:cubicBezTo>
                <a:cubicBezTo>
                  <a:pt x="124" y="170"/>
                  <a:pt x="116" y="165"/>
                  <a:pt x="105" y="162"/>
                </a:cubicBezTo>
                <a:cubicBezTo>
                  <a:pt x="105" y="105"/>
                  <a:pt x="105" y="105"/>
                  <a:pt x="105" y="105"/>
                </a:cubicBezTo>
                <a:cubicBezTo>
                  <a:pt x="105" y="100"/>
                  <a:pt x="105" y="100"/>
                  <a:pt x="105" y="100"/>
                </a:cubicBezTo>
                <a:cubicBezTo>
                  <a:pt x="105" y="95"/>
                  <a:pt x="105" y="95"/>
                  <a:pt x="105" y="95"/>
                </a:cubicBezTo>
                <a:cubicBezTo>
                  <a:pt x="158" y="34"/>
                  <a:pt x="158" y="34"/>
                  <a:pt x="158" y="34"/>
                </a:cubicBezTo>
                <a:cubicBezTo>
                  <a:pt x="189" y="0"/>
                  <a:pt x="189" y="0"/>
                  <a:pt x="189" y="0"/>
                </a:cubicBezTo>
                <a:cubicBezTo>
                  <a:pt x="143" y="0"/>
                  <a:pt x="143" y="0"/>
                  <a:pt x="143" y="0"/>
                </a:cubicBezTo>
                <a:cubicBezTo>
                  <a:pt x="0" y="0"/>
                  <a:pt x="0" y="0"/>
                  <a:pt x="0" y="0"/>
                </a:cubicBezTo>
                <a:lnTo>
                  <a:pt x="84" y="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22" name="Segnaposto testo 4">
            <a:extLst>
              <a:ext uri="{FF2B5EF4-FFF2-40B4-BE49-F238E27FC236}">
                <a16:creationId xmlns:a16="http://schemas.microsoft.com/office/drawing/2014/main" id="{947D8E95-6868-76F3-C36E-283C3C78A568}"/>
              </a:ext>
            </a:extLst>
          </p:cNvPr>
          <p:cNvSpPr>
            <a:spLocks noGrp="1"/>
          </p:cNvSpPr>
          <p:nvPr>
            <p:ph type="body" sz="quarter" idx="15" hasCustomPrompt="1"/>
          </p:nvPr>
        </p:nvSpPr>
        <p:spPr>
          <a:xfrm>
            <a:off x="530696" y="2474893"/>
            <a:ext cx="3658827" cy="2487168"/>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23" name="Titel 13">
            <a:extLst>
              <a:ext uri="{FF2B5EF4-FFF2-40B4-BE49-F238E27FC236}">
                <a16:creationId xmlns:a16="http://schemas.microsoft.com/office/drawing/2014/main" id="{F038135C-4289-192B-F776-9AA0149EC009}"/>
              </a:ext>
            </a:extLst>
          </p:cNvPr>
          <p:cNvSpPr>
            <a:spLocks noGrp="1"/>
          </p:cNvSpPr>
          <p:nvPr>
            <p:ph type="title" hasCustomPrompt="1"/>
          </p:nvPr>
        </p:nvSpPr>
        <p:spPr>
          <a:xfrm>
            <a:off x="550864" y="549276"/>
            <a:ext cx="3658828" cy="827087"/>
          </a:xfrm>
        </p:spPr>
        <p:txBody>
          <a:bodyPr/>
          <a:lstStyle/>
          <a:p>
            <a:r>
              <a:rPr lang="nl-NL"/>
              <a:t>CLICK TO EDIT </a:t>
            </a:r>
            <a:endParaRPr lang="en-GB"/>
          </a:p>
        </p:txBody>
      </p:sp>
      <p:sp>
        <p:nvSpPr>
          <p:cNvPr id="25" name="Slide Number Placeholder 5">
            <a:extLst>
              <a:ext uri="{FF2B5EF4-FFF2-40B4-BE49-F238E27FC236}">
                <a16:creationId xmlns:a16="http://schemas.microsoft.com/office/drawing/2014/main" id="{999D98A3-A137-59DD-E6E9-8FFE81788D9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26" name="Segnaposto piè di pagina 7">
            <a:extLst>
              <a:ext uri="{FF2B5EF4-FFF2-40B4-BE49-F238E27FC236}">
                <a16:creationId xmlns:a16="http://schemas.microsoft.com/office/drawing/2014/main" id="{1E54C0C3-447C-CC04-7E88-06AF4729473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1296118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 text_13">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50865" y="2244875"/>
            <a:ext cx="4055002" cy="4613125"/>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2" name="Picture Placeholder 11"/>
          <p:cNvSpPr>
            <a:spLocks noGrp="1"/>
          </p:cNvSpPr>
          <p:nvPr>
            <p:ph type="pic" sz="quarter" idx="11"/>
          </p:nvPr>
        </p:nvSpPr>
        <p:spPr>
          <a:xfrm>
            <a:off x="4605867" y="2244875"/>
            <a:ext cx="1794933" cy="30129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5" name="Picture Placeholder 14"/>
          <p:cNvSpPr>
            <a:spLocks noGrp="1"/>
          </p:cNvSpPr>
          <p:nvPr>
            <p:ph type="pic" sz="quarter" idx="12"/>
          </p:nvPr>
        </p:nvSpPr>
        <p:spPr>
          <a:xfrm>
            <a:off x="6400800" y="2244877"/>
            <a:ext cx="2895600" cy="1586895"/>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8" name="Picture Placeholder 17"/>
          <p:cNvSpPr>
            <a:spLocks noGrp="1"/>
          </p:cNvSpPr>
          <p:nvPr>
            <p:ph type="pic" sz="quarter" idx="13"/>
          </p:nvPr>
        </p:nvSpPr>
        <p:spPr>
          <a:xfrm>
            <a:off x="9296400" y="2244876"/>
            <a:ext cx="2895600" cy="46131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6" name="Picture Placeholder 14"/>
          <p:cNvSpPr>
            <a:spLocks noGrp="1"/>
          </p:cNvSpPr>
          <p:nvPr>
            <p:ph type="pic" sz="quarter" idx="14"/>
          </p:nvPr>
        </p:nvSpPr>
        <p:spPr>
          <a:xfrm>
            <a:off x="6400800" y="3831772"/>
            <a:ext cx="2895600" cy="3026229"/>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7" name="Picture Placeholder 11"/>
          <p:cNvSpPr>
            <a:spLocks noGrp="1"/>
          </p:cNvSpPr>
          <p:nvPr>
            <p:ph type="pic" sz="quarter" idx="15"/>
          </p:nvPr>
        </p:nvSpPr>
        <p:spPr>
          <a:xfrm>
            <a:off x="4605867" y="5257800"/>
            <a:ext cx="1794933" cy="1600201"/>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0D55CA5E-0D78-DD95-EE80-C79122DD884D}"/>
              </a:ext>
            </a:extLst>
          </p:cNvPr>
          <p:cNvSpPr>
            <a:spLocks noGrp="1"/>
          </p:cNvSpPr>
          <p:nvPr>
            <p:ph type="body" sz="quarter" idx="16" hasCustomPrompt="1"/>
          </p:nvPr>
        </p:nvSpPr>
        <p:spPr>
          <a:xfrm>
            <a:off x="6400799" y="549276"/>
            <a:ext cx="4261449" cy="5565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3" name="Titel 13">
            <a:extLst>
              <a:ext uri="{FF2B5EF4-FFF2-40B4-BE49-F238E27FC236}">
                <a16:creationId xmlns:a16="http://schemas.microsoft.com/office/drawing/2014/main" id="{FF2CFD0F-29ED-5FEE-867B-CA05A2A4BD8D}"/>
              </a:ext>
            </a:extLst>
          </p:cNvPr>
          <p:cNvSpPr>
            <a:spLocks noGrp="1"/>
          </p:cNvSpPr>
          <p:nvPr>
            <p:ph type="title" hasCustomPrompt="1"/>
          </p:nvPr>
        </p:nvSpPr>
        <p:spPr>
          <a:xfrm>
            <a:off x="550864" y="549276"/>
            <a:ext cx="4823394" cy="827087"/>
          </a:xfrm>
        </p:spPr>
        <p:txBody>
          <a:bodyPr/>
          <a:lstStyle/>
          <a:p>
            <a:r>
              <a:rPr lang="nl-NL"/>
              <a:t>CLICK TO EDIT </a:t>
            </a:r>
            <a:endParaRPr lang="en-GB"/>
          </a:p>
        </p:txBody>
      </p:sp>
      <p:sp>
        <p:nvSpPr>
          <p:cNvPr id="4" name="Slide Number Placeholder 5">
            <a:extLst>
              <a:ext uri="{FF2B5EF4-FFF2-40B4-BE49-F238E27FC236}">
                <a16:creationId xmlns:a16="http://schemas.microsoft.com/office/drawing/2014/main" id="{CD49FE10-53D3-9767-533E-197277963799}"/>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5" name="Segnaposto piè di pagina 7">
            <a:extLst>
              <a:ext uri="{FF2B5EF4-FFF2-40B4-BE49-F238E27FC236}">
                <a16:creationId xmlns:a16="http://schemas.microsoft.com/office/drawing/2014/main" id="{9E055B84-E0DE-781F-FFBA-6615015E0A28}"/>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5597652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 text_14">
    <p:spTree>
      <p:nvGrpSpPr>
        <p:cNvPr id="1" name=""/>
        <p:cNvGrpSpPr/>
        <p:nvPr/>
      </p:nvGrpSpPr>
      <p:grpSpPr>
        <a:xfrm>
          <a:off x="0" y="0"/>
          <a:ext cx="0" cy="0"/>
          <a:chOff x="0" y="0"/>
          <a:chExt cx="0" cy="0"/>
        </a:xfrm>
      </p:grpSpPr>
      <p:sp>
        <p:nvSpPr>
          <p:cNvPr id="2" name="Freeform 7">
            <a:extLst>
              <a:ext uri="{FF2B5EF4-FFF2-40B4-BE49-F238E27FC236}">
                <a16:creationId xmlns:a16="http://schemas.microsoft.com/office/drawing/2014/main" id="{F4274015-2DE6-9B54-80DB-8FCF6F09DFCD}"/>
              </a:ext>
            </a:extLst>
          </p:cNvPr>
          <p:cNvSpPr>
            <a:spLocks noChangeAspect="1"/>
          </p:cNvSpPr>
          <p:nvPr userDrawn="1"/>
        </p:nvSpPr>
        <p:spPr>
          <a:xfrm>
            <a:off x="5250148" y="272139"/>
            <a:ext cx="6930966" cy="4572001"/>
          </a:xfrm>
          <a:custGeom>
            <a:avLst/>
            <a:gdLst>
              <a:gd name="connsiteX0" fmla="*/ 32355 w 10396449"/>
              <a:gd name="connsiteY0" fmla="*/ 0 h 6858002"/>
              <a:gd name="connsiteX1" fmla="*/ 10396449 w 10396449"/>
              <a:gd name="connsiteY1" fmla="*/ 0 h 6858002"/>
              <a:gd name="connsiteX2" fmla="*/ 10396449 w 10396449"/>
              <a:gd name="connsiteY2" fmla="*/ 4109694 h 6858002"/>
              <a:gd name="connsiteX3" fmla="*/ 8496806 w 10396449"/>
              <a:gd name="connsiteY3" fmla="*/ 6009337 h 6858002"/>
              <a:gd name="connsiteX4" fmla="*/ 4399085 w 10396449"/>
              <a:gd name="connsiteY4" fmla="*/ 6009337 h 6858002"/>
              <a:gd name="connsiteX5" fmla="*/ 848667 w 10396449"/>
              <a:gd name="connsiteY5" fmla="*/ 2458913 h 6858002"/>
              <a:gd name="connsiteX6" fmla="*/ 13260 w 10396449"/>
              <a:gd name="connsiteY6" fmla="*/ 132318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6449" h="6858002">
                <a:moveTo>
                  <a:pt x="32355" y="0"/>
                </a:moveTo>
                <a:lnTo>
                  <a:pt x="10396449" y="0"/>
                </a:lnTo>
                <a:lnTo>
                  <a:pt x="10396449" y="4109694"/>
                </a:lnTo>
                <a:lnTo>
                  <a:pt x="8496806" y="6009337"/>
                </a:lnTo>
                <a:cubicBezTo>
                  <a:pt x="7365252" y="7140891"/>
                  <a:pt x="5530643" y="7140891"/>
                  <a:pt x="4399085" y="6009337"/>
                </a:cubicBezTo>
                <a:lnTo>
                  <a:pt x="848667" y="2458913"/>
                </a:lnTo>
                <a:cubicBezTo>
                  <a:pt x="212167" y="1822414"/>
                  <a:pt x="-66303" y="963463"/>
                  <a:pt x="13260" y="132318"/>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Picture Placeholder 4"/>
          <p:cNvSpPr>
            <a:spLocks noGrp="1"/>
          </p:cNvSpPr>
          <p:nvPr>
            <p:ph type="pic" sz="quarter" idx="10"/>
          </p:nvPr>
        </p:nvSpPr>
        <p:spPr>
          <a:xfrm>
            <a:off x="5261034" y="0"/>
            <a:ext cx="6930966" cy="4572001"/>
          </a:xfrm>
          <a:custGeom>
            <a:avLst/>
            <a:gdLst>
              <a:gd name="connsiteX0" fmla="*/ 32355 w 10396449"/>
              <a:gd name="connsiteY0" fmla="*/ 0 h 6858002"/>
              <a:gd name="connsiteX1" fmla="*/ 10396449 w 10396449"/>
              <a:gd name="connsiteY1" fmla="*/ 0 h 6858002"/>
              <a:gd name="connsiteX2" fmla="*/ 10396449 w 10396449"/>
              <a:gd name="connsiteY2" fmla="*/ 4109694 h 6858002"/>
              <a:gd name="connsiteX3" fmla="*/ 8496806 w 10396449"/>
              <a:gd name="connsiteY3" fmla="*/ 6009337 h 6858002"/>
              <a:gd name="connsiteX4" fmla="*/ 4399085 w 10396449"/>
              <a:gd name="connsiteY4" fmla="*/ 6009337 h 6858002"/>
              <a:gd name="connsiteX5" fmla="*/ 848667 w 10396449"/>
              <a:gd name="connsiteY5" fmla="*/ 2458913 h 6858002"/>
              <a:gd name="connsiteX6" fmla="*/ 13260 w 10396449"/>
              <a:gd name="connsiteY6" fmla="*/ 132318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6449" h="6858002">
                <a:moveTo>
                  <a:pt x="32355" y="0"/>
                </a:moveTo>
                <a:lnTo>
                  <a:pt x="10396449" y="0"/>
                </a:lnTo>
                <a:lnTo>
                  <a:pt x="10396449" y="4109694"/>
                </a:lnTo>
                <a:lnTo>
                  <a:pt x="8496806" y="6009337"/>
                </a:lnTo>
                <a:cubicBezTo>
                  <a:pt x="7365252" y="7140891"/>
                  <a:pt x="5530643" y="7140891"/>
                  <a:pt x="4399085" y="6009337"/>
                </a:cubicBezTo>
                <a:lnTo>
                  <a:pt x="848667" y="2458913"/>
                </a:lnTo>
                <a:cubicBezTo>
                  <a:pt x="212167" y="1822414"/>
                  <a:pt x="-66303" y="963463"/>
                  <a:pt x="13260" y="132318"/>
                </a:cubicBezTo>
                <a:close/>
              </a:path>
            </a:pathLst>
          </a:custGeom>
        </p:spPr>
        <p:txBody>
          <a:bodyPr wrap="square">
            <a:noAutofit/>
          </a:bodyPr>
          <a:lstStyle/>
          <a:p>
            <a:r>
              <a:rPr lang="nl-NL"/>
              <a:t>Klik op het pictogram als u een afbeelding wilt toevoegen</a:t>
            </a:r>
            <a:endParaRPr lang="en-GB"/>
          </a:p>
        </p:txBody>
      </p:sp>
      <p:sp>
        <p:nvSpPr>
          <p:cNvPr id="3" name="Slide Number Placeholder 5">
            <a:extLst>
              <a:ext uri="{FF2B5EF4-FFF2-40B4-BE49-F238E27FC236}">
                <a16:creationId xmlns:a16="http://schemas.microsoft.com/office/drawing/2014/main" id="{7796A1A7-3707-B728-1BC1-6923E447046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94A78D5F-4C00-AD76-18A2-7A5C130BE735}"/>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6E644CCB-479B-111A-260A-A434C1B644D3}"/>
              </a:ext>
            </a:extLst>
          </p:cNvPr>
          <p:cNvSpPr>
            <a:spLocks noGrp="1"/>
          </p:cNvSpPr>
          <p:nvPr>
            <p:ph type="body" sz="quarter" idx="15" hasCustomPrompt="1"/>
          </p:nvPr>
        </p:nvSpPr>
        <p:spPr>
          <a:xfrm>
            <a:off x="530696" y="1371600"/>
            <a:ext cx="3968151" cy="457200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7" name="Titel 13">
            <a:extLst>
              <a:ext uri="{FF2B5EF4-FFF2-40B4-BE49-F238E27FC236}">
                <a16:creationId xmlns:a16="http://schemas.microsoft.com/office/drawing/2014/main" id="{02665FDE-021D-F414-E034-1EC53FD22BB4}"/>
              </a:ext>
            </a:extLst>
          </p:cNvPr>
          <p:cNvSpPr>
            <a:spLocks noGrp="1"/>
          </p:cNvSpPr>
          <p:nvPr>
            <p:ph type="title" hasCustomPrompt="1"/>
          </p:nvPr>
        </p:nvSpPr>
        <p:spPr>
          <a:xfrm>
            <a:off x="550863" y="549276"/>
            <a:ext cx="3947985" cy="827087"/>
          </a:xfrm>
        </p:spPr>
        <p:txBody>
          <a:bodyPr/>
          <a:lstStyle/>
          <a:p>
            <a:r>
              <a:rPr lang="nl-NL"/>
              <a:t>CLICK TO EDIT </a:t>
            </a:r>
            <a:endParaRPr lang="en-GB"/>
          </a:p>
        </p:txBody>
      </p:sp>
    </p:spTree>
    <p:extLst>
      <p:ext uri="{BB962C8B-B14F-4D97-AF65-F5344CB8AC3E}">
        <p14:creationId xmlns:p14="http://schemas.microsoft.com/office/powerpoint/2010/main" val="14164239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 text_15">
    <p:spTree>
      <p:nvGrpSpPr>
        <p:cNvPr id="1" name=""/>
        <p:cNvGrpSpPr/>
        <p:nvPr/>
      </p:nvGrpSpPr>
      <p:grpSpPr>
        <a:xfrm>
          <a:off x="0" y="0"/>
          <a:ext cx="0" cy="0"/>
          <a:chOff x="0" y="0"/>
          <a:chExt cx="0" cy="0"/>
        </a:xfrm>
      </p:grpSpPr>
      <p:sp>
        <p:nvSpPr>
          <p:cNvPr id="2" name="Freeform 7">
            <a:extLst>
              <a:ext uri="{FF2B5EF4-FFF2-40B4-BE49-F238E27FC236}">
                <a16:creationId xmlns:a16="http://schemas.microsoft.com/office/drawing/2014/main" id="{5EE537AF-C86F-6A2E-D59A-5F1CD0D650FB}"/>
              </a:ext>
            </a:extLst>
          </p:cNvPr>
          <p:cNvSpPr>
            <a:spLocks noChangeAspect="1"/>
          </p:cNvSpPr>
          <p:nvPr userDrawn="1"/>
        </p:nvSpPr>
        <p:spPr>
          <a:xfrm>
            <a:off x="6343649" y="205983"/>
            <a:ext cx="5848349" cy="6335818"/>
          </a:xfrm>
          <a:custGeom>
            <a:avLst/>
            <a:gdLst>
              <a:gd name="connsiteX0" fmla="*/ 2530579 w 8496302"/>
              <a:gd name="connsiteY0" fmla="*/ 0 h 9503727"/>
              <a:gd name="connsiteX1" fmla="*/ 8496302 w 8496302"/>
              <a:gd name="connsiteY1" fmla="*/ 0 h 9503727"/>
              <a:gd name="connsiteX2" fmla="*/ 8496302 w 8496302"/>
              <a:gd name="connsiteY2" fmla="*/ 7980566 h 9503727"/>
              <a:gd name="connsiteX3" fmla="*/ 7746906 w 8496302"/>
              <a:gd name="connsiteY3" fmla="*/ 8729962 h 9503727"/>
              <a:gd name="connsiteX4" fmla="*/ 4010837 w 8496302"/>
              <a:gd name="connsiteY4" fmla="*/ 8729962 h 9503727"/>
              <a:gd name="connsiteX5" fmla="*/ 773767 w 8496302"/>
              <a:gd name="connsiteY5" fmla="*/ 5492887 h 9503727"/>
              <a:gd name="connsiteX6" fmla="*/ 773767 w 8496302"/>
              <a:gd name="connsiteY6" fmla="*/ 1756815 h 95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96302" h="9503727">
                <a:moveTo>
                  <a:pt x="2530579" y="0"/>
                </a:moveTo>
                <a:lnTo>
                  <a:pt x="8496302" y="0"/>
                </a:lnTo>
                <a:lnTo>
                  <a:pt x="8496302" y="7980566"/>
                </a:lnTo>
                <a:lnTo>
                  <a:pt x="7746906" y="8729962"/>
                </a:lnTo>
                <a:cubicBezTo>
                  <a:pt x="6715219" y="9761649"/>
                  <a:pt x="5042527" y="9761649"/>
                  <a:pt x="4010837" y="8729962"/>
                </a:cubicBezTo>
                <a:lnTo>
                  <a:pt x="773767" y="5492887"/>
                </a:lnTo>
                <a:cubicBezTo>
                  <a:pt x="-257923" y="4461200"/>
                  <a:pt x="-257923" y="2788506"/>
                  <a:pt x="773767" y="1756815"/>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Picture Placeholder 4"/>
          <p:cNvSpPr>
            <a:spLocks noGrp="1"/>
          </p:cNvSpPr>
          <p:nvPr>
            <p:ph type="pic" sz="quarter" idx="10"/>
          </p:nvPr>
        </p:nvSpPr>
        <p:spPr>
          <a:xfrm>
            <a:off x="6527798" y="1"/>
            <a:ext cx="5664201" cy="6335818"/>
          </a:xfrm>
          <a:custGeom>
            <a:avLst/>
            <a:gdLst>
              <a:gd name="connsiteX0" fmla="*/ 2530579 w 8496302"/>
              <a:gd name="connsiteY0" fmla="*/ 0 h 9503727"/>
              <a:gd name="connsiteX1" fmla="*/ 8496302 w 8496302"/>
              <a:gd name="connsiteY1" fmla="*/ 0 h 9503727"/>
              <a:gd name="connsiteX2" fmla="*/ 8496302 w 8496302"/>
              <a:gd name="connsiteY2" fmla="*/ 7980566 h 9503727"/>
              <a:gd name="connsiteX3" fmla="*/ 7746906 w 8496302"/>
              <a:gd name="connsiteY3" fmla="*/ 8729962 h 9503727"/>
              <a:gd name="connsiteX4" fmla="*/ 4010837 w 8496302"/>
              <a:gd name="connsiteY4" fmla="*/ 8729962 h 9503727"/>
              <a:gd name="connsiteX5" fmla="*/ 773767 w 8496302"/>
              <a:gd name="connsiteY5" fmla="*/ 5492887 h 9503727"/>
              <a:gd name="connsiteX6" fmla="*/ 773767 w 8496302"/>
              <a:gd name="connsiteY6" fmla="*/ 1756815 h 95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96302" h="9503727">
                <a:moveTo>
                  <a:pt x="2530579" y="0"/>
                </a:moveTo>
                <a:lnTo>
                  <a:pt x="8496302" y="0"/>
                </a:lnTo>
                <a:lnTo>
                  <a:pt x="8496302" y="7980566"/>
                </a:lnTo>
                <a:lnTo>
                  <a:pt x="7746906" y="8729962"/>
                </a:lnTo>
                <a:cubicBezTo>
                  <a:pt x="6715219" y="9761649"/>
                  <a:pt x="5042527" y="9761649"/>
                  <a:pt x="4010837" y="8729962"/>
                </a:cubicBezTo>
                <a:lnTo>
                  <a:pt x="773767" y="5492887"/>
                </a:lnTo>
                <a:cubicBezTo>
                  <a:pt x="-257923" y="4461200"/>
                  <a:pt x="-257923" y="2788506"/>
                  <a:pt x="773767" y="1756815"/>
                </a:cubicBezTo>
                <a:close/>
              </a:path>
            </a:pathLst>
          </a:custGeom>
        </p:spPr>
        <p:txBody>
          <a:bodyPr wrap="square">
            <a:noAutofit/>
          </a:bodyPr>
          <a:lstStyle/>
          <a:p>
            <a:r>
              <a:rPr lang="nl-NL"/>
              <a:t>Klik op het pictogram als u een afbeelding wilt toevoegen</a:t>
            </a:r>
            <a:endParaRPr lang="en-GB"/>
          </a:p>
        </p:txBody>
      </p:sp>
      <p:sp>
        <p:nvSpPr>
          <p:cNvPr id="3" name="Slide Number Placeholder 5">
            <a:extLst>
              <a:ext uri="{FF2B5EF4-FFF2-40B4-BE49-F238E27FC236}">
                <a16:creationId xmlns:a16="http://schemas.microsoft.com/office/drawing/2014/main" id="{5C968291-9A3B-E249-501E-2BE2C2297712}"/>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1BCAFD72-B7DC-B6C8-1C71-9C6D48A62990}"/>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8" name="Segnaposto testo 4">
            <a:extLst>
              <a:ext uri="{FF2B5EF4-FFF2-40B4-BE49-F238E27FC236}">
                <a16:creationId xmlns:a16="http://schemas.microsoft.com/office/drawing/2014/main" id="{D0A987DD-4450-93F0-0639-D5A9B3FA7E11}"/>
              </a:ext>
            </a:extLst>
          </p:cNvPr>
          <p:cNvSpPr>
            <a:spLocks noGrp="1"/>
          </p:cNvSpPr>
          <p:nvPr>
            <p:ph type="body" sz="quarter" idx="15" hasCustomPrompt="1"/>
          </p:nvPr>
        </p:nvSpPr>
        <p:spPr>
          <a:xfrm>
            <a:off x="530696" y="1371600"/>
            <a:ext cx="3968151" cy="457200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9" name="Titel 13">
            <a:extLst>
              <a:ext uri="{FF2B5EF4-FFF2-40B4-BE49-F238E27FC236}">
                <a16:creationId xmlns:a16="http://schemas.microsoft.com/office/drawing/2014/main" id="{A2DE5762-D091-271A-7E50-674E95AA8D43}"/>
              </a:ext>
            </a:extLst>
          </p:cNvPr>
          <p:cNvSpPr>
            <a:spLocks noGrp="1"/>
          </p:cNvSpPr>
          <p:nvPr>
            <p:ph type="title" hasCustomPrompt="1"/>
          </p:nvPr>
        </p:nvSpPr>
        <p:spPr>
          <a:xfrm>
            <a:off x="550863" y="549276"/>
            <a:ext cx="3947985" cy="827087"/>
          </a:xfrm>
        </p:spPr>
        <p:txBody>
          <a:bodyPr/>
          <a:lstStyle/>
          <a:p>
            <a:r>
              <a:rPr lang="nl-NL"/>
              <a:t>CLICK TO EDIT </a:t>
            </a:r>
            <a:endParaRPr lang="en-GB"/>
          </a:p>
        </p:txBody>
      </p:sp>
    </p:spTree>
    <p:extLst>
      <p:ext uri="{BB962C8B-B14F-4D97-AF65-F5344CB8AC3E}">
        <p14:creationId xmlns:p14="http://schemas.microsoft.com/office/powerpoint/2010/main" val="28171560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 text_16">
    <p:spTree>
      <p:nvGrpSpPr>
        <p:cNvPr id="1" name=""/>
        <p:cNvGrpSpPr/>
        <p:nvPr/>
      </p:nvGrpSpPr>
      <p:grpSpPr>
        <a:xfrm>
          <a:off x="0" y="0"/>
          <a:ext cx="0" cy="0"/>
          <a:chOff x="0" y="0"/>
          <a:chExt cx="0" cy="0"/>
        </a:xfrm>
      </p:grpSpPr>
      <p:sp>
        <p:nvSpPr>
          <p:cNvPr id="2" name="Freeform 7">
            <a:extLst>
              <a:ext uri="{FF2B5EF4-FFF2-40B4-BE49-F238E27FC236}">
                <a16:creationId xmlns:a16="http://schemas.microsoft.com/office/drawing/2014/main" id="{6AD6FB55-A58B-50E1-C629-833D649CD256}"/>
              </a:ext>
            </a:extLst>
          </p:cNvPr>
          <p:cNvSpPr>
            <a:spLocks noChangeAspect="1"/>
          </p:cNvSpPr>
          <p:nvPr userDrawn="1"/>
        </p:nvSpPr>
        <p:spPr>
          <a:xfrm>
            <a:off x="6141870" y="1240334"/>
            <a:ext cx="5888206" cy="5617665"/>
          </a:xfrm>
          <a:custGeom>
            <a:avLst/>
            <a:gdLst>
              <a:gd name="connsiteX0" fmla="*/ 6447945 w 8585201"/>
              <a:gd name="connsiteY0" fmla="*/ 0 h 8190743"/>
              <a:gd name="connsiteX1" fmla="*/ 8496805 w 8585201"/>
              <a:gd name="connsiteY1" fmla="*/ 848667 h 8190743"/>
              <a:gd name="connsiteX2" fmla="*/ 8585201 w 8585201"/>
              <a:gd name="connsiteY2" fmla="*/ 937063 h 8190743"/>
              <a:gd name="connsiteX3" fmla="*/ 8585201 w 8585201"/>
              <a:gd name="connsiteY3" fmla="*/ 8190743 h 8190743"/>
              <a:gd name="connsiteX4" fmla="*/ 586529 w 8585201"/>
              <a:gd name="connsiteY4" fmla="*/ 8190743 h 8190743"/>
              <a:gd name="connsiteX5" fmla="*/ 477376 w 8585201"/>
              <a:gd name="connsiteY5" fmla="*/ 8042272 h 8190743"/>
              <a:gd name="connsiteX6" fmla="*/ 848667 w 8585201"/>
              <a:gd name="connsiteY6" fmla="*/ 4399093 h 8190743"/>
              <a:gd name="connsiteX7" fmla="*/ 4399085 w 8585201"/>
              <a:gd name="connsiteY7" fmla="*/ 848667 h 8190743"/>
              <a:gd name="connsiteX8" fmla="*/ 6447945 w 8585201"/>
              <a:gd name="connsiteY8" fmla="*/ 0 h 819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5201" h="8190743">
                <a:moveTo>
                  <a:pt x="6447945" y="0"/>
                </a:moveTo>
                <a:cubicBezTo>
                  <a:pt x="7189489" y="0"/>
                  <a:pt x="7931027" y="282892"/>
                  <a:pt x="8496805" y="848667"/>
                </a:cubicBezTo>
                <a:lnTo>
                  <a:pt x="8585201" y="937063"/>
                </a:lnTo>
                <a:lnTo>
                  <a:pt x="8585201" y="8190743"/>
                </a:lnTo>
                <a:lnTo>
                  <a:pt x="586529" y="8190743"/>
                </a:lnTo>
                <a:lnTo>
                  <a:pt x="477376" y="8042272"/>
                </a:lnTo>
                <a:cubicBezTo>
                  <a:pt x="-265209" y="6917592"/>
                  <a:pt x="-141445" y="5389206"/>
                  <a:pt x="848667" y="4399093"/>
                </a:cubicBezTo>
                <a:lnTo>
                  <a:pt x="4399085" y="848667"/>
                </a:lnTo>
                <a:cubicBezTo>
                  <a:pt x="4964864" y="282892"/>
                  <a:pt x="5706407" y="0"/>
                  <a:pt x="6447945"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Picture Placeholder 4"/>
          <p:cNvSpPr>
            <a:spLocks noGrp="1"/>
          </p:cNvSpPr>
          <p:nvPr>
            <p:ph type="pic" sz="quarter" idx="10"/>
          </p:nvPr>
        </p:nvSpPr>
        <p:spPr>
          <a:xfrm>
            <a:off x="6468533" y="1397505"/>
            <a:ext cx="5723467" cy="5460495"/>
          </a:xfrm>
          <a:custGeom>
            <a:avLst/>
            <a:gdLst>
              <a:gd name="connsiteX0" fmla="*/ 6447945 w 8585201"/>
              <a:gd name="connsiteY0" fmla="*/ 0 h 8190743"/>
              <a:gd name="connsiteX1" fmla="*/ 8496805 w 8585201"/>
              <a:gd name="connsiteY1" fmla="*/ 848667 h 8190743"/>
              <a:gd name="connsiteX2" fmla="*/ 8585201 w 8585201"/>
              <a:gd name="connsiteY2" fmla="*/ 937063 h 8190743"/>
              <a:gd name="connsiteX3" fmla="*/ 8585201 w 8585201"/>
              <a:gd name="connsiteY3" fmla="*/ 8190743 h 8190743"/>
              <a:gd name="connsiteX4" fmla="*/ 586529 w 8585201"/>
              <a:gd name="connsiteY4" fmla="*/ 8190743 h 8190743"/>
              <a:gd name="connsiteX5" fmla="*/ 477376 w 8585201"/>
              <a:gd name="connsiteY5" fmla="*/ 8042272 h 8190743"/>
              <a:gd name="connsiteX6" fmla="*/ 848667 w 8585201"/>
              <a:gd name="connsiteY6" fmla="*/ 4399093 h 8190743"/>
              <a:gd name="connsiteX7" fmla="*/ 4399085 w 8585201"/>
              <a:gd name="connsiteY7" fmla="*/ 848667 h 8190743"/>
              <a:gd name="connsiteX8" fmla="*/ 6447945 w 8585201"/>
              <a:gd name="connsiteY8" fmla="*/ 0 h 819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5201" h="8190743">
                <a:moveTo>
                  <a:pt x="6447945" y="0"/>
                </a:moveTo>
                <a:cubicBezTo>
                  <a:pt x="7189489" y="0"/>
                  <a:pt x="7931027" y="282892"/>
                  <a:pt x="8496805" y="848667"/>
                </a:cubicBezTo>
                <a:lnTo>
                  <a:pt x="8585201" y="937063"/>
                </a:lnTo>
                <a:lnTo>
                  <a:pt x="8585201" y="8190743"/>
                </a:lnTo>
                <a:lnTo>
                  <a:pt x="586529" y="8190743"/>
                </a:lnTo>
                <a:lnTo>
                  <a:pt x="477376" y="8042272"/>
                </a:lnTo>
                <a:cubicBezTo>
                  <a:pt x="-265209" y="6917592"/>
                  <a:pt x="-141445" y="5389206"/>
                  <a:pt x="848667" y="4399093"/>
                </a:cubicBezTo>
                <a:lnTo>
                  <a:pt x="4399085" y="848667"/>
                </a:lnTo>
                <a:cubicBezTo>
                  <a:pt x="4964864" y="282892"/>
                  <a:pt x="5706407" y="0"/>
                  <a:pt x="6447945" y="0"/>
                </a:cubicBezTo>
                <a:close/>
              </a:path>
            </a:pathLst>
          </a:custGeom>
        </p:spPr>
        <p:txBody>
          <a:bodyPr wrap="square">
            <a:noAutofit/>
          </a:bodyPr>
          <a:lstStyle/>
          <a:p>
            <a:r>
              <a:rPr lang="nl-NL"/>
              <a:t>Klik op het pictogram als u een afbeelding wilt toevoegen</a:t>
            </a:r>
            <a:endParaRPr lang="en-GB"/>
          </a:p>
        </p:txBody>
      </p:sp>
      <p:sp>
        <p:nvSpPr>
          <p:cNvPr id="3" name="Slide Number Placeholder 5">
            <a:extLst>
              <a:ext uri="{FF2B5EF4-FFF2-40B4-BE49-F238E27FC236}">
                <a16:creationId xmlns:a16="http://schemas.microsoft.com/office/drawing/2014/main" id="{6078B436-8CAD-E2E2-B38D-F21146B61F75}"/>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2DB09F91-A5F3-25FE-17B8-906E11974095}"/>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8" name="Segnaposto testo 4">
            <a:extLst>
              <a:ext uri="{FF2B5EF4-FFF2-40B4-BE49-F238E27FC236}">
                <a16:creationId xmlns:a16="http://schemas.microsoft.com/office/drawing/2014/main" id="{8B84F20A-B4A5-A139-9026-321B3DABCBA6}"/>
              </a:ext>
            </a:extLst>
          </p:cNvPr>
          <p:cNvSpPr>
            <a:spLocks noGrp="1"/>
          </p:cNvSpPr>
          <p:nvPr>
            <p:ph type="body" sz="quarter" idx="15" hasCustomPrompt="1"/>
          </p:nvPr>
        </p:nvSpPr>
        <p:spPr>
          <a:xfrm>
            <a:off x="530696" y="1371600"/>
            <a:ext cx="3968151" cy="457200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9" name="Titel 13">
            <a:extLst>
              <a:ext uri="{FF2B5EF4-FFF2-40B4-BE49-F238E27FC236}">
                <a16:creationId xmlns:a16="http://schemas.microsoft.com/office/drawing/2014/main" id="{011F5E77-1CE5-B120-C400-64AE280A9905}"/>
              </a:ext>
            </a:extLst>
          </p:cNvPr>
          <p:cNvSpPr>
            <a:spLocks noGrp="1"/>
          </p:cNvSpPr>
          <p:nvPr>
            <p:ph type="title" hasCustomPrompt="1"/>
          </p:nvPr>
        </p:nvSpPr>
        <p:spPr>
          <a:xfrm>
            <a:off x="550863" y="549276"/>
            <a:ext cx="3947985" cy="827087"/>
          </a:xfrm>
        </p:spPr>
        <p:txBody>
          <a:bodyPr/>
          <a:lstStyle/>
          <a:p>
            <a:r>
              <a:rPr lang="nl-NL"/>
              <a:t>CLICK TO EDIT </a:t>
            </a:r>
            <a:endParaRPr lang="en-GB"/>
          </a:p>
        </p:txBody>
      </p:sp>
    </p:spTree>
    <p:extLst>
      <p:ext uri="{BB962C8B-B14F-4D97-AF65-F5344CB8AC3E}">
        <p14:creationId xmlns:p14="http://schemas.microsoft.com/office/powerpoint/2010/main" val="2255419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 text_17">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4942707" cy="4776155"/>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4942707" cy="827087"/>
          </a:xfrm>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5787189" y="0"/>
            <a:ext cx="6404811" cy="6858000"/>
          </a:xfrm>
          <a:solidFill>
            <a:schemeClr val="bg1">
              <a:lumMod val="95000"/>
            </a:schemeClr>
          </a:solidFill>
        </p:spPr>
        <p:txBody>
          <a:body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733A53E9-5B32-24A3-F8F1-4E855B839AF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3415606D-1927-0E1B-2668-1E2FF7AB3C6F}"/>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14544787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Picture + text_17">
    <p:bg>
      <p:bgPr>
        <a:solidFill>
          <a:schemeClr val="accent2"/>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4942707" cy="4776155"/>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4942707" cy="827087"/>
          </a:xfrm>
        </p:spPr>
        <p:txBody>
          <a:bodyPr/>
          <a:lstStyle>
            <a:lvl1pPr>
              <a:defRPr>
                <a:solidFill>
                  <a:schemeClr val="accent4"/>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5787189" y="0"/>
            <a:ext cx="6404811" cy="6858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733A53E9-5B32-24A3-F8F1-4E855B839AF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3415606D-1927-0E1B-2668-1E2FF7AB3C6F}"/>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137747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Backpage">
    <p:spTree>
      <p:nvGrpSpPr>
        <p:cNvPr id="1" name=""/>
        <p:cNvGrpSpPr/>
        <p:nvPr/>
      </p:nvGrpSpPr>
      <p:grpSpPr>
        <a:xfrm>
          <a:off x="0" y="0"/>
          <a:ext cx="0" cy="0"/>
          <a:chOff x="0" y="0"/>
          <a:chExt cx="0" cy="0"/>
        </a:xfrm>
      </p:grpSpPr>
      <p:pic>
        <p:nvPicPr>
          <p:cNvPr id="6" name="Afbeelding 5" descr="Afbeelding met Menselijk gezicht, persoon, kleding, gebouw&#10;&#10;Door AI gegenereerde inhoud is mogelijk onjuist.">
            <a:extLst>
              <a:ext uri="{FF2B5EF4-FFF2-40B4-BE49-F238E27FC236}">
                <a16:creationId xmlns:a16="http://schemas.microsoft.com/office/drawing/2014/main" id="{3EEC34E8-F9FE-41D6-FE74-DEDD1F86571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2382" y="0"/>
            <a:ext cx="12194382" cy="6843194"/>
          </a:xfrm>
          <a:prstGeom prst="rect">
            <a:avLst/>
          </a:prstGeom>
        </p:spPr>
      </p:pic>
      <p:sp>
        <p:nvSpPr>
          <p:cNvPr id="3" name="Rectangle 12">
            <a:extLst>
              <a:ext uri="{FF2B5EF4-FFF2-40B4-BE49-F238E27FC236}">
                <a16:creationId xmlns:a16="http://schemas.microsoft.com/office/drawing/2014/main" id="{6D3E03D0-8025-60A0-66DA-0F449AA82AB7}"/>
              </a:ext>
            </a:extLst>
          </p:cNvPr>
          <p:cNvSpPr/>
          <p:nvPr userDrawn="1"/>
        </p:nvSpPr>
        <p:spPr>
          <a:xfrm>
            <a:off x="-2382" y="0"/>
            <a:ext cx="12178836" cy="684319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14">
            <a:extLst>
              <a:ext uri="{FF2B5EF4-FFF2-40B4-BE49-F238E27FC236}">
                <a16:creationId xmlns:a16="http://schemas.microsoft.com/office/drawing/2014/main" id="{30F30CA8-CD1D-998B-23F3-99433923C0B3}"/>
              </a:ext>
            </a:extLst>
          </p:cNvPr>
          <p:cNvSpPr txBox="1"/>
          <p:nvPr userDrawn="1"/>
        </p:nvSpPr>
        <p:spPr>
          <a:xfrm>
            <a:off x="972958" y="4710144"/>
            <a:ext cx="10246088" cy="861774"/>
          </a:xfrm>
          <a:prstGeom prst="rect">
            <a:avLst/>
          </a:prstGeom>
          <a:noFill/>
        </p:spPr>
        <p:txBody>
          <a:bodyPr wrap="square" rtlCol="0">
            <a:spAutoFit/>
          </a:bodyPr>
          <a:lstStyle/>
          <a:p>
            <a:pPr algn="ctr"/>
            <a:r>
              <a:rPr lang="de-DE" sz="5000" err="1">
                <a:solidFill>
                  <a:schemeClr val="bg1"/>
                </a:solidFill>
                <a:latin typeface="Fave Script Bold Pro" pitchFamily="2" charset="77"/>
                <a:cs typeface="Arial" panose="020B0604020202020204" pitchFamily="34" charset="0"/>
              </a:rPr>
              <a:t>www.selecta.com</a:t>
            </a:r>
            <a:endParaRPr lang="en-GB" sz="5000">
              <a:solidFill>
                <a:schemeClr val="bg1"/>
              </a:solidFill>
              <a:latin typeface="Fave Script Bold Pro" pitchFamily="2" charset="77"/>
              <a:cs typeface="Arial" panose="020B0604020202020204" pitchFamily="34" charset="0"/>
            </a:endParaRPr>
          </a:p>
        </p:txBody>
      </p:sp>
      <p:sp>
        <p:nvSpPr>
          <p:cNvPr id="8" name="TextBox 15">
            <a:extLst>
              <a:ext uri="{FF2B5EF4-FFF2-40B4-BE49-F238E27FC236}">
                <a16:creationId xmlns:a16="http://schemas.microsoft.com/office/drawing/2014/main" id="{09F77F7B-8F2C-38D1-2142-6F5BB54B0E77}"/>
              </a:ext>
            </a:extLst>
          </p:cNvPr>
          <p:cNvSpPr txBox="1"/>
          <p:nvPr userDrawn="1"/>
        </p:nvSpPr>
        <p:spPr>
          <a:xfrm>
            <a:off x="0" y="3429000"/>
            <a:ext cx="12192000" cy="1015663"/>
          </a:xfrm>
          <a:prstGeom prst="rect">
            <a:avLst/>
          </a:prstGeom>
          <a:noFill/>
          <a:effectLst/>
        </p:spPr>
        <p:txBody>
          <a:bodyPr wrap="square" rtlCol="0">
            <a:spAutoFit/>
          </a:bodyPr>
          <a:lstStyle/>
          <a:p>
            <a:pPr algn="ctr"/>
            <a:r>
              <a:rPr lang="en-US" sz="6000" b="1" dirty="0">
                <a:solidFill>
                  <a:schemeClr val="bg1"/>
                </a:solidFill>
                <a:latin typeface="Prometo" panose="020B0604030203060203" pitchFamily="34" charset="77"/>
                <a:ea typeface="Fira Sans SemiBold" panose="020B0603050000020004" pitchFamily="34" charset="0"/>
              </a:rPr>
              <a:t>JOY TO </a:t>
            </a:r>
            <a:r>
              <a:rPr lang="en-US" sz="6000" b="1" i="1" dirty="0">
                <a:solidFill>
                  <a:schemeClr val="bg1"/>
                </a:solidFill>
                <a:latin typeface="Prometo" panose="020B0604030203060203" pitchFamily="34" charset="77"/>
                <a:ea typeface="Fira Sans SemiBold" panose="020B0603050000020004" pitchFamily="34" charset="0"/>
              </a:rPr>
              <a:t>GO</a:t>
            </a:r>
            <a:endParaRPr lang="en-GB" sz="6000" b="1" i="1" dirty="0">
              <a:solidFill>
                <a:schemeClr val="bg1"/>
              </a:solidFill>
              <a:latin typeface="Prometo" panose="020B0604030203060203" pitchFamily="34" charset="77"/>
              <a:ea typeface="Fira Sans SemiBold" panose="020B0603050000020004" pitchFamily="34" charset="0"/>
            </a:endParaRPr>
          </a:p>
        </p:txBody>
      </p:sp>
      <p:cxnSp>
        <p:nvCxnSpPr>
          <p:cNvPr id="12" name="Straight Connector 16">
            <a:extLst>
              <a:ext uri="{FF2B5EF4-FFF2-40B4-BE49-F238E27FC236}">
                <a16:creationId xmlns:a16="http://schemas.microsoft.com/office/drawing/2014/main" id="{5EF95C70-12C6-05A6-B3AD-C9EEC38C4D3C}"/>
              </a:ext>
            </a:extLst>
          </p:cNvPr>
          <p:cNvCxnSpPr>
            <a:cxnSpLocks/>
          </p:cNvCxnSpPr>
          <p:nvPr userDrawn="1"/>
        </p:nvCxnSpPr>
        <p:spPr>
          <a:xfrm>
            <a:off x="4765831" y="4529778"/>
            <a:ext cx="2660337" cy="0"/>
          </a:xfrm>
          <a:prstGeom prst="line">
            <a:avLst/>
          </a:prstGeom>
          <a:ln w="76200">
            <a:solidFill>
              <a:schemeClr val="bg1"/>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557409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Picture + text_17">
    <p:bg>
      <p:bgPr>
        <a:solidFill>
          <a:schemeClr val="accent4"/>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4942707" cy="4776155"/>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4942707" cy="827087"/>
          </a:xfrm>
        </p:spPr>
        <p:txBody>
          <a:bodyPr/>
          <a:lstStyle>
            <a:lvl1pPr>
              <a:defRPr>
                <a:solidFill>
                  <a:schemeClr val="bg1"/>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5787189" y="0"/>
            <a:ext cx="6404811" cy="6858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733A53E9-5B32-24A3-F8F1-4E855B839AF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3415606D-1927-0E1B-2668-1E2FF7AB3C6F}"/>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6773811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 text_18">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310437" cy="4776155"/>
          </a:xfrm>
        </p:spPr>
        <p:txBody>
          <a:bodyPr numCol="2"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310437" cy="827087"/>
          </a:xfrm>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205537" y="0"/>
            <a:ext cx="3986463" cy="6858000"/>
          </a:xfrm>
          <a:solidFill>
            <a:schemeClr val="bg1">
              <a:lumMod val="95000"/>
            </a:schemeClr>
          </a:solidFill>
        </p:spPr>
        <p:txBody>
          <a:bodyPr/>
          <a:lstStyle/>
          <a:p>
            <a:r>
              <a:rPr lang="nl-NL"/>
              <a:t>Klik op het pictogram als u een afbeelding wilt toevoegen</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288354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Picture + text_18">
    <p:bg>
      <p:bgPr>
        <a:solidFill>
          <a:schemeClr val="accent2"/>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310437" cy="4776155"/>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310437" cy="827087"/>
          </a:xfrm>
        </p:spPr>
        <p:txBody>
          <a:bodyPr/>
          <a:lstStyle>
            <a:lvl1pPr>
              <a:defRPr>
                <a:solidFill>
                  <a:schemeClr val="accent4"/>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205537" y="0"/>
            <a:ext cx="3986463" cy="6858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8931686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Picture + text_18">
    <p:bg>
      <p:bgPr>
        <a:solidFill>
          <a:schemeClr val="accent4"/>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310437" cy="4776155"/>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310437" cy="827087"/>
          </a:xfrm>
        </p:spPr>
        <p:txBody>
          <a:bodyPr/>
          <a:lstStyle>
            <a:lvl1pPr>
              <a:defRPr>
                <a:solidFill>
                  <a:schemeClr val="bg1"/>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205537" y="0"/>
            <a:ext cx="3986463" cy="6858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29117900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Picture + text_18">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1713656" y="2218988"/>
            <a:ext cx="6070663" cy="393353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4" y="549276"/>
            <a:ext cx="7233456" cy="827087"/>
          </a:xfrm>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205537" y="0"/>
            <a:ext cx="3986463" cy="6858000"/>
          </a:xfrm>
          <a:solidFill>
            <a:schemeClr val="bg1">
              <a:lumMod val="95000"/>
            </a:schemeClr>
          </a:solidFill>
        </p:spPr>
        <p:txBody>
          <a:bodyPr/>
          <a:lstStyle/>
          <a:p>
            <a:r>
              <a:rPr lang="nl-NL"/>
              <a:t>Klik op het pictogram als u een afbeelding wilt toevoegen</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grpSp>
        <p:nvGrpSpPr>
          <p:cNvPr id="26" name="Groep 25">
            <a:extLst>
              <a:ext uri="{FF2B5EF4-FFF2-40B4-BE49-F238E27FC236}">
                <a16:creationId xmlns:a16="http://schemas.microsoft.com/office/drawing/2014/main" id="{2A66D0FA-2499-ED2A-43E2-87242865E98A}"/>
              </a:ext>
            </a:extLst>
          </p:cNvPr>
          <p:cNvGrpSpPr>
            <a:grpSpLocks noChangeAspect="1"/>
          </p:cNvGrpSpPr>
          <p:nvPr userDrawn="1"/>
        </p:nvGrpSpPr>
        <p:grpSpPr>
          <a:xfrm>
            <a:off x="628106" y="2390726"/>
            <a:ext cx="829220" cy="3581450"/>
            <a:chOff x="628105" y="1523721"/>
            <a:chExt cx="1100007" cy="4750995"/>
          </a:xfrm>
        </p:grpSpPr>
        <p:sp>
          <p:nvSpPr>
            <p:cNvPr id="2" name="Rounded Rectangle 5">
              <a:extLst>
                <a:ext uri="{FF2B5EF4-FFF2-40B4-BE49-F238E27FC236}">
                  <a16:creationId xmlns:a16="http://schemas.microsoft.com/office/drawing/2014/main" id="{2AC0A74B-F7BD-7442-95EB-46273289F0FC}"/>
                </a:ext>
              </a:extLst>
            </p:cNvPr>
            <p:cNvSpPr/>
            <p:nvPr userDrawn="1"/>
          </p:nvSpPr>
          <p:spPr>
            <a:xfrm rot="18900000">
              <a:off x="628105" y="1523721"/>
              <a:ext cx="1100007" cy="1100007"/>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43">
              <a:extLst>
                <a:ext uri="{FF2B5EF4-FFF2-40B4-BE49-F238E27FC236}">
                  <a16:creationId xmlns:a16="http://schemas.microsoft.com/office/drawing/2014/main" id="{04AF9DA1-036E-38DF-0E1B-882A1653D9B1}"/>
                </a:ext>
              </a:extLst>
            </p:cNvPr>
            <p:cNvSpPr/>
            <p:nvPr userDrawn="1"/>
          </p:nvSpPr>
          <p:spPr>
            <a:xfrm rot="18900000">
              <a:off x="628105" y="3349215"/>
              <a:ext cx="1100007" cy="1100007"/>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44">
              <a:extLst>
                <a:ext uri="{FF2B5EF4-FFF2-40B4-BE49-F238E27FC236}">
                  <a16:creationId xmlns:a16="http://schemas.microsoft.com/office/drawing/2014/main" id="{FA7ADBA2-58FF-CD0F-CA3E-5A14EF934C6A}"/>
                </a:ext>
              </a:extLst>
            </p:cNvPr>
            <p:cNvSpPr/>
            <p:nvPr userDrawn="1"/>
          </p:nvSpPr>
          <p:spPr>
            <a:xfrm rot="18900000">
              <a:off x="628105" y="5174709"/>
              <a:ext cx="1100007" cy="1100007"/>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51">
              <a:extLst>
                <a:ext uri="{FF2B5EF4-FFF2-40B4-BE49-F238E27FC236}">
                  <a16:creationId xmlns:a16="http://schemas.microsoft.com/office/drawing/2014/main" id="{23F40186-117E-A050-8791-336D46C9DA83}"/>
                </a:ext>
              </a:extLst>
            </p:cNvPr>
            <p:cNvGrpSpPr/>
            <p:nvPr userDrawn="1"/>
          </p:nvGrpSpPr>
          <p:grpSpPr>
            <a:xfrm>
              <a:off x="869950" y="1755095"/>
              <a:ext cx="618463" cy="616435"/>
              <a:chOff x="4824554" y="1062039"/>
              <a:chExt cx="726282" cy="723900"/>
            </a:xfrm>
            <a:solidFill>
              <a:schemeClr val="bg1"/>
            </a:solidFill>
          </p:grpSpPr>
          <p:sp>
            <p:nvSpPr>
              <p:cNvPr id="10" name="Oval 52">
                <a:extLst>
                  <a:ext uri="{FF2B5EF4-FFF2-40B4-BE49-F238E27FC236}">
                    <a16:creationId xmlns:a16="http://schemas.microsoft.com/office/drawing/2014/main" id="{04179575-FA45-DB10-6851-660ECE1B5BDC}"/>
                  </a:ext>
                </a:extLst>
              </p:cNvPr>
              <p:cNvSpPr>
                <a:spLocks noChangeArrowheads="1"/>
              </p:cNvSpPr>
              <p:nvPr/>
            </p:nvSpPr>
            <p:spPr bwMode="auto">
              <a:xfrm>
                <a:off x="4957904" y="1193008"/>
                <a:ext cx="459581" cy="461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1" name="Freeform 53">
                <a:extLst>
                  <a:ext uri="{FF2B5EF4-FFF2-40B4-BE49-F238E27FC236}">
                    <a16:creationId xmlns:a16="http://schemas.microsoft.com/office/drawing/2014/main" id="{19C38EF1-8CA6-1502-EDA0-82DFD016DB17}"/>
                  </a:ext>
                </a:extLst>
              </p:cNvPr>
              <p:cNvSpPr>
                <a:spLocks/>
              </p:cNvSpPr>
              <p:nvPr/>
            </p:nvSpPr>
            <p:spPr bwMode="auto">
              <a:xfrm>
                <a:off x="5124592" y="1062039"/>
                <a:ext cx="130969" cy="102394"/>
              </a:xfrm>
              <a:custGeom>
                <a:avLst/>
                <a:gdLst>
                  <a:gd name="T0" fmla="*/ 27 w 55"/>
                  <a:gd name="T1" fmla="*/ 0 h 43"/>
                  <a:gd name="T2" fmla="*/ 0 w 55"/>
                  <a:gd name="T3" fmla="*/ 43 h 43"/>
                  <a:gd name="T4" fmla="*/ 55 w 55"/>
                  <a:gd name="T5" fmla="*/ 43 h 43"/>
                  <a:gd name="T6" fmla="*/ 27 w 55"/>
                  <a:gd name="T7" fmla="*/ 0 h 43"/>
                </a:gdLst>
                <a:ahLst/>
                <a:cxnLst>
                  <a:cxn ang="0">
                    <a:pos x="T0" y="T1"/>
                  </a:cxn>
                  <a:cxn ang="0">
                    <a:pos x="T2" y="T3"/>
                  </a:cxn>
                  <a:cxn ang="0">
                    <a:pos x="T4" y="T5"/>
                  </a:cxn>
                  <a:cxn ang="0">
                    <a:pos x="T6" y="T7"/>
                  </a:cxn>
                </a:cxnLst>
                <a:rect l="0" t="0" r="r" b="b"/>
                <a:pathLst>
                  <a:path w="55" h="43">
                    <a:moveTo>
                      <a:pt x="27" y="0"/>
                    </a:moveTo>
                    <a:lnTo>
                      <a:pt x="0" y="43"/>
                    </a:lnTo>
                    <a:lnTo>
                      <a:pt x="55" y="43"/>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2" name="Freeform 54">
                <a:extLst>
                  <a:ext uri="{FF2B5EF4-FFF2-40B4-BE49-F238E27FC236}">
                    <a16:creationId xmlns:a16="http://schemas.microsoft.com/office/drawing/2014/main" id="{E2763D14-0E2C-B3F0-F3DA-D14F61914F69}"/>
                  </a:ext>
                </a:extLst>
              </p:cNvPr>
              <p:cNvSpPr>
                <a:spLocks/>
              </p:cNvSpPr>
              <p:nvPr/>
            </p:nvSpPr>
            <p:spPr bwMode="auto">
              <a:xfrm>
                <a:off x="5450823" y="1362076"/>
                <a:ext cx="100013" cy="128588"/>
              </a:xfrm>
              <a:custGeom>
                <a:avLst/>
                <a:gdLst>
                  <a:gd name="T0" fmla="*/ 0 w 42"/>
                  <a:gd name="T1" fmla="*/ 0 h 54"/>
                  <a:gd name="T2" fmla="*/ 0 w 42"/>
                  <a:gd name="T3" fmla="*/ 54 h 54"/>
                  <a:gd name="T4" fmla="*/ 42 w 42"/>
                  <a:gd name="T5" fmla="*/ 26 h 54"/>
                  <a:gd name="T6" fmla="*/ 0 w 42"/>
                  <a:gd name="T7" fmla="*/ 0 h 54"/>
                </a:gdLst>
                <a:ahLst/>
                <a:cxnLst>
                  <a:cxn ang="0">
                    <a:pos x="T0" y="T1"/>
                  </a:cxn>
                  <a:cxn ang="0">
                    <a:pos x="T2" y="T3"/>
                  </a:cxn>
                  <a:cxn ang="0">
                    <a:pos x="T4" y="T5"/>
                  </a:cxn>
                  <a:cxn ang="0">
                    <a:pos x="T6" y="T7"/>
                  </a:cxn>
                </a:cxnLst>
                <a:rect l="0" t="0" r="r" b="b"/>
                <a:pathLst>
                  <a:path w="42" h="54">
                    <a:moveTo>
                      <a:pt x="0" y="0"/>
                    </a:moveTo>
                    <a:lnTo>
                      <a:pt x="0" y="54"/>
                    </a:lnTo>
                    <a:lnTo>
                      <a:pt x="42" y="2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3" name="Freeform 55">
                <a:extLst>
                  <a:ext uri="{FF2B5EF4-FFF2-40B4-BE49-F238E27FC236}">
                    <a16:creationId xmlns:a16="http://schemas.microsoft.com/office/drawing/2014/main" id="{991ECF06-D768-7D09-10E2-C8780A639B5B}"/>
                  </a:ext>
                </a:extLst>
              </p:cNvPr>
              <p:cNvSpPr>
                <a:spLocks/>
              </p:cNvSpPr>
              <p:nvPr/>
            </p:nvSpPr>
            <p:spPr bwMode="auto">
              <a:xfrm>
                <a:off x="5124592" y="1685926"/>
                <a:ext cx="130969" cy="100013"/>
              </a:xfrm>
              <a:custGeom>
                <a:avLst/>
                <a:gdLst>
                  <a:gd name="T0" fmla="*/ 27 w 55"/>
                  <a:gd name="T1" fmla="*/ 42 h 42"/>
                  <a:gd name="T2" fmla="*/ 55 w 55"/>
                  <a:gd name="T3" fmla="*/ 0 h 42"/>
                  <a:gd name="T4" fmla="*/ 0 w 55"/>
                  <a:gd name="T5" fmla="*/ 0 h 42"/>
                  <a:gd name="T6" fmla="*/ 27 w 55"/>
                  <a:gd name="T7" fmla="*/ 42 h 42"/>
                </a:gdLst>
                <a:ahLst/>
                <a:cxnLst>
                  <a:cxn ang="0">
                    <a:pos x="T0" y="T1"/>
                  </a:cxn>
                  <a:cxn ang="0">
                    <a:pos x="T2" y="T3"/>
                  </a:cxn>
                  <a:cxn ang="0">
                    <a:pos x="T4" y="T5"/>
                  </a:cxn>
                  <a:cxn ang="0">
                    <a:pos x="T6" y="T7"/>
                  </a:cxn>
                </a:cxnLst>
                <a:rect l="0" t="0" r="r" b="b"/>
                <a:pathLst>
                  <a:path w="55" h="42">
                    <a:moveTo>
                      <a:pt x="27" y="42"/>
                    </a:moveTo>
                    <a:lnTo>
                      <a:pt x="55" y="0"/>
                    </a:lnTo>
                    <a:lnTo>
                      <a:pt x="0" y="0"/>
                    </a:lnTo>
                    <a:lnTo>
                      <a:pt x="27"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5" name="Freeform 56">
                <a:extLst>
                  <a:ext uri="{FF2B5EF4-FFF2-40B4-BE49-F238E27FC236}">
                    <a16:creationId xmlns:a16="http://schemas.microsoft.com/office/drawing/2014/main" id="{AF83DE04-E8D6-2E27-747E-FEE6DF38C08F}"/>
                  </a:ext>
                </a:extLst>
              </p:cNvPr>
              <p:cNvSpPr>
                <a:spLocks/>
              </p:cNvSpPr>
              <p:nvPr/>
            </p:nvSpPr>
            <p:spPr bwMode="auto">
              <a:xfrm>
                <a:off x="4824554" y="1362076"/>
                <a:ext cx="102394" cy="128588"/>
              </a:xfrm>
              <a:custGeom>
                <a:avLst/>
                <a:gdLst>
                  <a:gd name="T0" fmla="*/ 43 w 43"/>
                  <a:gd name="T1" fmla="*/ 0 h 54"/>
                  <a:gd name="T2" fmla="*/ 0 w 43"/>
                  <a:gd name="T3" fmla="*/ 26 h 54"/>
                  <a:gd name="T4" fmla="*/ 43 w 43"/>
                  <a:gd name="T5" fmla="*/ 54 h 54"/>
                  <a:gd name="T6" fmla="*/ 43 w 43"/>
                  <a:gd name="T7" fmla="*/ 0 h 54"/>
                </a:gdLst>
                <a:ahLst/>
                <a:cxnLst>
                  <a:cxn ang="0">
                    <a:pos x="T0" y="T1"/>
                  </a:cxn>
                  <a:cxn ang="0">
                    <a:pos x="T2" y="T3"/>
                  </a:cxn>
                  <a:cxn ang="0">
                    <a:pos x="T4" y="T5"/>
                  </a:cxn>
                  <a:cxn ang="0">
                    <a:pos x="T6" y="T7"/>
                  </a:cxn>
                </a:cxnLst>
                <a:rect l="0" t="0" r="r" b="b"/>
                <a:pathLst>
                  <a:path w="43" h="54">
                    <a:moveTo>
                      <a:pt x="43" y="0"/>
                    </a:moveTo>
                    <a:lnTo>
                      <a:pt x="0" y="26"/>
                    </a:lnTo>
                    <a:lnTo>
                      <a:pt x="43" y="54"/>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6" name="Freeform 57">
                <a:extLst>
                  <a:ext uri="{FF2B5EF4-FFF2-40B4-BE49-F238E27FC236}">
                    <a16:creationId xmlns:a16="http://schemas.microsoft.com/office/drawing/2014/main" id="{30F4272B-81A4-7DBA-2A4C-B81D326755FA}"/>
                  </a:ext>
                </a:extLst>
              </p:cNvPr>
              <p:cNvSpPr>
                <a:spLocks/>
              </p:cNvSpPr>
              <p:nvPr/>
            </p:nvSpPr>
            <p:spPr bwMode="auto">
              <a:xfrm>
                <a:off x="5326998" y="1169195"/>
                <a:ext cx="116681" cy="116681"/>
              </a:xfrm>
              <a:custGeom>
                <a:avLst/>
                <a:gdLst>
                  <a:gd name="T0" fmla="*/ 49 w 49"/>
                  <a:gd name="T1" fmla="*/ 0 h 49"/>
                  <a:gd name="T2" fmla="*/ 0 w 49"/>
                  <a:gd name="T3" fmla="*/ 10 h 49"/>
                  <a:gd name="T4" fmla="*/ 38 w 49"/>
                  <a:gd name="T5" fmla="*/ 49 h 49"/>
                  <a:gd name="T6" fmla="*/ 49 w 49"/>
                  <a:gd name="T7" fmla="*/ 0 h 49"/>
                </a:gdLst>
                <a:ahLst/>
                <a:cxnLst>
                  <a:cxn ang="0">
                    <a:pos x="T0" y="T1"/>
                  </a:cxn>
                  <a:cxn ang="0">
                    <a:pos x="T2" y="T3"/>
                  </a:cxn>
                  <a:cxn ang="0">
                    <a:pos x="T4" y="T5"/>
                  </a:cxn>
                  <a:cxn ang="0">
                    <a:pos x="T6" y="T7"/>
                  </a:cxn>
                </a:cxnLst>
                <a:rect l="0" t="0" r="r" b="b"/>
                <a:pathLst>
                  <a:path w="49" h="49">
                    <a:moveTo>
                      <a:pt x="49" y="0"/>
                    </a:moveTo>
                    <a:lnTo>
                      <a:pt x="0" y="10"/>
                    </a:lnTo>
                    <a:lnTo>
                      <a:pt x="38"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7" name="Freeform 58">
                <a:extLst>
                  <a:ext uri="{FF2B5EF4-FFF2-40B4-BE49-F238E27FC236}">
                    <a16:creationId xmlns:a16="http://schemas.microsoft.com/office/drawing/2014/main" id="{BADBEC6A-1FFA-2CD9-794A-9BEAF9C59F64}"/>
                  </a:ext>
                </a:extLst>
              </p:cNvPr>
              <p:cNvSpPr>
                <a:spLocks/>
              </p:cNvSpPr>
              <p:nvPr/>
            </p:nvSpPr>
            <p:spPr bwMode="auto">
              <a:xfrm>
                <a:off x="5326998" y="1562101"/>
                <a:ext cx="116681" cy="116681"/>
              </a:xfrm>
              <a:custGeom>
                <a:avLst/>
                <a:gdLst>
                  <a:gd name="T0" fmla="*/ 49 w 49"/>
                  <a:gd name="T1" fmla="*/ 49 h 49"/>
                  <a:gd name="T2" fmla="*/ 38 w 49"/>
                  <a:gd name="T3" fmla="*/ 0 h 49"/>
                  <a:gd name="T4" fmla="*/ 0 w 49"/>
                  <a:gd name="T5" fmla="*/ 39 h 49"/>
                  <a:gd name="T6" fmla="*/ 49 w 49"/>
                  <a:gd name="T7" fmla="*/ 49 h 49"/>
                </a:gdLst>
                <a:ahLst/>
                <a:cxnLst>
                  <a:cxn ang="0">
                    <a:pos x="T0" y="T1"/>
                  </a:cxn>
                  <a:cxn ang="0">
                    <a:pos x="T2" y="T3"/>
                  </a:cxn>
                  <a:cxn ang="0">
                    <a:pos x="T4" y="T5"/>
                  </a:cxn>
                  <a:cxn ang="0">
                    <a:pos x="T6" y="T7"/>
                  </a:cxn>
                </a:cxnLst>
                <a:rect l="0" t="0" r="r" b="b"/>
                <a:pathLst>
                  <a:path w="49" h="49">
                    <a:moveTo>
                      <a:pt x="49" y="49"/>
                    </a:moveTo>
                    <a:lnTo>
                      <a:pt x="38" y="0"/>
                    </a:lnTo>
                    <a:lnTo>
                      <a:pt x="0" y="39"/>
                    </a:lnTo>
                    <a:lnTo>
                      <a:pt x="49"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8" name="Freeform 59">
                <a:extLst>
                  <a:ext uri="{FF2B5EF4-FFF2-40B4-BE49-F238E27FC236}">
                    <a16:creationId xmlns:a16="http://schemas.microsoft.com/office/drawing/2014/main" id="{69C1BD09-A9E8-5427-A1F5-D022F59117CE}"/>
                  </a:ext>
                </a:extLst>
              </p:cNvPr>
              <p:cNvSpPr>
                <a:spLocks/>
              </p:cNvSpPr>
              <p:nvPr/>
            </p:nvSpPr>
            <p:spPr bwMode="auto">
              <a:xfrm>
                <a:off x="4931710" y="1562101"/>
                <a:ext cx="116681" cy="116681"/>
              </a:xfrm>
              <a:custGeom>
                <a:avLst/>
                <a:gdLst>
                  <a:gd name="T0" fmla="*/ 11 w 49"/>
                  <a:gd name="T1" fmla="*/ 0 h 49"/>
                  <a:gd name="T2" fmla="*/ 0 w 49"/>
                  <a:gd name="T3" fmla="*/ 49 h 49"/>
                  <a:gd name="T4" fmla="*/ 49 w 49"/>
                  <a:gd name="T5" fmla="*/ 39 h 49"/>
                  <a:gd name="T6" fmla="*/ 11 w 49"/>
                  <a:gd name="T7" fmla="*/ 0 h 49"/>
                </a:gdLst>
                <a:ahLst/>
                <a:cxnLst>
                  <a:cxn ang="0">
                    <a:pos x="T0" y="T1"/>
                  </a:cxn>
                  <a:cxn ang="0">
                    <a:pos x="T2" y="T3"/>
                  </a:cxn>
                  <a:cxn ang="0">
                    <a:pos x="T4" y="T5"/>
                  </a:cxn>
                  <a:cxn ang="0">
                    <a:pos x="T6" y="T7"/>
                  </a:cxn>
                </a:cxnLst>
                <a:rect l="0" t="0" r="r" b="b"/>
                <a:pathLst>
                  <a:path w="49" h="49">
                    <a:moveTo>
                      <a:pt x="11" y="0"/>
                    </a:moveTo>
                    <a:lnTo>
                      <a:pt x="0" y="49"/>
                    </a:lnTo>
                    <a:lnTo>
                      <a:pt x="49" y="39"/>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19" name="Freeform 60">
                <a:extLst>
                  <a:ext uri="{FF2B5EF4-FFF2-40B4-BE49-F238E27FC236}">
                    <a16:creationId xmlns:a16="http://schemas.microsoft.com/office/drawing/2014/main" id="{D04A4A80-DFB3-30CC-1DA0-D8C2D9B5C486}"/>
                  </a:ext>
                </a:extLst>
              </p:cNvPr>
              <p:cNvSpPr>
                <a:spLocks/>
              </p:cNvSpPr>
              <p:nvPr/>
            </p:nvSpPr>
            <p:spPr bwMode="auto">
              <a:xfrm>
                <a:off x="4931710" y="1169195"/>
                <a:ext cx="116681" cy="116681"/>
              </a:xfrm>
              <a:custGeom>
                <a:avLst/>
                <a:gdLst>
                  <a:gd name="T0" fmla="*/ 49 w 49"/>
                  <a:gd name="T1" fmla="*/ 10 h 49"/>
                  <a:gd name="T2" fmla="*/ 0 w 49"/>
                  <a:gd name="T3" fmla="*/ 0 h 49"/>
                  <a:gd name="T4" fmla="*/ 11 w 49"/>
                  <a:gd name="T5" fmla="*/ 49 h 49"/>
                  <a:gd name="T6" fmla="*/ 49 w 49"/>
                  <a:gd name="T7" fmla="*/ 10 h 49"/>
                </a:gdLst>
                <a:ahLst/>
                <a:cxnLst>
                  <a:cxn ang="0">
                    <a:pos x="T0" y="T1"/>
                  </a:cxn>
                  <a:cxn ang="0">
                    <a:pos x="T2" y="T3"/>
                  </a:cxn>
                  <a:cxn ang="0">
                    <a:pos x="T4" y="T5"/>
                  </a:cxn>
                  <a:cxn ang="0">
                    <a:pos x="T6" y="T7"/>
                  </a:cxn>
                </a:cxnLst>
                <a:rect l="0" t="0" r="r" b="b"/>
                <a:pathLst>
                  <a:path w="49" h="49">
                    <a:moveTo>
                      <a:pt x="49" y="10"/>
                    </a:moveTo>
                    <a:lnTo>
                      <a:pt x="0" y="0"/>
                    </a:lnTo>
                    <a:lnTo>
                      <a:pt x="11" y="49"/>
                    </a:lnTo>
                    <a:lnTo>
                      <a:pt x="4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grpSp>
        <p:grpSp>
          <p:nvGrpSpPr>
            <p:cNvPr id="20" name="Group 61">
              <a:extLst>
                <a:ext uri="{FF2B5EF4-FFF2-40B4-BE49-F238E27FC236}">
                  <a16:creationId xmlns:a16="http://schemas.microsoft.com/office/drawing/2014/main" id="{99307FCC-C79E-8C19-55FE-EFF4ADDC10AA}"/>
                </a:ext>
              </a:extLst>
            </p:cNvPr>
            <p:cNvGrpSpPr/>
            <p:nvPr userDrawn="1"/>
          </p:nvGrpSpPr>
          <p:grpSpPr>
            <a:xfrm>
              <a:off x="922786" y="3559257"/>
              <a:ext cx="551113" cy="592838"/>
              <a:chOff x="12656486" y="4655345"/>
              <a:chExt cx="754856" cy="812006"/>
            </a:xfrm>
            <a:solidFill>
              <a:schemeClr val="bg1"/>
            </a:solidFill>
          </p:grpSpPr>
          <p:sp>
            <p:nvSpPr>
              <p:cNvPr id="21" name="Freeform 62">
                <a:extLst>
                  <a:ext uri="{FF2B5EF4-FFF2-40B4-BE49-F238E27FC236}">
                    <a16:creationId xmlns:a16="http://schemas.microsoft.com/office/drawing/2014/main" id="{CEC4C7C1-E838-DEE2-6C3B-5CE86C37F158}"/>
                  </a:ext>
                </a:extLst>
              </p:cNvPr>
              <p:cNvSpPr>
                <a:spLocks/>
              </p:cNvSpPr>
              <p:nvPr/>
            </p:nvSpPr>
            <p:spPr bwMode="auto">
              <a:xfrm>
                <a:off x="12846986" y="4655345"/>
                <a:ext cx="204788" cy="219075"/>
              </a:xfrm>
              <a:custGeom>
                <a:avLst/>
                <a:gdLst>
                  <a:gd name="T0" fmla="*/ 60 w 65"/>
                  <a:gd name="T1" fmla="*/ 55 h 70"/>
                  <a:gd name="T2" fmla="*/ 14 w 65"/>
                  <a:gd name="T3" fmla="*/ 3 h 70"/>
                  <a:gd name="T4" fmla="*/ 14 w 65"/>
                  <a:gd name="T5" fmla="*/ 26 h 70"/>
                  <a:gd name="T6" fmla="*/ 38 w 65"/>
                  <a:gd name="T7" fmla="*/ 49 h 70"/>
                  <a:gd name="T8" fmla="*/ 60 w 65"/>
                  <a:gd name="T9" fmla="*/ 55 h 70"/>
                </a:gdLst>
                <a:ahLst/>
                <a:cxnLst>
                  <a:cxn ang="0">
                    <a:pos x="T0" y="T1"/>
                  </a:cxn>
                  <a:cxn ang="0">
                    <a:pos x="T2" y="T3"/>
                  </a:cxn>
                  <a:cxn ang="0">
                    <a:pos x="T4" y="T5"/>
                  </a:cxn>
                  <a:cxn ang="0">
                    <a:pos x="T6" y="T7"/>
                  </a:cxn>
                  <a:cxn ang="0">
                    <a:pos x="T8" y="T9"/>
                  </a:cxn>
                </a:cxnLst>
                <a:rect l="0" t="0" r="r" b="b"/>
                <a:pathLst>
                  <a:path w="65" h="70">
                    <a:moveTo>
                      <a:pt x="60" y="55"/>
                    </a:moveTo>
                    <a:cubicBezTo>
                      <a:pt x="65" y="27"/>
                      <a:pt x="44" y="0"/>
                      <a:pt x="14" y="3"/>
                    </a:cubicBezTo>
                    <a:cubicBezTo>
                      <a:pt x="0" y="4"/>
                      <a:pt x="0" y="27"/>
                      <a:pt x="14" y="26"/>
                    </a:cubicBezTo>
                    <a:cubicBezTo>
                      <a:pt x="28" y="24"/>
                      <a:pt x="40" y="34"/>
                      <a:pt x="38" y="49"/>
                    </a:cubicBezTo>
                    <a:cubicBezTo>
                      <a:pt x="35" y="64"/>
                      <a:pt x="57" y="70"/>
                      <a:pt x="6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22" name="Freeform 63">
                <a:extLst>
                  <a:ext uri="{FF2B5EF4-FFF2-40B4-BE49-F238E27FC236}">
                    <a16:creationId xmlns:a16="http://schemas.microsoft.com/office/drawing/2014/main" id="{89D2FBBE-5326-14D4-F15B-7191B66274B1}"/>
                  </a:ext>
                </a:extLst>
              </p:cNvPr>
              <p:cNvSpPr>
                <a:spLocks/>
              </p:cNvSpPr>
              <p:nvPr/>
            </p:nvSpPr>
            <p:spPr bwMode="auto">
              <a:xfrm>
                <a:off x="12656486" y="4855370"/>
                <a:ext cx="754856" cy="611981"/>
              </a:xfrm>
              <a:custGeom>
                <a:avLst/>
                <a:gdLst>
                  <a:gd name="T0" fmla="*/ 6 w 239"/>
                  <a:gd name="T1" fmla="*/ 33 h 194"/>
                  <a:gd name="T2" fmla="*/ 5 w 239"/>
                  <a:gd name="T3" fmla="*/ 92 h 194"/>
                  <a:gd name="T4" fmla="*/ 67 w 239"/>
                  <a:gd name="T5" fmla="*/ 192 h 194"/>
                  <a:gd name="T6" fmla="*/ 78 w 239"/>
                  <a:gd name="T7" fmla="*/ 194 h 194"/>
                  <a:gd name="T8" fmla="*/ 110 w 239"/>
                  <a:gd name="T9" fmla="*/ 181 h 194"/>
                  <a:gd name="T10" fmla="*/ 140 w 239"/>
                  <a:gd name="T11" fmla="*/ 194 h 194"/>
                  <a:gd name="T12" fmla="*/ 207 w 239"/>
                  <a:gd name="T13" fmla="*/ 22 h 194"/>
                  <a:gd name="T14" fmla="*/ 202 w 239"/>
                  <a:gd name="T15" fmla="*/ 16 h 194"/>
                  <a:gd name="T16" fmla="*/ 154 w 239"/>
                  <a:gd name="T17" fmla="*/ 0 h 194"/>
                  <a:gd name="T18" fmla="*/ 110 w 239"/>
                  <a:gd name="T19" fmla="*/ 10 h 194"/>
                  <a:gd name="T20" fmla="*/ 109 w 239"/>
                  <a:gd name="T21" fmla="*/ 10 h 194"/>
                  <a:gd name="T22" fmla="*/ 99 w 239"/>
                  <a:gd name="T23" fmla="*/ 6 h 194"/>
                  <a:gd name="T24" fmla="*/ 69 w 239"/>
                  <a:gd name="T25" fmla="*/ 0 h 194"/>
                  <a:gd name="T26" fmla="*/ 66 w 239"/>
                  <a:gd name="T27" fmla="*/ 0 h 194"/>
                  <a:gd name="T28" fmla="*/ 6 w 239"/>
                  <a:gd name="T29" fmla="*/ 3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94">
                    <a:moveTo>
                      <a:pt x="6" y="33"/>
                    </a:moveTo>
                    <a:cubicBezTo>
                      <a:pt x="0" y="51"/>
                      <a:pt x="2" y="73"/>
                      <a:pt x="5" y="92"/>
                    </a:cubicBezTo>
                    <a:cubicBezTo>
                      <a:pt x="11" y="126"/>
                      <a:pt x="29" y="181"/>
                      <a:pt x="67" y="192"/>
                    </a:cubicBezTo>
                    <a:cubicBezTo>
                      <a:pt x="71" y="193"/>
                      <a:pt x="74" y="194"/>
                      <a:pt x="78" y="194"/>
                    </a:cubicBezTo>
                    <a:cubicBezTo>
                      <a:pt x="89" y="194"/>
                      <a:pt x="100" y="189"/>
                      <a:pt x="110" y="181"/>
                    </a:cubicBezTo>
                    <a:cubicBezTo>
                      <a:pt x="120" y="190"/>
                      <a:pt x="131" y="194"/>
                      <a:pt x="140" y="194"/>
                    </a:cubicBezTo>
                    <a:cubicBezTo>
                      <a:pt x="198" y="194"/>
                      <a:pt x="239" y="65"/>
                      <a:pt x="207" y="22"/>
                    </a:cubicBezTo>
                    <a:cubicBezTo>
                      <a:pt x="206" y="20"/>
                      <a:pt x="204" y="18"/>
                      <a:pt x="202" y="16"/>
                    </a:cubicBezTo>
                    <a:cubicBezTo>
                      <a:pt x="190" y="5"/>
                      <a:pt x="172" y="0"/>
                      <a:pt x="154" y="0"/>
                    </a:cubicBezTo>
                    <a:cubicBezTo>
                      <a:pt x="138" y="0"/>
                      <a:pt x="122" y="4"/>
                      <a:pt x="110" y="10"/>
                    </a:cubicBezTo>
                    <a:cubicBezTo>
                      <a:pt x="110" y="10"/>
                      <a:pt x="109" y="10"/>
                      <a:pt x="109" y="10"/>
                    </a:cubicBezTo>
                    <a:cubicBezTo>
                      <a:pt x="108" y="10"/>
                      <a:pt x="100" y="6"/>
                      <a:pt x="99" y="6"/>
                    </a:cubicBezTo>
                    <a:cubicBezTo>
                      <a:pt x="89" y="2"/>
                      <a:pt x="79" y="0"/>
                      <a:pt x="69" y="0"/>
                    </a:cubicBezTo>
                    <a:cubicBezTo>
                      <a:pt x="68" y="0"/>
                      <a:pt x="67" y="0"/>
                      <a:pt x="66" y="0"/>
                    </a:cubicBezTo>
                    <a:cubicBezTo>
                      <a:pt x="42" y="0"/>
                      <a:pt x="15" y="9"/>
                      <a:pt x="6"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grpSp>
        <p:grpSp>
          <p:nvGrpSpPr>
            <p:cNvPr id="23" name="Group 64">
              <a:extLst>
                <a:ext uri="{FF2B5EF4-FFF2-40B4-BE49-F238E27FC236}">
                  <a16:creationId xmlns:a16="http://schemas.microsoft.com/office/drawing/2014/main" id="{FBBC0462-BC8C-14A4-5820-E60D077A756A}"/>
                </a:ext>
              </a:extLst>
            </p:cNvPr>
            <p:cNvGrpSpPr/>
            <p:nvPr userDrawn="1"/>
          </p:nvGrpSpPr>
          <p:grpSpPr>
            <a:xfrm>
              <a:off x="908064" y="5474255"/>
              <a:ext cx="516732" cy="500913"/>
              <a:chOff x="5958029" y="4726783"/>
              <a:chExt cx="700088" cy="678656"/>
            </a:xfrm>
            <a:solidFill>
              <a:schemeClr val="bg1"/>
            </a:solidFill>
          </p:grpSpPr>
          <p:sp>
            <p:nvSpPr>
              <p:cNvPr id="24" name="Freeform 65">
                <a:extLst>
                  <a:ext uri="{FF2B5EF4-FFF2-40B4-BE49-F238E27FC236}">
                    <a16:creationId xmlns:a16="http://schemas.microsoft.com/office/drawing/2014/main" id="{745CF471-A15B-AF01-C06D-537DD2D46C7A}"/>
                  </a:ext>
                </a:extLst>
              </p:cNvPr>
              <p:cNvSpPr>
                <a:spLocks/>
              </p:cNvSpPr>
              <p:nvPr/>
            </p:nvSpPr>
            <p:spPr bwMode="auto">
              <a:xfrm>
                <a:off x="6396179" y="5141120"/>
                <a:ext cx="261938" cy="264319"/>
              </a:xfrm>
              <a:custGeom>
                <a:avLst/>
                <a:gdLst>
                  <a:gd name="T0" fmla="*/ 83 w 83"/>
                  <a:gd name="T1" fmla="*/ 54 h 84"/>
                  <a:gd name="T2" fmla="*/ 30 w 83"/>
                  <a:gd name="T3" fmla="*/ 0 h 84"/>
                  <a:gd name="T4" fmla="*/ 17 w 83"/>
                  <a:gd name="T5" fmla="*/ 17 h 84"/>
                  <a:gd name="T6" fmla="*/ 0 w 83"/>
                  <a:gd name="T7" fmla="*/ 30 h 84"/>
                  <a:gd name="T8" fmla="*/ 54 w 83"/>
                  <a:gd name="T9" fmla="*/ 84 h 84"/>
                  <a:gd name="T10" fmla="*/ 83 w 83"/>
                  <a:gd name="T11" fmla="*/ 54 h 84"/>
                </a:gdLst>
                <a:ahLst/>
                <a:cxnLst>
                  <a:cxn ang="0">
                    <a:pos x="T0" y="T1"/>
                  </a:cxn>
                  <a:cxn ang="0">
                    <a:pos x="T2" y="T3"/>
                  </a:cxn>
                  <a:cxn ang="0">
                    <a:pos x="T4" y="T5"/>
                  </a:cxn>
                  <a:cxn ang="0">
                    <a:pos x="T6" y="T7"/>
                  </a:cxn>
                  <a:cxn ang="0">
                    <a:pos x="T8" y="T9"/>
                  </a:cxn>
                  <a:cxn ang="0">
                    <a:pos x="T10" y="T11"/>
                  </a:cxn>
                </a:cxnLst>
                <a:rect l="0" t="0" r="r" b="b"/>
                <a:pathLst>
                  <a:path w="83" h="84">
                    <a:moveTo>
                      <a:pt x="83" y="54"/>
                    </a:moveTo>
                    <a:cubicBezTo>
                      <a:pt x="30" y="0"/>
                      <a:pt x="30" y="0"/>
                      <a:pt x="30" y="0"/>
                    </a:cubicBezTo>
                    <a:cubicBezTo>
                      <a:pt x="26" y="6"/>
                      <a:pt x="22" y="12"/>
                      <a:pt x="17" y="17"/>
                    </a:cubicBezTo>
                    <a:cubicBezTo>
                      <a:pt x="12" y="22"/>
                      <a:pt x="6" y="26"/>
                      <a:pt x="0" y="30"/>
                    </a:cubicBezTo>
                    <a:cubicBezTo>
                      <a:pt x="54" y="84"/>
                      <a:pt x="54" y="84"/>
                      <a:pt x="54" y="84"/>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sp>
            <p:nvSpPr>
              <p:cNvPr id="25" name="Freeform 66">
                <a:extLst>
                  <a:ext uri="{FF2B5EF4-FFF2-40B4-BE49-F238E27FC236}">
                    <a16:creationId xmlns:a16="http://schemas.microsoft.com/office/drawing/2014/main" id="{D9EB376A-FA30-C1CB-18D6-9B795AECC684}"/>
                  </a:ext>
                </a:extLst>
              </p:cNvPr>
              <p:cNvSpPr>
                <a:spLocks noEditPoints="1"/>
              </p:cNvSpPr>
              <p:nvPr/>
            </p:nvSpPr>
            <p:spPr bwMode="auto">
              <a:xfrm>
                <a:off x="5958029" y="4726783"/>
                <a:ext cx="576263" cy="531019"/>
              </a:xfrm>
              <a:custGeom>
                <a:avLst/>
                <a:gdLst>
                  <a:gd name="T0" fmla="*/ 151 w 183"/>
                  <a:gd name="T1" fmla="*/ 143 h 168"/>
                  <a:gd name="T2" fmla="*/ 164 w 183"/>
                  <a:gd name="T3" fmla="*/ 126 h 168"/>
                  <a:gd name="T4" fmla="*/ 151 w 183"/>
                  <a:gd name="T5" fmla="*/ 25 h 168"/>
                  <a:gd name="T6" fmla="*/ 92 w 183"/>
                  <a:gd name="T7" fmla="*/ 0 h 168"/>
                  <a:gd name="T8" fmla="*/ 33 w 183"/>
                  <a:gd name="T9" fmla="*/ 25 h 168"/>
                  <a:gd name="T10" fmla="*/ 33 w 183"/>
                  <a:gd name="T11" fmla="*/ 143 h 168"/>
                  <a:gd name="T12" fmla="*/ 92 w 183"/>
                  <a:gd name="T13" fmla="*/ 168 h 168"/>
                  <a:gd name="T14" fmla="*/ 134 w 183"/>
                  <a:gd name="T15" fmla="*/ 156 h 168"/>
                  <a:gd name="T16" fmla="*/ 151 w 183"/>
                  <a:gd name="T17" fmla="*/ 143 h 168"/>
                  <a:gd name="T18" fmla="*/ 41 w 183"/>
                  <a:gd name="T19" fmla="*/ 50 h 168"/>
                  <a:gd name="T20" fmla="*/ 39 w 183"/>
                  <a:gd name="T21" fmla="*/ 50 h 168"/>
                  <a:gd name="T22" fmla="*/ 37 w 183"/>
                  <a:gd name="T23" fmla="*/ 48 h 168"/>
                  <a:gd name="T24" fmla="*/ 79 w 183"/>
                  <a:gd name="T25" fmla="*/ 19 h 168"/>
                  <a:gd name="T26" fmla="*/ 130 w 183"/>
                  <a:gd name="T27" fmla="*/ 29 h 168"/>
                  <a:gd name="T28" fmla="*/ 153 w 183"/>
                  <a:gd name="T29" fmla="*/ 115 h 168"/>
                  <a:gd name="T30" fmla="*/ 149 w 183"/>
                  <a:gd name="T31" fmla="*/ 122 h 168"/>
                  <a:gd name="T32" fmla="*/ 144 w 183"/>
                  <a:gd name="T33" fmla="*/ 118 h 168"/>
                  <a:gd name="T34" fmla="*/ 144 w 183"/>
                  <a:gd name="T35" fmla="*/ 118 h 168"/>
                  <a:gd name="T36" fmla="*/ 148 w 183"/>
                  <a:gd name="T37" fmla="*/ 111 h 168"/>
                  <a:gd name="T38" fmla="*/ 127 w 183"/>
                  <a:gd name="T39" fmla="*/ 34 h 168"/>
                  <a:gd name="T40" fmla="*/ 81 w 183"/>
                  <a:gd name="T41" fmla="*/ 25 h 168"/>
                  <a:gd name="T42" fmla="*/ 42 w 183"/>
                  <a:gd name="T43" fmla="*/ 51 h 168"/>
                  <a:gd name="T44" fmla="*/ 41 w 183"/>
                  <a:gd name="T4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3" h="168">
                    <a:moveTo>
                      <a:pt x="151" y="143"/>
                    </a:moveTo>
                    <a:cubicBezTo>
                      <a:pt x="156" y="138"/>
                      <a:pt x="161" y="132"/>
                      <a:pt x="164" y="126"/>
                    </a:cubicBezTo>
                    <a:cubicBezTo>
                      <a:pt x="183" y="94"/>
                      <a:pt x="179" y="52"/>
                      <a:pt x="151" y="25"/>
                    </a:cubicBezTo>
                    <a:cubicBezTo>
                      <a:pt x="135" y="8"/>
                      <a:pt x="113" y="0"/>
                      <a:pt x="92" y="0"/>
                    </a:cubicBezTo>
                    <a:cubicBezTo>
                      <a:pt x="70" y="0"/>
                      <a:pt x="49" y="8"/>
                      <a:pt x="33" y="25"/>
                    </a:cubicBezTo>
                    <a:cubicBezTo>
                      <a:pt x="0" y="57"/>
                      <a:pt x="0" y="111"/>
                      <a:pt x="33" y="143"/>
                    </a:cubicBezTo>
                    <a:cubicBezTo>
                      <a:pt x="49" y="160"/>
                      <a:pt x="70" y="168"/>
                      <a:pt x="92" y="168"/>
                    </a:cubicBezTo>
                    <a:cubicBezTo>
                      <a:pt x="107" y="168"/>
                      <a:pt x="121" y="164"/>
                      <a:pt x="134" y="156"/>
                    </a:cubicBezTo>
                    <a:cubicBezTo>
                      <a:pt x="140" y="153"/>
                      <a:pt x="146" y="148"/>
                      <a:pt x="151" y="143"/>
                    </a:cubicBezTo>
                    <a:close/>
                    <a:moveTo>
                      <a:pt x="41" y="50"/>
                    </a:moveTo>
                    <a:cubicBezTo>
                      <a:pt x="39" y="50"/>
                      <a:pt x="39" y="50"/>
                      <a:pt x="39" y="50"/>
                    </a:cubicBezTo>
                    <a:cubicBezTo>
                      <a:pt x="37" y="48"/>
                      <a:pt x="37" y="48"/>
                      <a:pt x="37" y="48"/>
                    </a:cubicBezTo>
                    <a:cubicBezTo>
                      <a:pt x="47" y="33"/>
                      <a:pt x="62" y="23"/>
                      <a:pt x="79" y="19"/>
                    </a:cubicBezTo>
                    <a:cubicBezTo>
                      <a:pt x="97" y="15"/>
                      <a:pt x="115" y="19"/>
                      <a:pt x="130" y="29"/>
                    </a:cubicBezTo>
                    <a:cubicBezTo>
                      <a:pt x="159" y="48"/>
                      <a:pt x="168" y="85"/>
                      <a:pt x="153" y="115"/>
                    </a:cubicBezTo>
                    <a:cubicBezTo>
                      <a:pt x="152" y="117"/>
                      <a:pt x="151" y="120"/>
                      <a:pt x="149" y="122"/>
                    </a:cubicBezTo>
                    <a:cubicBezTo>
                      <a:pt x="144" y="118"/>
                      <a:pt x="144" y="118"/>
                      <a:pt x="144" y="118"/>
                    </a:cubicBezTo>
                    <a:cubicBezTo>
                      <a:pt x="144" y="118"/>
                      <a:pt x="144" y="118"/>
                      <a:pt x="144" y="118"/>
                    </a:cubicBezTo>
                    <a:cubicBezTo>
                      <a:pt x="146" y="116"/>
                      <a:pt x="147" y="113"/>
                      <a:pt x="148" y="111"/>
                    </a:cubicBezTo>
                    <a:cubicBezTo>
                      <a:pt x="161" y="84"/>
                      <a:pt x="152" y="51"/>
                      <a:pt x="127" y="34"/>
                    </a:cubicBezTo>
                    <a:cubicBezTo>
                      <a:pt x="113" y="25"/>
                      <a:pt x="97" y="22"/>
                      <a:pt x="81" y="25"/>
                    </a:cubicBezTo>
                    <a:cubicBezTo>
                      <a:pt x="65" y="28"/>
                      <a:pt x="51" y="38"/>
                      <a:pt x="42" y="51"/>
                    </a:cubicBezTo>
                    <a:lnTo>
                      <a:pt x="4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en-US" sz="4050"/>
              </a:p>
            </p:txBody>
          </p:sp>
        </p:grpSp>
      </p:grpSp>
    </p:spTree>
    <p:extLst>
      <p:ext uri="{BB962C8B-B14F-4D97-AF65-F5344CB8AC3E}">
        <p14:creationId xmlns:p14="http://schemas.microsoft.com/office/powerpoint/2010/main" val="26256381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Picture + text_18">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50863" y="4766576"/>
            <a:ext cx="3558432" cy="1389862"/>
          </a:xfrm>
        </p:spPr>
        <p:txBody>
          <a:bodyPr numCol="1"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27" name="Segnaposto testo 4">
            <a:extLst>
              <a:ext uri="{FF2B5EF4-FFF2-40B4-BE49-F238E27FC236}">
                <a16:creationId xmlns:a16="http://schemas.microsoft.com/office/drawing/2014/main" id="{DBC6F41B-DF4E-C551-971E-F48A2A2E332C}"/>
              </a:ext>
            </a:extLst>
          </p:cNvPr>
          <p:cNvSpPr>
            <a:spLocks noGrp="1"/>
          </p:cNvSpPr>
          <p:nvPr>
            <p:ph type="body" sz="quarter" idx="16" hasCustomPrompt="1"/>
          </p:nvPr>
        </p:nvSpPr>
        <p:spPr>
          <a:xfrm>
            <a:off x="4328261" y="4727330"/>
            <a:ext cx="3558432" cy="1438891"/>
          </a:xfrm>
        </p:spPr>
        <p:txBody>
          <a:bodyPr numCol="1"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28" name="Segnaposto testo 4">
            <a:extLst>
              <a:ext uri="{FF2B5EF4-FFF2-40B4-BE49-F238E27FC236}">
                <a16:creationId xmlns:a16="http://schemas.microsoft.com/office/drawing/2014/main" id="{64EC295B-8D64-43DE-EAF1-E24AA870D1B5}"/>
              </a:ext>
            </a:extLst>
          </p:cNvPr>
          <p:cNvSpPr>
            <a:spLocks noGrp="1"/>
          </p:cNvSpPr>
          <p:nvPr>
            <p:ph type="body" sz="quarter" idx="17" hasCustomPrompt="1"/>
          </p:nvPr>
        </p:nvSpPr>
        <p:spPr>
          <a:xfrm>
            <a:off x="8082705" y="4727330"/>
            <a:ext cx="3558432" cy="1438891"/>
          </a:xfrm>
        </p:spPr>
        <p:txBody>
          <a:bodyPr numCol="1"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29" name="Freeform 11">
            <a:extLst>
              <a:ext uri="{FF2B5EF4-FFF2-40B4-BE49-F238E27FC236}">
                <a16:creationId xmlns:a16="http://schemas.microsoft.com/office/drawing/2014/main" id="{85C499A0-4A51-47BD-FF82-92C7A662C7C1}"/>
              </a:ext>
            </a:extLst>
          </p:cNvPr>
          <p:cNvSpPr/>
          <p:nvPr userDrawn="1"/>
        </p:nvSpPr>
        <p:spPr>
          <a:xfrm>
            <a:off x="1845304" y="2551244"/>
            <a:ext cx="1204685" cy="120468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a:p>
        </p:txBody>
      </p:sp>
      <p:sp>
        <p:nvSpPr>
          <p:cNvPr id="37" name="Freeform 15">
            <a:extLst>
              <a:ext uri="{FF2B5EF4-FFF2-40B4-BE49-F238E27FC236}">
                <a16:creationId xmlns:a16="http://schemas.microsoft.com/office/drawing/2014/main" id="{5B589904-D835-3532-74D6-EA22A61F610A}"/>
              </a:ext>
            </a:extLst>
          </p:cNvPr>
          <p:cNvSpPr/>
          <p:nvPr userDrawn="1"/>
        </p:nvSpPr>
        <p:spPr>
          <a:xfrm>
            <a:off x="5493657" y="2551244"/>
            <a:ext cx="1204685" cy="120468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a:p>
        </p:txBody>
      </p:sp>
      <p:sp>
        <p:nvSpPr>
          <p:cNvPr id="39" name="Freeform 17">
            <a:extLst>
              <a:ext uri="{FF2B5EF4-FFF2-40B4-BE49-F238E27FC236}">
                <a16:creationId xmlns:a16="http://schemas.microsoft.com/office/drawing/2014/main" id="{396B7C10-44DB-1ED7-1729-4014855AF3CA}"/>
              </a:ext>
            </a:extLst>
          </p:cNvPr>
          <p:cNvSpPr/>
          <p:nvPr userDrawn="1"/>
        </p:nvSpPr>
        <p:spPr>
          <a:xfrm>
            <a:off x="9157216" y="2551244"/>
            <a:ext cx="1204685" cy="120468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a:p>
        </p:txBody>
      </p:sp>
      <p:sp>
        <p:nvSpPr>
          <p:cNvPr id="41" name="Segnaposto testo 4">
            <a:extLst>
              <a:ext uri="{FF2B5EF4-FFF2-40B4-BE49-F238E27FC236}">
                <a16:creationId xmlns:a16="http://schemas.microsoft.com/office/drawing/2014/main" id="{4F91F131-BC40-DAF0-FF5D-D651D403291D}"/>
              </a:ext>
            </a:extLst>
          </p:cNvPr>
          <p:cNvSpPr>
            <a:spLocks noGrp="1"/>
          </p:cNvSpPr>
          <p:nvPr>
            <p:ph type="body" sz="quarter" idx="18" hasCustomPrompt="1"/>
          </p:nvPr>
        </p:nvSpPr>
        <p:spPr>
          <a:xfrm>
            <a:off x="550863" y="4327220"/>
            <a:ext cx="3558432" cy="40011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42" name="Segnaposto testo 4">
            <a:extLst>
              <a:ext uri="{FF2B5EF4-FFF2-40B4-BE49-F238E27FC236}">
                <a16:creationId xmlns:a16="http://schemas.microsoft.com/office/drawing/2014/main" id="{974D4E30-1EA9-6510-BE1C-4717C3AE8BFE}"/>
              </a:ext>
            </a:extLst>
          </p:cNvPr>
          <p:cNvSpPr>
            <a:spLocks noGrp="1"/>
          </p:cNvSpPr>
          <p:nvPr>
            <p:ph type="body" sz="quarter" idx="19" hasCustomPrompt="1"/>
          </p:nvPr>
        </p:nvSpPr>
        <p:spPr>
          <a:xfrm>
            <a:off x="4328261" y="4327220"/>
            <a:ext cx="3558432" cy="40011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43" name="Segnaposto testo 4">
            <a:extLst>
              <a:ext uri="{FF2B5EF4-FFF2-40B4-BE49-F238E27FC236}">
                <a16:creationId xmlns:a16="http://schemas.microsoft.com/office/drawing/2014/main" id="{A708127A-A19D-E609-E9F1-D5AAD8ABE0BD}"/>
              </a:ext>
            </a:extLst>
          </p:cNvPr>
          <p:cNvSpPr>
            <a:spLocks noGrp="1"/>
          </p:cNvSpPr>
          <p:nvPr>
            <p:ph type="body" sz="quarter" idx="20" hasCustomPrompt="1"/>
          </p:nvPr>
        </p:nvSpPr>
        <p:spPr>
          <a:xfrm>
            <a:off x="8052401" y="4250544"/>
            <a:ext cx="3558432" cy="40011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44" name="Segnaposto testo 4">
            <a:extLst>
              <a:ext uri="{FF2B5EF4-FFF2-40B4-BE49-F238E27FC236}">
                <a16:creationId xmlns:a16="http://schemas.microsoft.com/office/drawing/2014/main" id="{9FA16BC6-66AF-6FD1-DE82-E39CA14B58EB}"/>
              </a:ext>
            </a:extLst>
          </p:cNvPr>
          <p:cNvSpPr>
            <a:spLocks noGrp="1"/>
          </p:cNvSpPr>
          <p:nvPr>
            <p:ph type="body" sz="quarter" idx="21" hasCustomPrompt="1"/>
          </p:nvPr>
        </p:nvSpPr>
        <p:spPr>
          <a:xfrm>
            <a:off x="550863" y="3837475"/>
            <a:ext cx="3558432" cy="400110"/>
          </a:xfrm>
        </p:spPr>
        <p:txBody>
          <a:bodyPr numCol="1" spcCol="360000">
            <a:noAutofit/>
          </a:bodyPr>
          <a:lstStyle>
            <a:lvl1pPr marL="0" indent="0" algn="ctr">
              <a:buNone/>
              <a:defRPr sz="3000" b="1" i="0">
                <a:solidFill>
                  <a:schemeClr val="accent1"/>
                </a:solidFill>
                <a:latin typeface="Prometo" panose="020B0604030203060203" pitchFamily="34" charset="77"/>
                <a:cs typeface="Arial" panose="020B0604020202020204" pitchFamily="34" charset="0"/>
              </a:defRPr>
            </a:lvl1pPr>
          </a:lstStyle>
          <a:p>
            <a:pPr lvl="0"/>
            <a:r>
              <a:rPr lang="en-US" noProof="0"/>
              <a:t>TEXT</a:t>
            </a:r>
          </a:p>
        </p:txBody>
      </p:sp>
      <p:sp>
        <p:nvSpPr>
          <p:cNvPr id="45" name="Segnaposto testo 4">
            <a:extLst>
              <a:ext uri="{FF2B5EF4-FFF2-40B4-BE49-F238E27FC236}">
                <a16:creationId xmlns:a16="http://schemas.microsoft.com/office/drawing/2014/main" id="{44A5BAD3-9606-438A-4AAE-F2B0C3187A66}"/>
              </a:ext>
            </a:extLst>
          </p:cNvPr>
          <p:cNvSpPr>
            <a:spLocks noGrp="1"/>
          </p:cNvSpPr>
          <p:nvPr>
            <p:ph type="body" sz="quarter" idx="22" hasCustomPrompt="1"/>
          </p:nvPr>
        </p:nvSpPr>
        <p:spPr>
          <a:xfrm>
            <a:off x="4307295" y="3837475"/>
            <a:ext cx="3558432" cy="400110"/>
          </a:xfrm>
        </p:spPr>
        <p:txBody>
          <a:bodyPr numCol="1" spcCol="360000">
            <a:noAutofit/>
          </a:bodyPr>
          <a:lstStyle>
            <a:lvl1pPr marL="0" indent="0" algn="ctr">
              <a:buNone/>
              <a:defRPr sz="3000" b="1" i="0">
                <a:solidFill>
                  <a:schemeClr val="accent1"/>
                </a:solidFill>
                <a:latin typeface="Prometo" panose="020B0604030203060203" pitchFamily="34" charset="77"/>
                <a:cs typeface="Arial" panose="020B0604020202020204" pitchFamily="34" charset="0"/>
              </a:defRPr>
            </a:lvl1pPr>
          </a:lstStyle>
          <a:p>
            <a:pPr lvl="0"/>
            <a:r>
              <a:rPr lang="en-US" noProof="0"/>
              <a:t>TEXT</a:t>
            </a:r>
          </a:p>
        </p:txBody>
      </p:sp>
      <p:sp>
        <p:nvSpPr>
          <p:cNvPr id="46" name="Segnaposto testo 4">
            <a:extLst>
              <a:ext uri="{FF2B5EF4-FFF2-40B4-BE49-F238E27FC236}">
                <a16:creationId xmlns:a16="http://schemas.microsoft.com/office/drawing/2014/main" id="{FD29A8A1-C96E-371E-6238-866E3B079AC4}"/>
              </a:ext>
            </a:extLst>
          </p:cNvPr>
          <p:cNvSpPr>
            <a:spLocks noGrp="1"/>
          </p:cNvSpPr>
          <p:nvPr>
            <p:ph type="body" sz="quarter" idx="23" hasCustomPrompt="1"/>
          </p:nvPr>
        </p:nvSpPr>
        <p:spPr>
          <a:xfrm>
            <a:off x="8052401" y="3837475"/>
            <a:ext cx="3558432" cy="400110"/>
          </a:xfrm>
        </p:spPr>
        <p:txBody>
          <a:bodyPr numCol="1" spcCol="360000">
            <a:noAutofit/>
          </a:bodyPr>
          <a:lstStyle>
            <a:lvl1pPr marL="0" indent="0" algn="ctr">
              <a:buNone/>
              <a:defRPr sz="3000" b="1" i="0">
                <a:solidFill>
                  <a:schemeClr val="accent1"/>
                </a:solidFill>
                <a:latin typeface="Prometo" panose="020B0604030203060203" pitchFamily="34" charset="77"/>
                <a:cs typeface="Arial" panose="020B0604020202020204" pitchFamily="34" charset="0"/>
              </a:defRPr>
            </a:lvl1pPr>
          </a:lstStyle>
          <a:p>
            <a:pPr lvl="0"/>
            <a:r>
              <a:rPr lang="en-US" noProof="0"/>
              <a:t>TEXT</a:t>
            </a:r>
          </a:p>
        </p:txBody>
      </p:sp>
      <p:sp>
        <p:nvSpPr>
          <p:cNvPr id="47" name="Segnaposto testo 4">
            <a:extLst>
              <a:ext uri="{FF2B5EF4-FFF2-40B4-BE49-F238E27FC236}">
                <a16:creationId xmlns:a16="http://schemas.microsoft.com/office/drawing/2014/main" id="{7E314D22-D954-5C05-AE4D-1871FD98A54C}"/>
              </a:ext>
            </a:extLst>
          </p:cNvPr>
          <p:cNvSpPr>
            <a:spLocks noGrp="1"/>
          </p:cNvSpPr>
          <p:nvPr>
            <p:ph type="body" sz="quarter" idx="24" hasCustomPrompt="1"/>
          </p:nvPr>
        </p:nvSpPr>
        <p:spPr>
          <a:xfrm>
            <a:off x="1986477" y="2953532"/>
            <a:ext cx="922337" cy="400110"/>
          </a:xfrm>
        </p:spPr>
        <p:txBody>
          <a:bodyPr numCol="1" spcCol="360000" anchor="ctr">
            <a:noAutofit/>
          </a:bodyPr>
          <a:lstStyle>
            <a:lvl1pPr marL="0" indent="0" algn="ctr">
              <a:buNone/>
              <a:defRPr sz="5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48" name="Segnaposto testo 4">
            <a:extLst>
              <a:ext uri="{FF2B5EF4-FFF2-40B4-BE49-F238E27FC236}">
                <a16:creationId xmlns:a16="http://schemas.microsoft.com/office/drawing/2014/main" id="{26EB8E00-B118-03A1-A893-ECA547A19189}"/>
              </a:ext>
            </a:extLst>
          </p:cNvPr>
          <p:cNvSpPr>
            <a:spLocks noGrp="1"/>
          </p:cNvSpPr>
          <p:nvPr>
            <p:ph type="body" sz="quarter" idx="25" hasCustomPrompt="1"/>
          </p:nvPr>
        </p:nvSpPr>
        <p:spPr>
          <a:xfrm>
            <a:off x="5646308" y="2953532"/>
            <a:ext cx="922337" cy="400110"/>
          </a:xfrm>
        </p:spPr>
        <p:txBody>
          <a:bodyPr numCol="1" spcCol="360000" anchor="ctr">
            <a:noAutofit/>
          </a:bodyPr>
          <a:lstStyle>
            <a:lvl1pPr marL="0" indent="0" algn="ctr">
              <a:buNone/>
              <a:defRPr sz="5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49" name="Segnaposto testo 4">
            <a:extLst>
              <a:ext uri="{FF2B5EF4-FFF2-40B4-BE49-F238E27FC236}">
                <a16:creationId xmlns:a16="http://schemas.microsoft.com/office/drawing/2014/main" id="{9869E9F4-CD5C-A742-9BFC-41008AA16696}"/>
              </a:ext>
            </a:extLst>
          </p:cNvPr>
          <p:cNvSpPr>
            <a:spLocks noGrp="1"/>
          </p:cNvSpPr>
          <p:nvPr>
            <p:ph type="body" sz="quarter" idx="26" hasCustomPrompt="1"/>
          </p:nvPr>
        </p:nvSpPr>
        <p:spPr>
          <a:xfrm>
            <a:off x="9298389" y="2953532"/>
            <a:ext cx="922337" cy="400110"/>
          </a:xfrm>
        </p:spPr>
        <p:txBody>
          <a:bodyPr numCol="1" spcCol="360000" anchor="ctr">
            <a:noAutofit/>
          </a:bodyPr>
          <a:lstStyle>
            <a:lvl1pPr marL="0" indent="0" algn="ctr">
              <a:buNone/>
              <a:defRPr sz="5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50" name="Picture Placeholder 6">
            <a:extLst>
              <a:ext uri="{FF2B5EF4-FFF2-40B4-BE49-F238E27FC236}">
                <a16:creationId xmlns:a16="http://schemas.microsoft.com/office/drawing/2014/main" id="{879D49A9-C429-933E-1645-4A8DFCFA28A6}"/>
              </a:ext>
            </a:extLst>
          </p:cNvPr>
          <p:cNvSpPr>
            <a:spLocks noGrp="1" noChangeAspect="1"/>
          </p:cNvSpPr>
          <p:nvPr>
            <p:ph type="pic" sz="quarter" idx="10"/>
          </p:nvPr>
        </p:nvSpPr>
        <p:spPr>
          <a:xfrm>
            <a:off x="6883400" y="25473"/>
            <a:ext cx="5308600" cy="2299381"/>
          </a:xfrm>
          <a:custGeom>
            <a:avLst/>
            <a:gdLst>
              <a:gd name="connsiteX0" fmla="*/ 0 w 9023684"/>
              <a:gd name="connsiteY0" fmla="*/ 0 h 3908543"/>
              <a:gd name="connsiteX1" fmla="*/ 9023684 w 9023684"/>
              <a:gd name="connsiteY1" fmla="*/ 0 h 3908543"/>
              <a:gd name="connsiteX2" fmla="*/ 9023684 w 9023684"/>
              <a:gd name="connsiteY2" fmla="*/ 1265393 h 3908543"/>
              <a:gd name="connsiteX3" fmla="*/ 8798378 w 9023684"/>
              <a:gd name="connsiteY3" fmla="*/ 1526674 h 3908543"/>
              <a:gd name="connsiteX4" fmla="*/ 7542472 w 9023684"/>
              <a:gd name="connsiteY4" fmla="*/ 2983116 h 3908543"/>
              <a:gd name="connsiteX5" fmla="*/ 3779804 w 9023684"/>
              <a:gd name="connsiteY5" fmla="*/ 3259367 h 3908543"/>
              <a:gd name="connsiteX6" fmla="*/ 189272 w 9023684"/>
              <a:gd name="connsiteY6" fmla="*/ 163211 h 390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3684" h="3908543">
                <a:moveTo>
                  <a:pt x="0" y="0"/>
                </a:moveTo>
                <a:lnTo>
                  <a:pt x="9023684" y="0"/>
                </a:lnTo>
                <a:lnTo>
                  <a:pt x="9023684" y="1265393"/>
                </a:lnTo>
                <a:lnTo>
                  <a:pt x="8798378" y="1526674"/>
                </a:lnTo>
                <a:cubicBezTo>
                  <a:pt x="8399002" y="1989821"/>
                  <a:pt x="7980666" y="2474954"/>
                  <a:pt x="7542472" y="2983116"/>
                </a:cubicBezTo>
                <a:cubicBezTo>
                  <a:pt x="6579683" y="4099636"/>
                  <a:pt x="4897469" y="4223143"/>
                  <a:pt x="3779804" y="3259367"/>
                </a:cubicBezTo>
                <a:cubicBezTo>
                  <a:pt x="3779804" y="3259367"/>
                  <a:pt x="3779804" y="3259367"/>
                  <a:pt x="189272" y="163211"/>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Tree>
    <p:extLst>
      <p:ext uri="{BB962C8B-B14F-4D97-AF65-F5344CB8AC3E}">
        <p14:creationId xmlns:p14="http://schemas.microsoft.com/office/powerpoint/2010/main" val="2617593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Picture + text_18">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grpSp>
        <p:nvGrpSpPr>
          <p:cNvPr id="7" name="Groep 6">
            <a:extLst>
              <a:ext uri="{FF2B5EF4-FFF2-40B4-BE49-F238E27FC236}">
                <a16:creationId xmlns:a16="http://schemas.microsoft.com/office/drawing/2014/main" id="{B88ACA5B-3D6B-76D9-1907-AB7869E8908B}"/>
              </a:ext>
            </a:extLst>
          </p:cNvPr>
          <p:cNvGrpSpPr>
            <a:grpSpLocks noChangeAspect="1"/>
          </p:cNvGrpSpPr>
          <p:nvPr userDrawn="1"/>
        </p:nvGrpSpPr>
        <p:grpSpPr>
          <a:xfrm>
            <a:off x="550863" y="2536474"/>
            <a:ext cx="11090276" cy="2339202"/>
            <a:chOff x="1606046" y="4716853"/>
            <a:chExt cx="15060919" cy="3176704"/>
          </a:xfrm>
        </p:grpSpPr>
        <p:sp>
          <p:nvSpPr>
            <p:cNvPr id="2" name="Freeform 21">
              <a:extLst>
                <a:ext uri="{FF2B5EF4-FFF2-40B4-BE49-F238E27FC236}">
                  <a16:creationId xmlns:a16="http://schemas.microsoft.com/office/drawing/2014/main" id="{3DA458F5-96C8-5274-C977-B96027B2383B}"/>
                </a:ext>
              </a:extLst>
            </p:cNvPr>
            <p:cNvSpPr/>
            <p:nvPr userDrawn="1"/>
          </p:nvSpPr>
          <p:spPr>
            <a:xfrm>
              <a:off x="1606046" y="4716853"/>
              <a:ext cx="3176701" cy="317670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22">
              <a:extLst>
                <a:ext uri="{FF2B5EF4-FFF2-40B4-BE49-F238E27FC236}">
                  <a16:creationId xmlns:a16="http://schemas.microsoft.com/office/drawing/2014/main" id="{A8E805DA-8271-D4E3-ED7E-316BF2AC9EDF}"/>
                </a:ext>
              </a:extLst>
            </p:cNvPr>
            <p:cNvSpPr/>
            <p:nvPr userDrawn="1"/>
          </p:nvSpPr>
          <p:spPr>
            <a:xfrm>
              <a:off x="5567452" y="4716853"/>
              <a:ext cx="3176701" cy="317670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23">
              <a:extLst>
                <a:ext uri="{FF2B5EF4-FFF2-40B4-BE49-F238E27FC236}">
                  <a16:creationId xmlns:a16="http://schemas.microsoft.com/office/drawing/2014/main" id="{82054284-269F-ABB5-C69E-F007C7E198DF}"/>
                </a:ext>
              </a:extLst>
            </p:cNvPr>
            <p:cNvSpPr/>
            <p:nvPr userDrawn="1"/>
          </p:nvSpPr>
          <p:spPr>
            <a:xfrm>
              <a:off x="9528858" y="4716853"/>
              <a:ext cx="3176701" cy="317670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reeform 24">
              <a:extLst>
                <a:ext uri="{FF2B5EF4-FFF2-40B4-BE49-F238E27FC236}">
                  <a16:creationId xmlns:a16="http://schemas.microsoft.com/office/drawing/2014/main" id="{CD148580-3D46-61D3-95A3-308D6AD4F984}"/>
                </a:ext>
              </a:extLst>
            </p:cNvPr>
            <p:cNvSpPr/>
            <p:nvPr userDrawn="1"/>
          </p:nvSpPr>
          <p:spPr>
            <a:xfrm>
              <a:off x="13490264" y="4716853"/>
              <a:ext cx="3176701" cy="317670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7" name="Segnaposto testo 4">
            <a:extLst>
              <a:ext uri="{FF2B5EF4-FFF2-40B4-BE49-F238E27FC236}">
                <a16:creationId xmlns:a16="http://schemas.microsoft.com/office/drawing/2014/main" id="{7E314D22-D954-5C05-AE4D-1871FD98A54C}"/>
              </a:ext>
            </a:extLst>
          </p:cNvPr>
          <p:cNvSpPr>
            <a:spLocks noGrp="1"/>
          </p:cNvSpPr>
          <p:nvPr>
            <p:ph type="body" sz="quarter" idx="24" hasCustomPrompt="1"/>
          </p:nvPr>
        </p:nvSpPr>
        <p:spPr>
          <a:xfrm>
            <a:off x="659755" y="3470245"/>
            <a:ext cx="2121414" cy="400110"/>
          </a:xfrm>
        </p:spPr>
        <p:txBody>
          <a:bodyPr numCol="1" spcCol="360000" anchor="ctr">
            <a:noAutofit/>
          </a:bodyPr>
          <a:lstStyle>
            <a:lvl1pPr marL="0" indent="0" algn="ctr">
              <a:buNone/>
              <a:defRPr sz="10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48" name="Segnaposto testo 4">
            <a:extLst>
              <a:ext uri="{FF2B5EF4-FFF2-40B4-BE49-F238E27FC236}">
                <a16:creationId xmlns:a16="http://schemas.microsoft.com/office/drawing/2014/main" id="{26EB8E00-B118-03A1-A893-ECA547A19189}"/>
              </a:ext>
            </a:extLst>
          </p:cNvPr>
          <p:cNvSpPr>
            <a:spLocks noGrp="1"/>
          </p:cNvSpPr>
          <p:nvPr>
            <p:ph type="body" sz="quarter" idx="25" hasCustomPrompt="1"/>
          </p:nvPr>
        </p:nvSpPr>
        <p:spPr>
          <a:xfrm>
            <a:off x="3576781" y="3473390"/>
            <a:ext cx="2121414" cy="400110"/>
          </a:xfrm>
        </p:spPr>
        <p:txBody>
          <a:bodyPr numCol="1" spcCol="360000" anchor="ctr">
            <a:noAutofit/>
          </a:bodyPr>
          <a:lstStyle>
            <a:lvl1pPr marL="0" indent="0" algn="ctr">
              <a:buNone/>
              <a:defRPr sz="10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49" name="Segnaposto testo 4">
            <a:extLst>
              <a:ext uri="{FF2B5EF4-FFF2-40B4-BE49-F238E27FC236}">
                <a16:creationId xmlns:a16="http://schemas.microsoft.com/office/drawing/2014/main" id="{9869E9F4-CD5C-A742-9BFC-41008AA16696}"/>
              </a:ext>
            </a:extLst>
          </p:cNvPr>
          <p:cNvSpPr>
            <a:spLocks noGrp="1"/>
          </p:cNvSpPr>
          <p:nvPr>
            <p:ph type="body" sz="quarter" idx="26" hasCustomPrompt="1"/>
          </p:nvPr>
        </p:nvSpPr>
        <p:spPr>
          <a:xfrm>
            <a:off x="6493806" y="3470245"/>
            <a:ext cx="2121414" cy="400110"/>
          </a:xfrm>
        </p:spPr>
        <p:txBody>
          <a:bodyPr numCol="1" spcCol="360000" anchor="ctr">
            <a:noAutofit/>
          </a:bodyPr>
          <a:lstStyle>
            <a:lvl1pPr marL="0" indent="0" algn="ctr">
              <a:buNone/>
              <a:defRPr sz="10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10" name="Segnaposto testo 4">
            <a:extLst>
              <a:ext uri="{FF2B5EF4-FFF2-40B4-BE49-F238E27FC236}">
                <a16:creationId xmlns:a16="http://schemas.microsoft.com/office/drawing/2014/main" id="{E4564F96-2338-DFE7-A806-3605AAAF3236}"/>
              </a:ext>
            </a:extLst>
          </p:cNvPr>
          <p:cNvSpPr>
            <a:spLocks noGrp="1"/>
          </p:cNvSpPr>
          <p:nvPr>
            <p:ph type="body" sz="quarter" idx="27" hasCustomPrompt="1"/>
          </p:nvPr>
        </p:nvSpPr>
        <p:spPr>
          <a:xfrm>
            <a:off x="9410831" y="3470245"/>
            <a:ext cx="2121414" cy="400110"/>
          </a:xfrm>
        </p:spPr>
        <p:txBody>
          <a:bodyPr numCol="1" spcCol="360000" anchor="ctr">
            <a:noAutofit/>
          </a:bodyPr>
          <a:lstStyle>
            <a:lvl1pPr marL="0" indent="0" algn="ctr">
              <a:buNone/>
              <a:defRPr sz="10000" b="0" i="0">
                <a:solidFill>
                  <a:schemeClr val="bg1"/>
                </a:solidFill>
                <a:latin typeface="Fave Script Bold Pro" pitchFamily="2" charset="77"/>
                <a:cs typeface="Arial" panose="020B0604020202020204" pitchFamily="34" charset="0"/>
              </a:defRPr>
            </a:lvl1pPr>
          </a:lstStyle>
          <a:p>
            <a:pPr lvl="0"/>
            <a:r>
              <a:rPr lang="en-US" noProof="0"/>
              <a:t>Text</a:t>
            </a:r>
          </a:p>
        </p:txBody>
      </p:sp>
      <p:sp>
        <p:nvSpPr>
          <p:cNvPr id="11" name="Segnaposto testo 4">
            <a:extLst>
              <a:ext uri="{FF2B5EF4-FFF2-40B4-BE49-F238E27FC236}">
                <a16:creationId xmlns:a16="http://schemas.microsoft.com/office/drawing/2014/main" id="{CC9085F3-B175-40BF-7A05-BB5EFEC5CB35}"/>
              </a:ext>
            </a:extLst>
          </p:cNvPr>
          <p:cNvSpPr>
            <a:spLocks noGrp="1"/>
          </p:cNvSpPr>
          <p:nvPr>
            <p:ph type="body" sz="quarter" idx="15" hasCustomPrompt="1"/>
          </p:nvPr>
        </p:nvSpPr>
        <p:spPr>
          <a:xfrm>
            <a:off x="550863" y="5003800"/>
            <a:ext cx="2339199" cy="1152638"/>
          </a:xfrm>
        </p:spPr>
        <p:txBody>
          <a:bodyPr numCol="1" spcCol="360000">
            <a:normAutofit/>
          </a:bodyPr>
          <a:lstStyle>
            <a:lvl1pPr marL="0" indent="0" algn="just">
              <a:buNone/>
              <a:defRPr sz="1000" b="1" i="0">
                <a:latin typeface="Arial" panose="020B0604020202020204" pitchFamily="34" charset="0"/>
                <a:cs typeface="Arial" panose="020B0604020202020204" pitchFamily="34" charset="0"/>
              </a:defRPr>
            </a:lvl1pPr>
          </a:lstStyle>
          <a:p>
            <a:pPr lvl="0"/>
            <a:r>
              <a:rPr lang="en-US" noProof="0"/>
              <a:t>Copy</a:t>
            </a:r>
          </a:p>
        </p:txBody>
      </p:sp>
      <p:sp>
        <p:nvSpPr>
          <p:cNvPr id="12" name="Segnaposto testo 4">
            <a:extLst>
              <a:ext uri="{FF2B5EF4-FFF2-40B4-BE49-F238E27FC236}">
                <a16:creationId xmlns:a16="http://schemas.microsoft.com/office/drawing/2014/main" id="{05DB9FAE-F631-30C2-B582-BD1C0E9FE3F9}"/>
              </a:ext>
            </a:extLst>
          </p:cNvPr>
          <p:cNvSpPr>
            <a:spLocks noGrp="1"/>
          </p:cNvSpPr>
          <p:nvPr>
            <p:ph type="body" sz="quarter" idx="28" hasCustomPrompt="1"/>
          </p:nvPr>
        </p:nvSpPr>
        <p:spPr>
          <a:xfrm>
            <a:off x="3467889" y="5003800"/>
            <a:ext cx="2339199" cy="1152638"/>
          </a:xfrm>
        </p:spPr>
        <p:txBody>
          <a:bodyPr numCol="1" spcCol="360000">
            <a:normAutofit/>
          </a:bodyPr>
          <a:lstStyle>
            <a:lvl1pPr marL="0" indent="0" algn="just">
              <a:buNone/>
              <a:defRPr sz="1000" b="1" i="0">
                <a:latin typeface="Arial" panose="020B0604020202020204" pitchFamily="34" charset="0"/>
                <a:cs typeface="Arial" panose="020B0604020202020204" pitchFamily="34" charset="0"/>
              </a:defRPr>
            </a:lvl1pPr>
          </a:lstStyle>
          <a:p>
            <a:pPr lvl="0"/>
            <a:r>
              <a:rPr lang="en-US" noProof="0"/>
              <a:t>Copy</a:t>
            </a:r>
          </a:p>
        </p:txBody>
      </p:sp>
      <p:sp>
        <p:nvSpPr>
          <p:cNvPr id="13" name="Segnaposto testo 4">
            <a:extLst>
              <a:ext uri="{FF2B5EF4-FFF2-40B4-BE49-F238E27FC236}">
                <a16:creationId xmlns:a16="http://schemas.microsoft.com/office/drawing/2014/main" id="{FC9F5914-F1B1-CBA8-0CBA-8C29D8CA72DC}"/>
              </a:ext>
            </a:extLst>
          </p:cNvPr>
          <p:cNvSpPr>
            <a:spLocks noGrp="1"/>
          </p:cNvSpPr>
          <p:nvPr>
            <p:ph type="body" sz="quarter" idx="29" hasCustomPrompt="1"/>
          </p:nvPr>
        </p:nvSpPr>
        <p:spPr>
          <a:xfrm>
            <a:off x="6384914" y="5003800"/>
            <a:ext cx="2339199" cy="1152638"/>
          </a:xfrm>
        </p:spPr>
        <p:txBody>
          <a:bodyPr numCol="1" spcCol="360000">
            <a:normAutofit/>
          </a:bodyPr>
          <a:lstStyle>
            <a:lvl1pPr marL="0" indent="0" algn="just">
              <a:buNone/>
              <a:defRPr sz="1000" b="1" i="0">
                <a:latin typeface="Arial" panose="020B0604020202020204" pitchFamily="34" charset="0"/>
                <a:cs typeface="Arial" panose="020B0604020202020204" pitchFamily="34" charset="0"/>
              </a:defRPr>
            </a:lvl1pPr>
          </a:lstStyle>
          <a:p>
            <a:pPr lvl="0"/>
            <a:r>
              <a:rPr lang="en-US" noProof="0"/>
              <a:t>Copy</a:t>
            </a:r>
          </a:p>
        </p:txBody>
      </p:sp>
      <p:sp>
        <p:nvSpPr>
          <p:cNvPr id="15" name="Segnaposto testo 4">
            <a:extLst>
              <a:ext uri="{FF2B5EF4-FFF2-40B4-BE49-F238E27FC236}">
                <a16:creationId xmlns:a16="http://schemas.microsoft.com/office/drawing/2014/main" id="{BFFCF8C4-9AD2-7234-3235-2ED87CA79D98}"/>
              </a:ext>
            </a:extLst>
          </p:cNvPr>
          <p:cNvSpPr>
            <a:spLocks noGrp="1"/>
          </p:cNvSpPr>
          <p:nvPr>
            <p:ph type="body" sz="quarter" idx="30" hasCustomPrompt="1"/>
          </p:nvPr>
        </p:nvSpPr>
        <p:spPr>
          <a:xfrm>
            <a:off x="9301938" y="5003800"/>
            <a:ext cx="2339199" cy="1152638"/>
          </a:xfrm>
        </p:spPr>
        <p:txBody>
          <a:bodyPr numCol="1" spcCol="360000">
            <a:normAutofit/>
          </a:bodyPr>
          <a:lstStyle>
            <a:lvl1pPr marL="0" indent="0" algn="just">
              <a:buNone/>
              <a:defRPr sz="1000" b="1" i="0">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38709454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Picture + text_18">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11" name="Segnaposto testo 4">
            <a:extLst>
              <a:ext uri="{FF2B5EF4-FFF2-40B4-BE49-F238E27FC236}">
                <a16:creationId xmlns:a16="http://schemas.microsoft.com/office/drawing/2014/main" id="{CC9085F3-B175-40BF-7A05-BB5EFEC5CB35}"/>
              </a:ext>
            </a:extLst>
          </p:cNvPr>
          <p:cNvSpPr>
            <a:spLocks noGrp="1"/>
          </p:cNvSpPr>
          <p:nvPr>
            <p:ph type="body" sz="quarter" idx="15" hasCustomPrompt="1"/>
          </p:nvPr>
        </p:nvSpPr>
        <p:spPr>
          <a:xfrm>
            <a:off x="550863" y="5003800"/>
            <a:ext cx="2339199" cy="1152638"/>
          </a:xfrm>
        </p:spPr>
        <p:txBody>
          <a:bodyPr numCol="1" spcCol="360000">
            <a:normAutofit/>
          </a:bodyPr>
          <a:lstStyle>
            <a:lvl1pPr marL="0" indent="0" algn="just">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2" name="Segnaposto testo 4">
            <a:extLst>
              <a:ext uri="{FF2B5EF4-FFF2-40B4-BE49-F238E27FC236}">
                <a16:creationId xmlns:a16="http://schemas.microsoft.com/office/drawing/2014/main" id="{05DB9FAE-F631-30C2-B582-BD1C0E9FE3F9}"/>
              </a:ext>
            </a:extLst>
          </p:cNvPr>
          <p:cNvSpPr>
            <a:spLocks noGrp="1"/>
          </p:cNvSpPr>
          <p:nvPr>
            <p:ph type="body" sz="quarter" idx="28" hasCustomPrompt="1"/>
          </p:nvPr>
        </p:nvSpPr>
        <p:spPr>
          <a:xfrm>
            <a:off x="3467889" y="5003800"/>
            <a:ext cx="2339199" cy="1152638"/>
          </a:xfrm>
        </p:spPr>
        <p:txBody>
          <a:bodyPr numCol="1" spcCol="360000">
            <a:normAutofit/>
          </a:bodyPr>
          <a:lstStyle>
            <a:lvl1pPr marL="0" indent="0" algn="just">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3" name="Segnaposto testo 4">
            <a:extLst>
              <a:ext uri="{FF2B5EF4-FFF2-40B4-BE49-F238E27FC236}">
                <a16:creationId xmlns:a16="http://schemas.microsoft.com/office/drawing/2014/main" id="{FC9F5914-F1B1-CBA8-0CBA-8C29D8CA72DC}"/>
              </a:ext>
            </a:extLst>
          </p:cNvPr>
          <p:cNvSpPr>
            <a:spLocks noGrp="1"/>
          </p:cNvSpPr>
          <p:nvPr>
            <p:ph type="body" sz="quarter" idx="29" hasCustomPrompt="1"/>
          </p:nvPr>
        </p:nvSpPr>
        <p:spPr>
          <a:xfrm>
            <a:off x="6384914" y="5003800"/>
            <a:ext cx="2339199" cy="1152638"/>
          </a:xfrm>
        </p:spPr>
        <p:txBody>
          <a:bodyPr numCol="1" spcCol="360000">
            <a:normAutofit/>
          </a:bodyPr>
          <a:lstStyle>
            <a:lvl1pPr marL="0" indent="0" algn="just">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5" name="Segnaposto testo 4">
            <a:extLst>
              <a:ext uri="{FF2B5EF4-FFF2-40B4-BE49-F238E27FC236}">
                <a16:creationId xmlns:a16="http://schemas.microsoft.com/office/drawing/2014/main" id="{BFFCF8C4-9AD2-7234-3235-2ED87CA79D98}"/>
              </a:ext>
            </a:extLst>
          </p:cNvPr>
          <p:cNvSpPr>
            <a:spLocks noGrp="1"/>
          </p:cNvSpPr>
          <p:nvPr>
            <p:ph type="body" sz="quarter" idx="30" hasCustomPrompt="1"/>
          </p:nvPr>
        </p:nvSpPr>
        <p:spPr>
          <a:xfrm>
            <a:off x="9301938" y="5003800"/>
            <a:ext cx="2339199" cy="1152638"/>
          </a:xfrm>
        </p:spPr>
        <p:txBody>
          <a:bodyPr numCol="1" spcCol="360000">
            <a:normAutofit/>
          </a:bodyPr>
          <a:lstStyle>
            <a:lvl1pPr marL="0" indent="0" algn="just">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6" name="Picture Placeholder 14">
            <a:extLst>
              <a:ext uri="{FF2B5EF4-FFF2-40B4-BE49-F238E27FC236}">
                <a16:creationId xmlns:a16="http://schemas.microsoft.com/office/drawing/2014/main" id="{0154B350-35C2-2DAD-53DE-0BBCEC2D57D5}"/>
              </a:ext>
            </a:extLst>
          </p:cNvPr>
          <p:cNvSpPr>
            <a:spLocks noGrp="1" noChangeAspect="1"/>
          </p:cNvSpPr>
          <p:nvPr>
            <p:ph type="pic" sz="quarter" idx="10"/>
          </p:nvPr>
        </p:nvSpPr>
        <p:spPr>
          <a:xfrm>
            <a:off x="520100"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16" name="Picture Placeholder 13">
            <a:extLst>
              <a:ext uri="{FF2B5EF4-FFF2-40B4-BE49-F238E27FC236}">
                <a16:creationId xmlns:a16="http://schemas.microsoft.com/office/drawing/2014/main" id="{F7483322-BE2F-D68C-63A4-A0783D6D6806}"/>
              </a:ext>
            </a:extLst>
          </p:cNvPr>
          <p:cNvSpPr>
            <a:spLocks noGrp="1" noChangeAspect="1"/>
          </p:cNvSpPr>
          <p:nvPr>
            <p:ph type="pic" sz="quarter" idx="11"/>
          </p:nvPr>
        </p:nvSpPr>
        <p:spPr>
          <a:xfrm>
            <a:off x="359914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17" name="Picture Placeholder 12">
            <a:extLst>
              <a:ext uri="{FF2B5EF4-FFF2-40B4-BE49-F238E27FC236}">
                <a16:creationId xmlns:a16="http://schemas.microsoft.com/office/drawing/2014/main" id="{6E29EED1-C1CF-228E-BC97-944B57257C79}"/>
              </a:ext>
            </a:extLst>
          </p:cNvPr>
          <p:cNvSpPr>
            <a:spLocks noGrp="1" noChangeAspect="1"/>
          </p:cNvSpPr>
          <p:nvPr>
            <p:ph type="pic" sz="quarter" idx="12"/>
          </p:nvPr>
        </p:nvSpPr>
        <p:spPr>
          <a:xfrm>
            <a:off x="6581804"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18" name="Picture Placeholder 11">
            <a:extLst>
              <a:ext uri="{FF2B5EF4-FFF2-40B4-BE49-F238E27FC236}">
                <a16:creationId xmlns:a16="http://schemas.microsoft.com/office/drawing/2014/main" id="{54B9D78E-1039-671F-C554-127B81637E66}"/>
              </a:ext>
            </a:extLst>
          </p:cNvPr>
          <p:cNvSpPr>
            <a:spLocks noGrp="1" noChangeAspect="1"/>
          </p:cNvSpPr>
          <p:nvPr>
            <p:ph type="pic" sz="quarter" idx="13"/>
          </p:nvPr>
        </p:nvSpPr>
        <p:spPr>
          <a:xfrm>
            <a:off x="956445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p>
            <a:r>
              <a:rPr lang="nl-NL"/>
              <a:t>Klik op het pictogram als u een afbeelding wilt toevoegen</a:t>
            </a:r>
            <a:endParaRPr lang="en-GB"/>
          </a:p>
        </p:txBody>
      </p:sp>
      <p:sp>
        <p:nvSpPr>
          <p:cNvPr id="19" name="Segnaposto testo 4">
            <a:extLst>
              <a:ext uri="{FF2B5EF4-FFF2-40B4-BE49-F238E27FC236}">
                <a16:creationId xmlns:a16="http://schemas.microsoft.com/office/drawing/2014/main" id="{A24D91C2-AC7B-E14B-3E8B-C99F99BA4AF6}"/>
              </a:ext>
            </a:extLst>
          </p:cNvPr>
          <p:cNvSpPr>
            <a:spLocks noGrp="1"/>
          </p:cNvSpPr>
          <p:nvPr>
            <p:ph type="body" sz="quarter" idx="31" hasCustomPrompt="1"/>
          </p:nvPr>
        </p:nvSpPr>
        <p:spPr>
          <a:xfrm>
            <a:off x="550863" y="4267200"/>
            <a:ext cx="2339199" cy="73660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20" name="Segnaposto testo 4">
            <a:extLst>
              <a:ext uri="{FF2B5EF4-FFF2-40B4-BE49-F238E27FC236}">
                <a16:creationId xmlns:a16="http://schemas.microsoft.com/office/drawing/2014/main" id="{0A5C235F-02D4-CFD8-00DC-BAED42416AC3}"/>
              </a:ext>
            </a:extLst>
          </p:cNvPr>
          <p:cNvSpPr>
            <a:spLocks noGrp="1"/>
          </p:cNvSpPr>
          <p:nvPr>
            <p:ph type="body" sz="quarter" idx="32" hasCustomPrompt="1"/>
          </p:nvPr>
        </p:nvSpPr>
        <p:spPr>
          <a:xfrm>
            <a:off x="3473866" y="4267200"/>
            <a:ext cx="2339199" cy="73660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21" name="Segnaposto testo 4">
            <a:extLst>
              <a:ext uri="{FF2B5EF4-FFF2-40B4-BE49-F238E27FC236}">
                <a16:creationId xmlns:a16="http://schemas.microsoft.com/office/drawing/2014/main" id="{27C518BA-FB92-AEB1-8882-5D067E889BE6}"/>
              </a:ext>
            </a:extLst>
          </p:cNvPr>
          <p:cNvSpPr>
            <a:spLocks noGrp="1"/>
          </p:cNvSpPr>
          <p:nvPr>
            <p:ph type="body" sz="quarter" idx="33" hasCustomPrompt="1"/>
          </p:nvPr>
        </p:nvSpPr>
        <p:spPr>
          <a:xfrm>
            <a:off x="6396869" y="4267200"/>
            <a:ext cx="2339199" cy="73660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
        <p:nvSpPr>
          <p:cNvPr id="22" name="Segnaposto testo 4">
            <a:extLst>
              <a:ext uri="{FF2B5EF4-FFF2-40B4-BE49-F238E27FC236}">
                <a16:creationId xmlns:a16="http://schemas.microsoft.com/office/drawing/2014/main" id="{2EEF9B19-9216-D2E8-F860-90ECA6FB418A}"/>
              </a:ext>
            </a:extLst>
          </p:cNvPr>
          <p:cNvSpPr>
            <a:spLocks noGrp="1"/>
          </p:cNvSpPr>
          <p:nvPr>
            <p:ph type="body" sz="quarter" idx="34" hasCustomPrompt="1"/>
          </p:nvPr>
        </p:nvSpPr>
        <p:spPr>
          <a:xfrm>
            <a:off x="9289983" y="4267199"/>
            <a:ext cx="2339199" cy="736600"/>
          </a:xfrm>
        </p:spPr>
        <p:txBody>
          <a:bodyPr numCol="1" spcCol="360000">
            <a:normAutofit/>
          </a:bodyPr>
          <a:lstStyle>
            <a:lvl1pPr marL="0" indent="0" algn="just">
              <a:buNone/>
              <a:defRPr sz="1200" b="1" i="0">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16341318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Picture + text_18">
    <p:bg>
      <p:bgPr>
        <a:solidFill>
          <a:schemeClr val="accent2"/>
        </a:solidFill>
        <a:effectLst/>
      </p:bgPr>
    </p:bg>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lvl1pPr>
              <a:defRPr>
                <a:solidFill>
                  <a:schemeClr val="accent4"/>
                </a:solidFill>
              </a:defRPr>
            </a:lvl1pPr>
          </a:lstStyle>
          <a:p>
            <a:r>
              <a:rPr lang="nl-NL"/>
              <a:t>CLICK TO EDIT </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11" name="Segnaposto testo 4">
            <a:extLst>
              <a:ext uri="{FF2B5EF4-FFF2-40B4-BE49-F238E27FC236}">
                <a16:creationId xmlns:a16="http://schemas.microsoft.com/office/drawing/2014/main" id="{CC9085F3-B175-40BF-7A05-BB5EFEC5CB35}"/>
              </a:ext>
            </a:extLst>
          </p:cNvPr>
          <p:cNvSpPr>
            <a:spLocks noGrp="1"/>
          </p:cNvSpPr>
          <p:nvPr>
            <p:ph type="body" sz="quarter" idx="15" hasCustomPrompt="1"/>
          </p:nvPr>
        </p:nvSpPr>
        <p:spPr>
          <a:xfrm>
            <a:off x="550863"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2" name="Segnaposto testo 4">
            <a:extLst>
              <a:ext uri="{FF2B5EF4-FFF2-40B4-BE49-F238E27FC236}">
                <a16:creationId xmlns:a16="http://schemas.microsoft.com/office/drawing/2014/main" id="{05DB9FAE-F631-30C2-B582-BD1C0E9FE3F9}"/>
              </a:ext>
            </a:extLst>
          </p:cNvPr>
          <p:cNvSpPr>
            <a:spLocks noGrp="1"/>
          </p:cNvSpPr>
          <p:nvPr>
            <p:ph type="body" sz="quarter" idx="28" hasCustomPrompt="1"/>
          </p:nvPr>
        </p:nvSpPr>
        <p:spPr>
          <a:xfrm>
            <a:off x="3467889"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3" name="Segnaposto testo 4">
            <a:extLst>
              <a:ext uri="{FF2B5EF4-FFF2-40B4-BE49-F238E27FC236}">
                <a16:creationId xmlns:a16="http://schemas.microsoft.com/office/drawing/2014/main" id="{FC9F5914-F1B1-CBA8-0CBA-8C29D8CA72DC}"/>
              </a:ext>
            </a:extLst>
          </p:cNvPr>
          <p:cNvSpPr>
            <a:spLocks noGrp="1"/>
          </p:cNvSpPr>
          <p:nvPr>
            <p:ph type="body" sz="quarter" idx="29" hasCustomPrompt="1"/>
          </p:nvPr>
        </p:nvSpPr>
        <p:spPr>
          <a:xfrm>
            <a:off x="6384914"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5" name="Segnaposto testo 4">
            <a:extLst>
              <a:ext uri="{FF2B5EF4-FFF2-40B4-BE49-F238E27FC236}">
                <a16:creationId xmlns:a16="http://schemas.microsoft.com/office/drawing/2014/main" id="{BFFCF8C4-9AD2-7234-3235-2ED87CA79D98}"/>
              </a:ext>
            </a:extLst>
          </p:cNvPr>
          <p:cNvSpPr>
            <a:spLocks noGrp="1"/>
          </p:cNvSpPr>
          <p:nvPr>
            <p:ph type="body" sz="quarter" idx="30" hasCustomPrompt="1"/>
          </p:nvPr>
        </p:nvSpPr>
        <p:spPr>
          <a:xfrm>
            <a:off x="9301938"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6" name="Picture Placeholder 14">
            <a:extLst>
              <a:ext uri="{FF2B5EF4-FFF2-40B4-BE49-F238E27FC236}">
                <a16:creationId xmlns:a16="http://schemas.microsoft.com/office/drawing/2014/main" id="{0154B350-35C2-2DAD-53DE-0BBCEC2D57D5}"/>
              </a:ext>
            </a:extLst>
          </p:cNvPr>
          <p:cNvSpPr>
            <a:spLocks noGrp="1" noChangeAspect="1"/>
          </p:cNvSpPr>
          <p:nvPr>
            <p:ph type="pic" sz="quarter" idx="10"/>
          </p:nvPr>
        </p:nvSpPr>
        <p:spPr>
          <a:xfrm>
            <a:off x="520100"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6" name="Picture Placeholder 13">
            <a:extLst>
              <a:ext uri="{FF2B5EF4-FFF2-40B4-BE49-F238E27FC236}">
                <a16:creationId xmlns:a16="http://schemas.microsoft.com/office/drawing/2014/main" id="{F7483322-BE2F-D68C-63A4-A0783D6D6806}"/>
              </a:ext>
            </a:extLst>
          </p:cNvPr>
          <p:cNvSpPr>
            <a:spLocks noGrp="1" noChangeAspect="1"/>
          </p:cNvSpPr>
          <p:nvPr>
            <p:ph type="pic" sz="quarter" idx="11"/>
          </p:nvPr>
        </p:nvSpPr>
        <p:spPr>
          <a:xfrm>
            <a:off x="359914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7" name="Picture Placeholder 12">
            <a:extLst>
              <a:ext uri="{FF2B5EF4-FFF2-40B4-BE49-F238E27FC236}">
                <a16:creationId xmlns:a16="http://schemas.microsoft.com/office/drawing/2014/main" id="{6E29EED1-C1CF-228E-BC97-944B57257C79}"/>
              </a:ext>
            </a:extLst>
          </p:cNvPr>
          <p:cNvSpPr>
            <a:spLocks noGrp="1" noChangeAspect="1"/>
          </p:cNvSpPr>
          <p:nvPr>
            <p:ph type="pic" sz="quarter" idx="12"/>
          </p:nvPr>
        </p:nvSpPr>
        <p:spPr>
          <a:xfrm>
            <a:off x="6581804"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8" name="Picture Placeholder 11">
            <a:extLst>
              <a:ext uri="{FF2B5EF4-FFF2-40B4-BE49-F238E27FC236}">
                <a16:creationId xmlns:a16="http://schemas.microsoft.com/office/drawing/2014/main" id="{54B9D78E-1039-671F-C554-127B81637E66}"/>
              </a:ext>
            </a:extLst>
          </p:cNvPr>
          <p:cNvSpPr>
            <a:spLocks noGrp="1" noChangeAspect="1"/>
          </p:cNvSpPr>
          <p:nvPr>
            <p:ph type="pic" sz="quarter" idx="13"/>
          </p:nvPr>
        </p:nvSpPr>
        <p:spPr>
          <a:xfrm>
            <a:off x="956445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9" name="Segnaposto testo 4">
            <a:extLst>
              <a:ext uri="{FF2B5EF4-FFF2-40B4-BE49-F238E27FC236}">
                <a16:creationId xmlns:a16="http://schemas.microsoft.com/office/drawing/2014/main" id="{A24D91C2-AC7B-E14B-3E8B-C99F99BA4AF6}"/>
              </a:ext>
            </a:extLst>
          </p:cNvPr>
          <p:cNvSpPr>
            <a:spLocks noGrp="1"/>
          </p:cNvSpPr>
          <p:nvPr>
            <p:ph type="body" sz="quarter" idx="31" hasCustomPrompt="1"/>
          </p:nvPr>
        </p:nvSpPr>
        <p:spPr>
          <a:xfrm>
            <a:off x="550863" y="4267200"/>
            <a:ext cx="2339199" cy="736600"/>
          </a:xfrm>
        </p:spPr>
        <p:txBody>
          <a:bodyPr numCol="1" spcCol="360000">
            <a:normAutofit/>
          </a:bodyPr>
          <a:lstStyle>
            <a:lvl1pPr marL="0" indent="0" algn="just">
              <a:buNone/>
              <a:defRPr sz="1200" b="1" i="0">
                <a:solidFill>
                  <a:schemeClr val="accent4"/>
                </a:solidFill>
                <a:latin typeface="Arial" panose="020B0604020202020204" pitchFamily="34" charset="0"/>
                <a:cs typeface="Arial" panose="020B0604020202020204" pitchFamily="34" charset="0"/>
              </a:defRPr>
            </a:lvl1pPr>
          </a:lstStyle>
          <a:p>
            <a:pPr lvl="0"/>
            <a:r>
              <a:rPr lang="en-US" noProof="0"/>
              <a:t>Copy</a:t>
            </a:r>
          </a:p>
        </p:txBody>
      </p:sp>
      <p:sp>
        <p:nvSpPr>
          <p:cNvPr id="20" name="Segnaposto testo 4">
            <a:extLst>
              <a:ext uri="{FF2B5EF4-FFF2-40B4-BE49-F238E27FC236}">
                <a16:creationId xmlns:a16="http://schemas.microsoft.com/office/drawing/2014/main" id="{0A5C235F-02D4-CFD8-00DC-BAED42416AC3}"/>
              </a:ext>
            </a:extLst>
          </p:cNvPr>
          <p:cNvSpPr>
            <a:spLocks noGrp="1"/>
          </p:cNvSpPr>
          <p:nvPr>
            <p:ph type="body" sz="quarter" idx="32" hasCustomPrompt="1"/>
          </p:nvPr>
        </p:nvSpPr>
        <p:spPr>
          <a:xfrm>
            <a:off x="3473866" y="4267200"/>
            <a:ext cx="2339199" cy="736600"/>
          </a:xfrm>
        </p:spPr>
        <p:txBody>
          <a:bodyPr numCol="1" spcCol="360000">
            <a:normAutofit/>
          </a:bodyPr>
          <a:lstStyle>
            <a:lvl1pPr marL="0" indent="0" algn="just">
              <a:buNone/>
              <a:defRPr sz="1200" b="1" i="0">
                <a:solidFill>
                  <a:schemeClr val="accent4"/>
                </a:solidFill>
                <a:latin typeface="Arial" panose="020B0604020202020204" pitchFamily="34" charset="0"/>
                <a:cs typeface="Arial" panose="020B0604020202020204" pitchFamily="34" charset="0"/>
              </a:defRPr>
            </a:lvl1pPr>
          </a:lstStyle>
          <a:p>
            <a:pPr lvl="0"/>
            <a:r>
              <a:rPr lang="en-US" noProof="0"/>
              <a:t>Copy</a:t>
            </a:r>
          </a:p>
        </p:txBody>
      </p:sp>
      <p:sp>
        <p:nvSpPr>
          <p:cNvPr id="21" name="Segnaposto testo 4">
            <a:extLst>
              <a:ext uri="{FF2B5EF4-FFF2-40B4-BE49-F238E27FC236}">
                <a16:creationId xmlns:a16="http://schemas.microsoft.com/office/drawing/2014/main" id="{27C518BA-FB92-AEB1-8882-5D067E889BE6}"/>
              </a:ext>
            </a:extLst>
          </p:cNvPr>
          <p:cNvSpPr>
            <a:spLocks noGrp="1"/>
          </p:cNvSpPr>
          <p:nvPr>
            <p:ph type="body" sz="quarter" idx="33" hasCustomPrompt="1"/>
          </p:nvPr>
        </p:nvSpPr>
        <p:spPr>
          <a:xfrm>
            <a:off x="6396869" y="4267200"/>
            <a:ext cx="2339199" cy="736600"/>
          </a:xfrm>
        </p:spPr>
        <p:txBody>
          <a:bodyPr numCol="1" spcCol="360000">
            <a:normAutofit/>
          </a:bodyPr>
          <a:lstStyle>
            <a:lvl1pPr marL="0" indent="0" algn="just">
              <a:buNone/>
              <a:defRPr sz="1200" b="1" i="0">
                <a:solidFill>
                  <a:schemeClr val="accent4"/>
                </a:solidFill>
                <a:latin typeface="Arial" panose="020B0604020202020204" pitchFamily="34" charset="0"/>
                <a:cs typeface="Arial" panose="020B0604020202020204" pitchFamily="34" charset="0"/>
              </a:defRPr>
            </a:lvl1pPr>
          </a:lstStyle>
          <a:p>
            <a:pPr lvl="0"/>
            <a:r>
              <a:rPr lang="en-US" noProof="0"/>
              <a:t>Copy</a:t>
            </a:r>
          </a:p>
        </p:txBody>
      </p:sp>
      <p:sp>
        <p:nvSpPr>
          <p:cNvPr id="22" name="Segnaposto testo 4">
            <a:extLst>
              <a:ext uri="{FF2B5EF4-FFF2-40B4-BE49-F238E27FC236}">
                <a16:creationId xmlns:a16="http://schemas.microsoft.com/office/drawing/2014/main" id="{2EEF9B19-9216-D2E8-F860-90ECA6FB418A}"/>
              </a:ext>
            </a:extLst>
          </p:cNvPr>
          <p:cNvSpPr>
            <a:spLocks noGrp="1"/>
          </p:cNvSpPr>
          <p:nvPr>
            <p:ph type="body" sz="quarter" idx="34" hasCustomPrompt="1"/>
          </p:nvPr>
        </p:nvSpPr>
        <p:spPr>
          <a:xfrm>
            <a:off x="9289983" y="4267199"/>
            <a:ext cx="2339199" cy="736600"/>
          </a:xfrm>
        </p:spPr>
        <p:txBody>
          <a:bodyPr numCol="1" spcCol="360000">
            <a:normAutofit/>
          </a:bodyPr>
          <a:lstStyle>
            <a:lvl1pPr marL="0" indent="0" algn="just">
              <a:buNone/>
              <a:defRPr sz="1200" b="1" i="0">
                <a:solidFill>
                  <a:schemeClr val="accent4"/>
                </a:solidFill>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5956160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_Picture + text_18">
    <p:bg>
      <p:bgPr>
        <a:solidFill>
          <a:schemeClr val="accent4"/>
        </a:solidFill>
        <a:effectLst/>
      </p:bgPr>
    </p:bg>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lvl1pPr>
              <a:defRPr>
                <a:solidFill>
                  <a:schemeClr val="bg1"/>
                </a:solidFill>
              </a:defRPr>
            </a:lvl1pPr>
          </a:lstStyle>
          <a:p>
            <a:r>
              <a:rPr lang="nl-NL"/>
              <a:t>CLICK TO EDIT </a:t>
            </a:r>
            <a:endParaRPr lang="en-GB"/>
          </a:p>
        </p:txBody>
      </p:sp>
      <p:sp>
        <p:nvSpPr>
          <p:cNvPr id="8" name="Slide Number Placeholder 5">
            <a:extLst>
              <a:ext uri="{FF2B5EF4-FFF2-40B4-BE49-F238E27FC236}">
                <a16:creationId xmlns:a16="http://schemas.microsoft.com/office/drawing/2014/main" id="{F0748210-DEE8-026E-0EDB-4AEA27C01880}"/>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9" name="Segnaposto piè di pagina 7">
            <a:extLst>
              <a:ext uri="{FF2B5EF4-FFF2-40B4-BE49-F238E27FC236}">
                <a16:creationId xmlns:a16="http://schemas.microsoft.com/office/drawing/2014/main" id="{2A1481C1-07D4-7B67-1C05-0C5BAD05CC2C}"/>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11" name="Segnaposto testo 4">
            <a:extLst>
              <a:ext uri="{FF2B5EF4-FFF2-40B4-BE49-F238E27FC236}">
                <a16:creationId xmlns:a16="http://schemas.microsoft.com/office/drawing/2014/main" id="{CC9085F3-B175-40BF-7A05-BB5EFEC5CB35}"/>
              </a:ext>
            </a:extLst>
          </p:cNvPr>
          <p:cNvSpPr>
            <a:spLocks noGrp="1"/>
          </p:cNvSpPr>
          <p:nvPr>
            <p:ph type="body" sz="quarter" idx="15" hasCustomPrompt="1"/>
          </p:nvPr>
        </p:nvSpPr>
        <p:spPr>
          <a:xfrm>
            <a:off x="550863"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2" name="Segnaposto testo 4">
            <a:extLst>
              <a:ext uri="{FF2B5EF4-FFF2-40B4-BE49-F238E27FC236}">
                <a16:creationId xmlns:a16="http://schemas.microsoft.com/office/drawing/2014/main" id="{05DB9FAE-F631-30C2-B582-BD1C0E9FE3F9}"/>
              </a:ext>
            </a:extLst>
          </p:cNvPr>
          <p:cNvSpPr>
            <a:spLocks noGrp="1"/>
          </p:cNvSpPr>
          <p:nvPr>
            <p:ph type="body" sz="quarter" idx="28" hasCustomPrompt="1"/>
          </p:nvPr>
        </p:nvSpPr>
        <p:spPr>
          <a:xfrm>
            <a:off x="3467889"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3" name="Segnaposto testo 4">
            <a:extLst>
              <a:ext uri="{FF2B5EF4-FFF2-40B4-BE49-F238E27FC236}">
                <a16:creationId xmlns:a16="http://schemas.microsoft.com/office/drawing/2014/main" id="{FC9F5914-F1B1-CBA8-0CBA-8C29D8CA72DC}"/>
              </a:ext>
            </a:extLst>
          </p:cNvPr>
          <p:cNvSpPr>
            <a:spLocks noGrp="1"/>
          </p:cNvSpPr>
          <p:nvPr>
            <p:ph type="body" sz="quarter" idx="29" hasCustomPrompt="1"/>
          </p:nvPr>
        </p:nvSpPr>
        <p:spPr>
          <a:xfrm>
            <a:off x="6384914"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5" name="Segnaposto testo 4">
            <a:extLst>
              <a:ext uri="{FF2B5EF4-FFF2-40B4-BE49-F238E27FC236}">
                <a16:creationId xmlns:a16="http://schemas.microsoft.com/office/drawing/2014/main" id="{BFFCF8C4-9AD2-7234-3235-2ED87CA79D98}"/>
              </a:ext>
            </a:extLst>
          </p:cNvPr>
          <p:cNvSpPr>
            <a:spLocks noGrp="1"/>
          </p:cNvSpPr>
          <p:nvPr>
            <p:ph type="body" sz="quarter" idx="30" hasCustomPrompt="1"/>
          </p:nvPr>
        </p:nvSpPr>
        <p:spPr>
          <a:xfrm>
            <a:off x="9301938" y="5003800"/>
            <a:ext cx="2339199" cy="1152638"/>
          </a:xfrm>
        </p:spPr>
        <p:txBody>
          <a:bodyPr numCol="1" spcCol="360000">
            <a:normAutofit/>
          </a:bodyPr>
          <a:lstStyle>
            <a:lvl1pPr marL="0" indent="0" algn="just">
              <a:buNone/>
              <a:defRPr sz="10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6" name="Picture Placeholder 14">
            <a:extLst>
              <a:ext uri="{FF2B5EF4-FFF2-40B4-BE49-F238E27FC236}">
                <a16:creationId xmlns:a16="http://schemas.microsoft.com/office/drawing/2014/main" id="{0154B350-35C2-2DAD-53DE-0BBCEC2D57D5}"/>
              </a:ext>
            </a:extLst>
          </p:cNvPr>
          <p:cNvSpPr>
            <a:spLocks noGrp="1" noChangeAspect="1"/>
          </p:cNvSpPr>
          <p:nvPr>
            <p:ph type="pic" sz="quarter" idx="10"/>
          </p:nvPr>
        </p:nvSpPr>
        <p:spPr>
          <a:xfrm>
            <a:off x="520100"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6" name="Picture Placeholder 13">
            <a:extLst>
              <a:ext uri="{FF2B5EF4-FFF2-40B4-BE49-F238E27FC236}">
                <a16:creationId xmlns:a16="http://schemas.microsoft.com/office/drawing/2014/main" id="{F7483322-BE2F-D68C-63A4-A0783D6D6806}"/>
              </a:ext>
            </a:extLst>
          </p:cNvPr>
          <p:cNvSpPr>
            <a:spLocks noGrp="1" noChangeAspect="1"/>
          </p:cNvSpPr>
          <p:nvPr>
            <p:ph type="pic" sz="quarter" idx="11"/>
          </p:nvPr>
        </p:nvSpPr>
        <p:spPr>
          <a:xfrm>
            <a:off x="359914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7" name="Picture Placeholder 12">
            <a:extLst>
              <a:ext uri="{FF2B5EF4-FFF2-40B4-BE49-F238E27FC236}">
                <a16:creationId xmlns:a16="http://schemas.microsoft.com/office/drawing/2014/main" id="{6E29EED1-C1CF-228E-BC97-944B57257C79}"/>
              </a:ext>
            </a:extLst>
          </p:cNvPr>
          <p:cNvSpPr>
            <a:spLocks noGrp="1" noChangeAspect="1"/>
          </p:cNvSpPr>
          <p:nvPr>
            <p:ph type="pic" sz="quarter" idx="12"/>
          </p:nvPr>
        </p:nvSpPr>
        <p:spPr>
          <a:xfrm>
            <a:off x="6581804"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8" name="Picture Placeholder 11">
            <a:extLst>
              <a:ext uri="{FF2B5EF4-FFF2-40B4-BE49-F238E27FC236}">
                <a16:creationId xmlns:a16="http://schemas.microsoft.com/office/drawing/2014/main" id="{54B9D78E-1039-671F-C554-127B81637E66}"/>
              </a:ext>
            </a:extLst>
          </p:cNvPr>
          <p:cNvSpPr>
            <a:spLocks noGrp="1" noChangeAspect="1"/>
          </p:cNvSpPr>
          <p:nvPr>
            <p:ph type="pic" sz="quarter" idx="13"/>
          </p:nvPr>
        </p:nvSpPr>
        <p:spPr>
          <a:xfrm>
            <a:off x="9564459" y="2000022"/>
            <a:ext cx="2076678" cy="2076678"/>
          </a:xfrm>
          <a:custGeom>
            <a:avLst/>
            <a:gdLst>
              <a:gd name="connsiteX0" fmla="*/ 1190059 w 2380118"/>
              <a:gd name="connsiteY0" fmla="*/ 0 h 2380118"/>
              <a:gd name="connsiteX1" fmla="*/ 1568205 w 2380118"/>
              <a:gd name="connsiteY1" fmla="*/ 156633 h 2380118"/>
              <a:gd name="connsiteX2" fmla="*/ 2223485 w 2380118"/>
              <a:gd name="connsiteY2" fmla="*/ 811913 h 2380118"/>
              <a:gd name="connsiteX3" fmla="*/ 2223485 w 2380118"/>
              <a:gd name="connsiteY3" fmla="*/ 1568205 h 2380118"/>
              <a:gd name="connsiteX4" fmla="*/ 1568205 w 2380118"/>
              <a:gd name="connsiteY4" fmla="*/ 2223485 h 2380118"/>
              <a:gd name="connsiteX5" fmla="*/ 811913 w 2380118"/>
              <a:gd name="connsiteY5" fmla="*/ 2223485 h 2380118"/>
              <a:gd name="connsiteX6" fmla="*/ 156633 w 2380118"/>
              <a:gd name="connsiteY6" fmla="*/ 1568205 h 2380118"/>
              <a:gd name="connsiteX7" fmla="*/ 156633 w 2380118"/>
              <a:gd name="connsiteY7" fmla="*/ 811913 h 2380118"/>
              <a:gd name="connsiteX8" fmla="*/ 811913 w 2380118"/>
              <a:gd name="connsiteY8" fmla="*/ 156633 h 2380118"/>
              <a:gd name="connsiteX9" fmla="*/ 1190059 w 2380118"/>
              <a:gd name="connsiteY9" fmla="*/ 0 h 238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118" h="2380118">
                <a:moveTo>
                  <a:pt x="1190059" y="0"/>
                </a:moveTo>
                <a:cubicBezTo>
                  <a:pt x="1326921" y="0"/>
                  <a:pt x="1463783" y="52211"/>
                  <a:pt x="1568205" y="156633"/>
                </a:cubicBezTo>
                <a:lnTo>
                  <a:pt x="2223485" y="811913"/>
                </a:lnTo>
                <a:cubicBezTo>
                  <a:pt x="2432329" y="1020757"/>
                  <a:pt x="2432329" y="1359361"/>
                  <a:pt x="2223485" y="1568205"/>
                </a:cubicBezTo>
                <a:lnTo>
                  <a:pt x="1568205" y="2223485"/>
                </a:lnTo>
                <a:cubicBezTo>
                  <a:pt x="1359361" y="2432329"/>
                  <a:pt x="1020757" y="2432329"/>
                  <a:pt x="811913" y="2223485"/>
                </a:cubicBezTo>
                <a:lnTo>
                  <a:pt x="156633" y="1568205"/>
                </a:lnTo>
                <a:cubicBezTo>
                  <a:pt x="-52211" y="1359361"/>
                  <a:pt x="-52211" y="1020757"/>
                  <a:pt x="156633" y="811913"/>
                </a:cubicBezTo>
                <a:lnTo>
                  <a:pt x="811913" y="156633"/>
                </a:lnTo>
                <a:cubicBezTo>
                  <a:pt x="916335" y="52211"/>
                  <a:pt x="1053197" y="0"/>
                  <a:pt x="1190059" y="0"/>
                </a:cubicBezTo>
                <a:close/>
              </a:path>
            </a:pathLst>
          </a:custGeom>
          <a:solidFill>
            <a:schemeClr val="bg1">
              <a:lumMod val="95000"/>
            </a:schemeClr>
          </a:solidFill>
        </p:spPr>
        <p:txBody>
          <a:bodyPr wrap="square">
            <a:noAutofit/>
          </a:bodyPr>
          <a:lstStyle>
            <a:lvl1pPr>
              <a:defRPr>
                <a:solidFill>
                  <a:schemeClr val="bg1"/>
                </a:solidFill>
              </a:defRPr>
            </a:lvl1pPr>
          </a:lstStyle>
          <a:p>
            <a:r>
              <a:rPr lang="nl-NL"/>
              <a:t>Klik op het pictogram als u een afbeelding wilt toevoegen</a:t>
            </a:r>
            <a:endParaRPr lang="en-GB"/>
          </a:p>
        </p:txBody>
      </p:sp>
      <p:sp>
        <p:nvSpPr>
          <p:cNvPr id="19" name="Segnaposto testo 4">
            <a:extLst>
              <a:ext uri="{FF2B5EF4-FFF2-40B4-BE49-F238E27FC236}">
                <a16:creationId xmlns:a16="http://schemas.microsoft.com/office/drawing/2014/main" id="{A24D91C2-AC7B-E14B-3E8B-C99F99BA4AF6}"/>
              </a:ext>
            </a:extLst>
          </p:cNvPr>
          <p:cNvSpPr>
            <a:spLocks noGrp="1"/>
          </p:cNvSpPr>
          <p:nvPr>
            <p:ph type="body" sz="quarter" idx="31" hasCustomPrompt="1"/>
          </p:nvPr>
        </p:nvSpPr>
        <p:spPr>
          <a:xfrm>
            <a:off x="550863" y="4267200"/>
            <a:ext cx="2339199" cy="736600"/>
          </a:xfrm>
        </p:spPr>
        <p:txBody>
          <a:bodyPr numCol="1" spcCol="360000">
            <a:normAutofit/>
          </a:bodyPr>
          <a:lstStyle>
            <a:lvl1pPr marL="0" indent="0" algn="just">
              <a:buNone/>
              <a:defRPr sz="1200" b="1" i="0">
                <a:solidFill>
                  <a:schemeClr val="accent2"/>
                </a:solidFill>
                <a:latin typeface="Arial" panose="020B0604020202020204" pitchFamily="34" charset="0"/>
                <a:cs typeface="Arial" panose="020B0604020202020204" pitchFamily="34" charset="0"/>
              </a:defRPr>
            </a:lvl1pPr>
          </a:lstStyle>
          <a:p>
            <a:pPr lvl="0"/>
            <a:r>
              <a:rPr lang="en-US" noProof="0"/>
              <a:t>Copy</a:t>
            </a:r>
          </a:p>
        </p:txBody>
      </p:sp>
      <p:sp>
        <p:nvSpPr>
          <p:cNvPr id="20" name="Segnaposto testo 4">
            <a:extLst>
              <a:ext uri="{FF2B5EF4-FFF2-40B4-BE49-F238E27FC236}">
                <a16:creationId xmlns:a16="http://schemas.microsoft.com/office/drawing/2014/main" id="{0A5C235F-02D4-CFD8-00DC-BAED42416AC3}"/>
              </a:ext>
            </a:extLst>
          </p:cNvPr>
          <p:cNvSpPr>
            <a:spLocks noGrp="1"/>
          </p:cNvSpPr>
          <p:nvPr>
            <p:ph type="body" sz="quarter" idx="32" hasCustomPrompt="1"/>
          </p:nvPr>
        </p:nvSpPr>
        <p:spPr>
          <a:xfrm>
            <a:off x="3473866" y="4267200"/>
            <a:ext cx="2339199" cy="736600"/>
          </a:xfrm>
        </p:spPr>
        <p:txBody>
          <a:bodyPr numCol="1" spcCol="360000">
            <a:normAutofit/>
          </a:bodyPr>
          <a:lstStyle>
            <a:lvl1pPr marL="0" indent="0" algn="just">
              <a:buNone/>
              <a:defRPr sz="1200" b="1" i="0">
                <a:solidFill>
                  <a:schemeClr val="accent2"/>
                </a:solidFill>
                <a:latin typeface="Arial" panose="020B0604020202020204" pitchFamily="34" charset="0"/>
                <a:cs typeface="Arial" panose="020B0604020202020204" pitchFamily="34" charset="0"/>
              </a:defRPr>
            </a:lvl1pPr>
          </a:lstStyle>
          <a:p>
            <a:pPr lvl="0"/>
            <a:r>
              <a:rPr lang="en-US" noProof="0"/>
              <a:t>Copy</a:t>
            </a:r>
          </a:p>
        </p:txBody>
      </p:sp>
      <p:sp>
        <p:nvSpPr>
          <p:cNvPr id="21" name="Segnaposto testo 4">
            <a:extLst>
              <a:ext uri="{FF2B5EF4-FFF2-40B4-BE49-F238E27FC236}">
                <a16:creationId xmlns:a16="http://schemas.microsoft.com/office/drawing/2014/main" id="{27C518BA-FB92-AEB1-8882-5D067E889BE6}"/>
              </a:ext>
            </a:extLst>
          </p:cNvPr>
          <p:cNvSpPr>
            <a:spLocks noGrp="1"/>
          </p:cNvSpPr>
          <p:nvPr>
            <p:ph type="body" sz="quarter" idx="33" hasCustomPrompt="1"/>
          </p:nvPr>
        </p:nvSpPr>
        <p:spPr>
          <a:xfrm>
            <a:off x="6396869" y="4267200"/>
            <a:ext cx="2339199" cy="736600"/>
          </a:xfrm>
        </p:spPr>
        <p:txBody>
          <a:bodyPr numCol="1" spcCol="360000">
            <a:normAutofit/>
          </a:bodyPr>
          <a:lstStyle>
            <a:lvl1pPr marL="0" indent="0" algn="just">
              <a:buNone/>
              <a:defRPr sz="1200" b="1" i="0">
                <a:solidFill>
                  <a:schemeClr val="accent2"/>
                </a:solidFill>
                <a:latin typeface="Arial" panose="020B0604020202020204" pitchFamily="34" charset="0"/>
                <a:cs typeface="Arial" panose="020B0604020202020204" pitchFamily="34" charset="0"/>
              </a:defRPr>
            </a:lvl1pPr>
          </a:lstStyle>
          <a:p>
            <a:pPr lvl="0"/>
            <a:r>
              <a:rPr lang="en-US" noProof="0"/>
              <a:t>Copy</a:t>
            </a:r>
          </a:p>
        </p:txBody>
      </p:sp>
      <p:sp>
        <p:nvSpPr>
          <p:cNvPr id="22" name="Segnaposto testo 4">
            <a:extLst>
              <a:ext uri="{FF2B5EF4-FFF2-40B4-BE49-F238E27FC236}">
                <a16:creationId xmlns:a16="http://schemas.microsoft.com/office/drawing/2014/main" id="{2EEF9B19-9216-D2E8-F860-90ECA6FB418A}"/>
              </a:ext>
            </a:extLst>
          </p:cNvPr>
          <p:cNvSpPr>
            <a:spLocks noGrp="1"/>
          </p:cNvSpPr>
          <p:nvPr>
            <p:ph type="body" sz="quarter" idx="34" hasCustomPrompt="1"/>
          </p:nvPr>
        </p:nvSpPr>
        <p:spPr>
          <a:xfrm>
            <a:off x="9289983" y="4267199"/>
            <a:ext cx="2339199" cy="736600"/>
          </a:xfrm>
        </p:spPr>
        <p:txBody>
          <a:bodyPr numCol="1" spcCol="360000">
            <a:normAutofit/>
          </a:bodyPr>
          <a:lstStyle>
            <a:lvl1pPr marL="0" indent="0" algn="just">
              <a:buNone/>
              <a:defRPr sz="1200" b="1" i="0">
                <a:solidFill>
                  <a:schemeClr val="accent2"/>
                </a:solidFill>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1644791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slide">
    <p:spTree>
      <p:nvGrpSpPr>
        <p:cNvPr id="1" name=""/>
        <p:cNvGrpSpPr/>
        <p:nvPr/>
      </p:nvGrpSpPr>
      <p:grpSpPr>
        <a:xfrm>
          <a:off x="0" y="0"/>
          <a:ext cx="0" cy="0"/>
          <a:chOff x="0" y="0"/>
          <a:chExt cx="0" cy="0"/>
        </a:xfrm>
      </p:grpSpPr>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1245" y="447345"/>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9152770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 text_19">
    <p:spTree>
      <p:nvGrpSpPr>
        <p:cNvPr id="1" name=""/>
        <p:cNvGrpSpPr/>
        <p:nvPr/>
      </p:nvGrpSpPr>
      <p:grpSpPr>
        <a:xfrm>
          <a:off x="0" y="0"/>
          <a:ext cx="0" cy="0"/>
          <a:chOff x="0" y="0"/>
          <a:chExt cx="0" cy="0"/>
        </a:xfrm>
      </p:grpSpPr>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569093" y="1376363"/>
            <a:ext cx="11053814" cy="4776156"/>
          </a:xfrm>
          <a:solidFill>
            <a:schemeClr val="bg1">
              <a:lumMod val="95000"/>
            </a:schemeClr>
          </a:solidFill>
        </p:spPr>
        <p:txBody>
          <a:bodyPr/>
          <a:lstStyle/>
          <a:p>
            <a:r>
              <a:rPr lang="nl-NL"/>
              <a:t>Klik op het pictogram als u een afbeelding wilt toevoegen</a:t>
            </a:r>
            <a:endParaRPr lang="en-GB"/>
          </a:p>
        </p:txBody>
      </p:sp>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11072043" cy="4776155"/>
          </a:xfrm>
        </p:spPr>
        <p:txBody>
          <a:bodyPr numCol="2" spcCol="360000">
            <a:normAutofit/>
          </a:bodyPr>
          <a:lstStyle>
            <a:lvl1pPr marL="0" indent="0" algn="just">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Tree>
    <p:extLst>
      <p:ext uri="{BB962C8B-B14F-4D97-AF65-F5344CB8AC3E}">
        <p14:creationId xmlns:p14="http://schemas.microsoft.com/office/powerpoint/2010/main" val="16735503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 text_20">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762107" cy="4776155"/>
          </a:xfrm>
        </p:spPr>
        <p:txBody>
          <a:bodyPr numCol="2"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780337" cy="827087"/>
          </a:xfrm>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746958" y="0"/>
            <a:ext cx="3430800" cy="3429000"/>
          </a:xfrm>
          <a:solidFill>
            <a:schemeClr val="bg1">
              <a:lumMod val="95000"/>
            </a:schemeClr>
          </a:solidFill>
        </p:spPr>
        <p:txBody>
          <a:bodyPr/>
          <a:lstStyle/>
          <a:p>
            <a:r>
              <a:rPr lang="nl-NL"/>
              <a:t>Klik op het pictogram als u een afbeelding wilt toevoegen</a:t>
            </a:r>
            <a:endParaRPr lang="en-GB"/>
          </a:p>
        </p:txBody>
      </p:sp>
      <p:sp>
        <p:nvSpPr>
          <p:cNvPr id="2" name="Tijdelijke aanduiding voor afbeelding 4">
            <a:extLst>
              <a:ext uri="{FF2B5EF4-FFF2-40B4-BE49-F238E27FC236}">
                <a16:creationId xmlns:a16="http://schemas.microsoft.com/office/drawing/2014/main" id="{E78C520E-6472-739C-F36C-E45B95342EF7}"/>
              </a:ext>
            </a:extLst>
          </p:cNvPr>
          <p:cNvSpPr>
            <a:spLocks noGrp="1"/>
          </p:cNvSpPr>
          <p:nvPr>
            <p:ph type="pic" sz="quarter" idx="17"/>
          </p:nvPr>
        </p:nvSpPr>
        <p:spPr>
          <a:xfrm>
            <a:off x="8746958" y="3429000"/>
            <a:ext cx="3430800" cy="3429000"/>
          </a:xfrm>
          <a:solidFill>
            <a:schemeClr val="bg1">
              <a:lumMod val="95000"/>
            </a:schemeClr>
          </a:solidFill>
        </p:spPr>
        <p:txBody>
          <a:body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D0027932-2684-60BD-F09A-B892E09E15F6}"/>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AF4EB5E0-D94D-B4DB-CAE0-090EFCBE2C8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4766782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 text_20">
    <p:bg>
      <p:bgPr>
        <a:solidFill>
          <a:schemeClr val="accent2"/>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762107" cy="4776155"/>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780337" cy="827087"/>
          </a:xfrm>
        </p:spPr>
        <p:txBody>
          <a:bodyPr/>
          <a:lstStyle>
            <a:lvl1pPr>
              <a:defRPr>
                <a:solidFill>
                  <a:schemeClr val="accent4"/>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746958" y="0"/>
            <a:ext cx="3430800"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2" name="Tijdelijke aanduiding voor afbeelding 4">
            <a:extLst>
              <a:ext uri="{FF2B5EF4-FFF2-40B4-BE49-F238E27FC236}">
                <a16:creationId xmlns:a16="http://schemas.microsoft.com/office/drawing/2014/main" id="{E78C520E-6472-739C-F36C-E45B95342EF7}"/>
              </a:ext>
            </a:extLst>
          </p:cNvPr>
          <p:cNvSpPr>
            <a:spLocks noGrp="1"/>
          </p:cNvSpPr>
          <p:nvPr>
            <p:ph type="pic" sz="quarter" idx="17"/>
          </p:nvPr>
        </p:nvSpPr>
        <p:spPr>
          <a:xfrm>
            <a:off x="8746958" y="3429000"/>
            <a:ext cx="3430800"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D0027932-2684-60BD-F09A-B892E09E15F6}"/>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AF4EB5E0-D94D-B4DB-CAE0-090EFCBE2C8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32957692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Picture + text_20">
    <p:bg>
      <p:bgPr>
        <a:solidFill>
          <a:schemeClr val="accent4"/>
        </a:solidFill>
        <a:effectLst/>
      </p:bgPr>
    </p:bg>
    <p:spTree>
      <p:nvGrpSpPr>
        <p:cNvPr id="1" name=""/>
        <p:cNvGrpSpPr/>
        <p:nvPr/>
      </p:nvGrpSpPr>
      <p:grpSpPr>
        <a:xfrm>
          <a:off x="0" y="0"/>
          <a:ext cx="0" cy="0"/>
          <a:chOff x="0" y="0"/>
          <a:chExt cx="0" cy="0"/>
        </a:xfrm>
      </p:grpSpPr>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3"/>
            <a:ext cx="7762107" cy="4776155"/>
          </a:xfrm>
        </p:spPr>
        <p:txBody>
          <a:bodyPr numCol="2"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7780337" cy="827087"/>
          </a:xfrm>
        </p:spPr>
        <p:txBody>
          <a:bodyPr/>
          <a:lstStyle>
            <a:lvl1pPr>
              <a:defRPr>
                <a:solidFill>
                  <a:schemeClr val="bg1"/>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8746958" y="0"/>
            <a:ext cx="3430800"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2" name="Tijdelijke aanduiding voor afbeelding 4">
            <a:extLst>
              <a:ext uri="{FF2B5EF4-FFF2-40B4-BE49-F238E27FC236}">
                <a16:creationId xmlns:a16="http://schemas.microsoft.com/office/drawing/2014/main" id="{E78C520E-6472-739C-F36C-E45B95342EF7}"/>
              </a:ext>
            </a:extLst>
          </p:cNvPr>
          <p:cNvSpPr>
            <a:spLocks noGrp="1"/>
          </p:cNvSpPr>
          <p:nvPr>
            <p:ph type="pic" sz="quarter" idx="17"/>
          </p:nvPr>
        </p:nvSpPr>
        <p:spPr>
          <a:xfrm>
            <a:off x="8746958" y="3429000"/>
            <a:ext cx="3430800"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
        <p:nvSpPr>
          <p:cNvPr id="9" name="Slide Number Placeholder 5">
            <a:extLst>
              <a:ext uri="{FF2B5EF4-FFF2-40B4-BE49-F238E27FC236}">
                <a16:creationId xmlns:a16="http://schemas.microsoft.com/office/drawing/2014/main" id="{D0027932-2684-60BD-F09A-B892E09E15F6}"/>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0" name="Segnaposto piè di pagina 7">
            <a:extLst>
              <a:ext uri="{FF2B5EF4-FFF2-40B4-BE49-F238E27FC236}">
                <a16:creationId xmlns:a16="http://schemas.microsoft.com/office/drawing/2014/main" id="{AF4EB5E0-D94D-B4DB-CAE0-090EFCBE2C8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13039645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 text_2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3" y="1376364"/>
            <a:ext cx="11072043" cy="3123448"/>
          </a:xfrm>
        </p:spPr>
        <p:txBody>
          <a:bodyPr numCol="3"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1" y="4680284"/>
            <a:ext cx="4073139" cy="2177716"/>
          </a:xfrm>
          <a:solidFill>
            <a:schemeClr val="bg1">
              <a:lumMod val="95000"/>
            </a:schemeClr>
          </a:solidFill>
        </p:spPr>
        <p:txBody>
          <a:bodyPr/>
          <a:lstStyle/>
          <a:p>
            <a:r>
              <a:rPr lang="nl-NL"/>
              <a:t>Klik op het pictogram als u een afbeelding wilt toevoegen</a:t>
            </a:r>
            <a:endParaRPr lang="en-GB"/>
          </a:p>
        </p:txBody>
      </p:sp>
      <p:sp>
        <p:nvSpPr>
          <p:cNvPr id="2" name="Tijdelijke aanduiding voor afbeelding 4">
            <a:extLst>
              <a:ext uri="{FF2B5EF4-FFF2-40B4-BE49-F238E27FC236}">
                <a16:creationId xmlns:a16="http://schemas.microsoft.com/office/drawing/2014/main" id="{E78C520E-6472-739C-F36C-E45B95342EF7}"/>
              </a:ext>
            </a:extLst>
          </p:cNvPr>
          <p:cNvSpPr>
            <a:spLocks noGrp="1"/>
          </p:cNvSpPr>
          <p:nvPr>
            <p:ph type="pic" sz="quarter" idx="17"/>
          </p:nvPr>
        </p:nvSpPr>
        <p:spPr>
          <a:xfrm>
            <a:off x="8103717" y="4680284"/>
            <a:ext cx="4074041" cy="2177716"/>
          </a:xfrm>
          <a:solidFill>
            <a:schemeClr val="bg1">
              <a:lumMod val="95000"/>
            </a:schemeClr>
          </a:solidFill>
        </p:spPr>
        <p:txBody>
          <a:bodyPr/>
          <a:lstStyle/>
          <a:p>
            <a:r>
              <a:rPr lang="nl-NL"/>
              <a:t>Klik op het pictogram als u een afbeelding wilt toevoegen</a:t>
            </a:r>
            <a:endParaRPr lang="en-GB"/>
          </a:p>
        </p:txBody>
      </p:sp>
      <p:sp>
        <p:nvSpPr>
          <p:cNvPr id="7" name="Tijdelijke aanduiding voor afbeelding 4">
            <a:extLst>
              <a:ext uri="{FF2B5EF4-FFF2-40B4-BE49-F238E27FC236}">
                <a16:creationId xmlns:a16="http://schemas.microsoft.com/office/drawing/2014/main" id="{F73DBFE5-E025-A6FA-F2D4-E88AFAD73F36}"/>
              </a:ext>
            </a:extLst>
          </p:cNvPr>
          <p:cNvSpPr>
            <a:spLocks noGrp="1"/>
          </p:cNvSpPr>
          <p:nvPr>
            <p:ph type="pic" sz="quarter" idx="18"/>
          </p:nvPr>
        </p:nvSpPr>
        <p:spPr>
          <a:xfrm>
            <a:off x="4073139" y="4680284"/>
            <a:ext cx="4030578" cy="2177716"/>
          </a:xfrm>
          <a:solidFill>
            <a:schemeClr val="bg1">
              <a:lumMod val="95000"/>
            </a:schemeClr>
          </a:solidFill>
        </p:spPr>
        <p:txBody>
          <a:bodyPr/>
          <a:lstStyle/>
          <a:p>
            <a:r>
              <a:rPr lang="nl-NL"/>
              <a:t>Klik op het pictogram als u een afbeelding wilt toevoegen</a:t>
            </a:r>
            <a:endParaRPr lang="en-GB"/>
          </a:p>
        </p:txBody>
      </p:sp>
    </p:spTree>
    <p:extLst>
      <p:ext uri="{BB962C8B-B14F-4D97-AF65-F5344CB8AC3E}">
        <p14:creationId xmlns:p14="http://schemas.microsoft.com/office/powerpoint/2010/main" val="16337884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Picture + text_21">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6096000" y="1376364"/>
            <a:ext cx="5545136" cy="493236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1" y="3429000"/>
            <a:ext cx="5816601" cy="3429000"/>
          </a:xfrm>
          <a:solidFill>
            <a:schemeClr val="bg1">
              <a:lumMod val="95000"/>
            </a:schemeClr>
          </a:solidFill>
        </p:spPr>
        <p:txBody>
          <a:bodyPr/>
          <a:lstStyle/>
          <a:p>
            <a:r>
              <a:rPr lang="nl-NL"/>
              <a:t>Klik op het pictogram als u een afbeelding wilt toevoegen</a:t>
            </a:r>
            <a:endParaRPr lang="en-GB"/>
          </a:p>
        </p:txBody>
      </p:sp>
    </p:spTree>
    <p:extLst>
      <p:ext uri="{BB962C8B-B14F-4D97-AF65-F5344CB8AC3E}">
        <p14:creationId xmlns:p14="http://schemas.microsoft.com/office/powerpoint/2010/main" val="15519442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Picture + text_21">
    <p:bg>
      <p:bgPr>
        <a:solidFill>
          <a:schemeClr val="accent2"/>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6096000" y="1376364"/>
            <a:ext cx="5545136" cy="4932360"/>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lvl1pPr>
              <a:defRPr>
                <a:solidFill>
                  <a:schemeClr val="accent4"/>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1" y="3429000"/>
            <a:ext cx="5816601"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Tree>
    <p:extLst>
      <p:ext uri="{BB962C8B-B14F-4D97-AF65-F5344CB8AC3E}">
        <p14:creationId xmlns:p14="http://schemas.microsoft.com/office/powerpoint/2010/main" val="20003779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Picture + text_21">
    <p:bg>
      <p:bgPr>
        <a:solidFill>
          <a:schemeClr val="accent4"/>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6096000" y="1376364"/>
            <a:ext cx="5545136" cy="4932360"/>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a:lstStyle>
            <a:lvl1pPr>
              <a:defRPr>
                <a:solidFill>
                  <a:schemeClr val="bg1"/>
                </a:solidFill>
              </a:defRPr>
            </a:lvl1pPr>
          </a:lstStyle>
          <a:p>
            <a:r>
              <a:rPr lang="nl-NL"/>
              <a:t>CLICK TO EDIT </a:t>
            </a:r>
            <a:endParaRPr lang="en-GB"/>
          </a:p>
        </p:txBody>
      </p:sp>
      <p:sp>
        <p:nvSpPr>
          <p:cNvPr id="5" name="Tijdelijke aanduiding voor afbeelding 4">
            <a:extLst>
              <a:ext uri="{FF2B5EF4-FFF2-40B4-BE49-F238E27FC236}">
                <a16:creationId xmlns:a16="http://schemas.microsoft.com/office/drawing/2014/main" id="{502D97CE-2A15-0FB1-0D26-23FAF621BDDB}"/>
              </a:ext>
            </a:extLst>
          </p:cNvPr>
          <p:cNvSpPr>
            <a:spLocks noGrp="1"/>
          </p:cNvSpPr>
          <p:nvPr>
            <p:ph type="pic" sz="quarter" idx="16"/>
          </p:nvPr>
        </p:nvSpPr>
        <p:spPr>
          <a:xfrm>
            <a:off x="-1" y="3429000"/>
            <a:ext cx="5816601" cy="3429000"/>
          </a:xfrm>
          <a:solidFill>
            <a:schemeClr val="bg1">
              <a:lumMod val="95000"/>
            </a:schemeClr>
          </a:solidFill>
        </p:spPr>
        <p:txBody>
          <a:bodyPr/>
          <a:lstStyle>
            <a:lvl1pPr>
              <a:defRPr>
                <a:solidFill>
                  <a:schemeClr val="bg1"/>
                </a:solidFill>
              </a:defRPr>
            </a:lvl1pPr>
          </a:lstStyle>
          <a:p>
            <a:r>
              <a:rPr lang="nl-NL"/>
              <a:t>Klik op het pictogram als u een afbeelding wilt toevoegen</a:t>
            </a:r>
            <a:endParaRPr lang="en-GB"/>
          </a:p>
        </p:txBody>
      </p:sp>
    </p:spTree>
    <p:extLst>
      <p:ext uri="{BB962C8B-B14F-4D97-AF65-F5344CB8AC3E}">
        <p14:creationId xmlns:p14="http://schemas.microsoft.com/office/powerpoint/2010/main" val="3710378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ankin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09599" y="2244875"/>
            <a:ext cx="2895600" cy="30129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2" name="Picture Placeholder 11"/>
          <p:cNvSpPr>
            <a:spLocks noGrp="1"/>
          </p:cNvSpPr>
          <p:nvPr>
            <p:ph type="pic" sz="quarter" idx="11"/>
          </p:nvPr>
        </p:nvSpPr>
        <p:spPr>
          <a:xfrm>
            <a:off x="3505200" y="2244875"/>
            <a:ext cx="2895600" cy="30129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5" name="Picture Placeholder 14"/>
          <p:cNvSpPr>
            <a:spLocks noGrp="1"/>
          </p:cNvSpPr>
          <p:nvPr>
            <p:ph type="pic" sz="quarter" idx="12"/>
          </p:nvPr>
        </p:nvSpPr>
        <p:spPr>
          <a:xfrm>
            <a:off x="6400800" y="2244876"/>
            <a:ext cx="2895600" cy="30129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18" name="Picture Placeholder 17"/>
          <p:cNvSpPr>
            <a:spLocks noGrp="1"/>
          </p:cNvSpPr>
          <p:nvPr>
            <p:ph type="pic" sz="quarter" idx="13"/>
          </p:nvPr>
        </p:nvSpPr>
        <p:spPr>
          <a:xfrm>
            <a:off x="9296400" y="2244876"/>
            <a:ext cx="2895600" cy="3012924"/>
          </a:xfrm>
          <a:custGeom>
            <a:avLst/>
            <a:gdLst>
              <a:gd name="connsiteX0" fmla="*/ 0 w 4343400"/>
              <a:gd name="connsiteY0" fmla="*/ 0 h 4519386"/>
              <a:gd name="connsiteX1" fmla="*/ 4343400 w 4343400"/>
              <a:gd name="connsiteY1" fmla="*/ 0 h 4519386"/>
              <a:gd name="connsiteX2" fmla="*/ 4343400 w 4343400"/>
              <a:gd name="connsiteY2" fmla="*/ 4519386 h 4519386"/>
              <a:gd name="connsiteX3" fmla="*/ 0 w 4343400"/>
              <a:gd name="connsiteY3" fmla="*/ 4519386 h 4519386"/>
            </a:gdLst>
            <a:ahLst/>
            <a:cxnLst>
              <a:cxn ang="0">
                <a:pos x="connsiteX0" y="connsiteY0"/>
              </a:cxn>
              <a:cxn ang="0">
                <a:pos x="connsiteX1" y="connsiteY1"/>
              </a:cxn>
              <a:cxn ang="0">
                <a:pos x="connsiteX2" y="connsiteY2"/>
              </a:cxn>
              <a:cxn ang="0">
                <a:pos x="connsiteX3" y="connsiteY3"/>
              </a:cxn>
            </a:cxnLst>
            <a:rect l="l" t="t" r="r" b="b"/>
            <a:pathLst>
              <a:path w="4343400" h="4519386">
                <a:moveTo>
                  <a:pt x="0" y="0"/>
                </a:moveTo>
                <a:lnTo>
                  <a:pt x="4343400" y="0"/>
                </a:lnTo>
                <a:lnTo>
                  <a:pt x="4343400" y="4519386"/>
                </a:lnTo>
                <a:lnTo>
                  <a:pt x="0" y="4519386"/>
                </a:lnTo>
                <a:close/>
              </a:path>
            </a:pathLst>
          </a:custGeom>
        </p:spPr>
        <p:txBody>
          <a:bodyPr wrap="square">
            <a:noAutofit/>
          </a:bodyPr>
          <a:lstStyle/>
          <a:p>
            <a:r>
              <a:rPr lang="nl-NL"/>
              <a:t>Klik op het pictogram als u een afbeelding wilt toevoegen</a:t>
            </a:r>
            <a:endParaRPr lang="en-GB"/>
          </a:p>
        </p:txBody>
      </p:sp>
      <p:sp>
        <p:nvSpPr>
          <p:cNvPr id="2" name="Rounded Rectangle 20">
            <a:extLst>
              <a:ext uri="{FF2B5EF4-FFF2-40B4-BE49-F238E27FC236}">
                <a16:creationId xmlns:a16="http://schemas.microsoft.com/office/drawing/2014/main" id="{3A1FD160-8295-6AF8-4806-47AE570D0C62}"/>
              </a:ext>
            </a:extLst>
          </p:cNvPr>
          <p:cNvSpPr>
            <a:spLocks noChangeAspect="1"/>
          </p:cNvSpPr>
          <p:nvPr userDrawn="1"/>
        </p:nvSpPr>
        <p:spPr>
          <a:xfrm rot="18900000">
            <a:off x="764875" y="5035356"/>
            <a:ext cx="464405" cy="464405"/>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p>
        </p:txBody>
      </p:sp>
      <p:sp>
        <p:nvSpPr>
          <p:cNvPr id="3" name="Rounded Rectangle 21">
            <a:extLst>
              <a:ext uri="{FF2B5EF4-FFF2-40B4-BE49-F238E27FC236}">
                <a16:creationId xmlns:a16="http://schemas.microsoft.com/office/drawing/2014/main" id="{700F4134-597E-2E6E-BC91-26C528F1E449}"/>
              </a:ext>
            </a:extLst>
          </p:cNvPr>
          <p:cNvSpPr>
            <a:spLocks noChangeAspect="1"/>
          </p:cNvSpPr>
          <p:nvPr userDrawn="1"/>
        </p:nvSpPr>
        <p:spPr>
          <a:xfrm rot="18900000">
            <a:off x="3736769" y="5035355"/>
            <a:ext cx="464405" cy="464405"/>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p>
        </p:txBody>
      </p:sp>
      <p:sp>
        <p:nvSpPr>
          <p:cNvPr id="4" name="Rounded Rectangle 22">
            <a:extLst>
              <a:ext uri="{FF2B5EF4-FFF2-40B4-BE49-F238E27FC236}">
                <a16:creationId xmlns:a16="http://schemas.microsoft.com/office/drawing/2014/main" id="{A501C9B2-FB45-F3E9-4414-4406253F144D}"/>
              </a:ext>
            </a:extLst>
          </p:cNvPr>
          <p:cNvSpPr>
            <a:spLocks noChangeAspect="1"/>
          </p:cNvSpPr>
          <p:nvPr userDrawn="1"/>
        </p:nvSpPr>
        <p:spPr>
          <a:xfrm rot="18900000">
            <a:off x="6648277" y="5035355"/>
            <a:ext cx="464405" cy="464405"/>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p>
        </p:txBody>
      </p:sp>
      <p:sp>
        <p:nvSpPr>
          <p:cNvPr id="5" name="Rounded Rectangle 23">
            <a:extLst>
              <a:ext uri="{FF2B5EF4-FFF2-40B4-BE49-F238E27FC236}">
                <a16:creationId xmlns:a16="http://schemas.microsoft.com/office/drawing/2014/main" id="{F8E62F18-43CE-1CEE-8CDD-D0FFB8AFF727}"/>
              </a:ext>
            </a:extLst>
          </p:cNvPr>
          <p:cNvSpPr>
            <a:spLocks noChangeAspect="1"/>
          </p:cNvSpPr>
          <p:nvPr userDrawn="1"/>
        </p:nvSpPr>
        <p:spPr>
          <a:xfrm rot="18900000">
            <a:off x="9566266" y="5035355"/>
            <a:ext cx="464405" cy="464405"/>
          </a:xfrm>
          <a:prstGeom prst="roundRect">
            <a:avLst>
              <a:gd name="adj" fmla="val 26789"/>
            </a:avLst>
          </a:prstGeom>
          <a:solidFill>
            <a:schemeClr val="accent1"/>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p>
        </p:txBody>
      </p:sp>
      <p:sp>
        <p:nvSpPr>
          <p:cNvPr id="6" name="TextBox 28">
            <a:extLst>
              <a:ext uri="{FF2B5EF4-FFF2-40B4-BE49-F238E27FC236}">
                <a16:creationId xmlns:a16="http://schemas.microsoft.com/office/drawing/2014/main" id="{B45FA597-EA1E-FDCE-335B-09788AA66529}"/>
              </a:ext>
            </a:extLst>
          </p:cNvPr>
          <p:cNvSpPr txBox="1">
            <a:spLocks noChangeAspect="1"/>
          </p:cNvSpPr>
          <p:nvPr userDrawn="1"/>
        </p:nvSpPr>
        <p:spPr>
          <a:xfrm>
            <a:off x="772261" y="4986067"/>
            <a:ext cx="449633" cy="553998"/>
          </a:xfrm>
          <a:prstGeom prst="rect">
            <a:avLst/>
          </a:prstGeom>
          <a:noFill/>
        </p:spPr>
        <p:txBody>
          <a:bodyPr wrap="square" rtlCol="0">
            <a:spAutoFit/>
          </a:bodyPr>
          <a:lstStyle/>
          <a:p>
            <a:pPr algn="ctr"/>
            <a:r>
              <a:rPr lang="en-US" sz="3000">
                <a:solidFill>
                  <a:schemeClr val="bg1"/>
                </a:solidFill>
                <a:latin typeface="Fave Script Bold Pro" pitchFamily="2" charset="77"/>
                <a:ea typeface="Fira Sans Ultra" panose="020B0A03050000020004" pitchFamily="34" charset="0"/>
              </a:rPr>
              <a:t>1</a:t>
            </a:r>
            <a:endParaRPr lang="en-GB" sz="3000">
              <a:solidFill>
                <a:schemeClr val="bg1"/>
              </a:solidFill>
              <a:latin typeface="Fave Script Bold Pro" pitchFamily="2" charset="77"/>
              <a:ea typeface="Fira Sans Ultra" panose="020B0A03050000020004" pitchFamily="34" charset="0"/>
            </a:endParaRPr>
          </a:p>
        </p:txBody>
      </p:sp>
      <p:sp>
        <p:nvSpPr>
          <p:cNvPr id="7" name="TextBox 29">
            <a:extLst>
              <a:ext uri="{FF2B5EF4-FFF2-40B4-BE49-F238E27FC236}">
                <a16:creationId xmlns:a16="http://schemas.microsoft.com/office/drawing/2014/main" id="{432D2C8A-1615-2B3D-EF9D-C91912DC9D22}"/>
              </a:ext>
            </a:extLst>
          </p:cNvPr>
          <p:cNvSpPr txBox="1">
            <a:spLocks noChangeAspect="1"/>
          </p:cNvSpPr>
          <p:nvPr userDrawn="1"/>
        </p:nvSpPr>
        <p:spPr>
          <a:xfrm>
            <a:off x="3744155" y="4986067"/>
            <a:ext cx="449633" cy="553998"/>
          </a:xfrm>
          <a:prstGeom prst="rect">
            <a:avLst/>
          </a:prstGeom>
          <a:noFill/>
        </p:spPr>
        <p:txBody>
          <a:bodyPr wrap="square" rtlCol="0">
            <a:spAutoFit/>
          </a:bodyPr>
          <a:lstStyle/>
          <a:p>
            <a:pPr algn="ctr"/>
            <a:r>
              <a:rPr lang="en-US" sz="3000">
                <a:solidFill>
                  <a:schemeClr val="bg1"/>
                </a:solidFill>
                <a:latin typeface="Fave Script Bold Pro" pitchFamily="2" charset="77"/>
                <a:ea typeface="Fira Sans Ultra" panose="020B0A03050000020004" pitchFamily="34" charset="0"/>
              </a:rPr>
              <a:t>2</a:t>
            </a:r>
            <a:endParaRPr lang="en-GB" sz="3000">
              <a:solidFill>
                <a:schemeClr val="bg1"/>
              </a:solidFill>
              <a:latin typeface="Fave Script Bold Pro" pitchFamily="2" charset="77"/>
              <a:ea typeface="Fira Sans Ultra" panose="020B0A03050000020004" pitchFamily="34" charset="0"/>
            </a:endParaRPr>
          </a:p>
        </p:txBody>
      </p:sp>
      <p:sp>
        <p:nvSpPr>
          <p:cNvPr id="8" name="TextBox 30">
            <a:extLst>
              <a:ext uri="{FF2B5EF4-FFF2-40B4-BE49-F238E27FC236}">
                <a16:creationId xmlns:a16="http://schemas.microsoft.com/office/drawing/2014/main" id="{0EF30900-97E3-C7FE-ADF2-E56ED640DB5E}"/>
              </a:ext>
            </a:extLst>
          </p:cNvPr>
          <p:cNvSpPr txBox="1">
            <a:spLocks noChangeAspect="1"/>
          </p:cNvSpPr>
          <p:nvPr userDrawn="1"/>
        </p:nvSpPr>
        <p:spPr>
          <a:xfrm>
            <a:off x="6655663" y="4986067"/>
            <a:ext cx="449633" cy="553998"/>
          </a:xfrm>
          <a:prstGeom prst="rect">
            <a:avLst/>
          </a:prstGeom>
          <a:noFill/>
        </p:spPr>
        <p:txBody>
          <a:bodyPr wrap="square" rtlCol="0">
            <a:spAutoFit/>
          </a:bodyPr>
          <a:lstStyle/>
          <a:p>
            <a:pPr algn="ctr"/>
            <a:r>
              <a:rPr lang="en-US" sz="3000">
                <a:solidFill>
                  <a:schemeClr val="bg1"/>
                </a:solidFill>
                <a:latin typeface="Fave Script Bold Pro" pitchFamily="2" charset="77"/>
                <a:ea typeface="Fira Sans Ultra" panose="020B0A03050000020004" pitchFamily="34" charset="0"/>
              </a:rPr>
              <a:t>3</a:t>
            </a:r>
            <a:endParaRPr lang="en-GB" sz="3000">
              <a:solidFill>
                <a:schemeClr val="bg1"/>
              </a:solidFill>
              <a:latin typeface="Fave Script Bold Pro" pitchFamily="2" charset="77"/>
              <a:ea typeface="Fira Sans Ultra" panose="020B0A03050000020004" pitchFamily="34" charset="0"/>
            </a:endParaRPr>
          </a:p>
        </p:txBody>
      </p:sp>
      <p:sp>
        <p:nvSpPr>
          <p:cNvPr id="10" name="TextBox 31">
            <a:extLst>
              <a:ext uri="{FF2B5EF4-FFF2-40B4-BE49-F238E27FC236}">
                <a16:creationId xmlns:a16="http://schemas.microsoft.com/office/drawing/2014/main" id="{DC7ACB47-8F5F-4DA6-4355-B17AB4D2512D}"/>
              </a:ext>
            </a:extLst>
          </p:cNvPr>
          <p:cNvSpPr txBox="1">
            <a:spLocks noChangeAspect="1"/>
          </p:cNvSpPr>
          <p:nvPr userDrawn="1"/>
        </p:nvSpPr>
        <p:spPr>
          <a:xfrm>
            <a:off x="9573652" y="4986067"/>
            <a:ext cx="449633" cy="553998"/>
          </a:xfrm>
          <a:prstGeom prst="rect">
            <a:avLst/>
          </a:prstGeom>
          <a:noFill/>
        </p:spPr>
        <p:txBody>
          <a:bodyPr wrap="square" rtlCol="0">
            <a:spAutoFit/>
          </a:bodyPr>
          <a:lstStyle/>
          <a:p>
            <a:pPr algn="ctr"/>
            <a:r>
              <a:rPr lang="en-US" sz="3000">
                <a:solidFill>
                  <a:schemeClr val="bg1"/>
                </a:solidFill>
                <a:latin typeface="Fave Script Bold Pro" pitchFamily="2" charset="77"/>
                <a:ea typeface="Fira Sans Ultra" panose="020B0A03050000020004" pitchFamily="34" charset="0"/>
              </a:rPr>
              <a:t>4</a:t>
            </a:r>
            <a:endParaRPr lang="en-GB" sz="3000">
              <a:solidFill>
                <a:schemeClr val="bg1"/>
              </a:solidFill>
              <a:latin typeface="Fave Script Bold Pro" pitchFamily="2" charset="77"/>
              <a:ea typeface="Fira Sans Ultra" panose="020B0A03050000020004" pitchFamily="34" charset="0"/>
            </a:endParaRPr>
          </a:p>
        </p:txBody>
      </p:sp>
      <p:sp>
        <p:nvSpPr>
          <p:cNvPr id="13" name="Segnaposto testo 4">
            <a:extLst>
              <a:ext uri="{FF2B5EF4-FFF2-40B4-BE49-F238E27FC236}">
                <a16:creationId xmlns:a16="http://schemas.microsoft.com/office/drawing/2014/main" id="{6A754AEC-B3E9-F7A1-147B-70EBE7C42278}"/>
              </a:ext>
            </a:extLst>
          </p:cNvPr>
          <p:cNvSpPr>
            <a:spLocks noGrp="1"/>
          </p:cNvSpPr>
          <p:nvPr>
            <p:ph type="body" sz="quarter" idx="15" hasCustomPrompt="1"/>
          </p:nvPr>
        </p:nvSpPr>
        <p:spPr>
          <a:xfrm>
            <a:off x="1107155" y="5540065"/>
            <a:ext cx="2294626" cy="5565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1FEF8608-28AD-E341-F508-B8C83D473419}"/>
              </a:ext>
            </a:extLst>
          </p:cNvPr>
          <p:cNvSpPr>
            <a:spLocks noGrp="1"/>
          </p:cNvSpPr>
          <p:nvPr>
            <p:ph type="title" hasCustomPrompt="1"/>
          </p:nvPr>
        </p:nvSpPr>
        <p:spPr>
          <a:xfrm>
            <a:off x="550863" y="549276"/>
            <a:ext cx="10477355" cy="827087"/>
          </a:xfrm>
        </p:spPr>
        <p:txBody>
          <a:bodyPr/>
          <a:lstStyle/>
          <a:p>
            <a:r>
              <a:rPr lang="nl-NL"/>
              <a:t>CLICK TO EDIT </a:t>
            </a:r>
            <a:endParaRPr lang="en-GB"/>
          </a:p>
        </p:txBody>
      </p:sp>
      <p:sp>
        <p:nvSpPr>
          <p:cNvPr id="16" name="Segnaposto testo 4">
            <a:extLst>
              <a:ext uri="{FF2B5EF4-FFF2-40B4-BE49-F238E27FC236}">
                <a16:creationId xmlns:a16="http://schemas.microsoft.com/office/drawing/2014/main" id="{F01142AB-5798-5FAF-EE27-4DB6F3D9CA07}"/>
              </a:ext>
            </a:extLst>
          </p:cNvPr>
          <p:cNvSpPr>
            <a:spLocks noGrp="1"/>
          </p:cNvSpPr>
          <p:nvPr>
            <p:ph type="body" sz="quarter" idx="16" hasCustomPrompt="1"/>
          </p:nvPr>
        </p:nvSpPr>
        <p:spPr>
          <a:xfrm>
            <a:off x="4079049" y="5540065"/>
            <a:ext cx="2294626" cy="5565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7" name="Segnaposto testo 4">
            <a:extLst>
              <a:ext uri="{FF2B5EF4-FFF2-40B4-BE49-F238E27FC236}">
                <a16:creationId xmlns:a16="http://schemas.microsoft.com/office/drawing/2014/main" id="{BED5B14E-911F-E75D-EA46-1D5EEE2046E8}"/>
              </a:ext>
            </a:extLst>
          </p:cNvPr>
          <p:cNvSpPr>
            <a:spLocks noGrp="1"/>
          </p:cNvSpPr>
          <p:nvPr>
            <p:ph type="body" sz="quarter" idx="17" hasCustomPrompt="1"/>
          </p:nvPr>
        </p:nvSpPr>
        <p:spPr>
          <a:xfrm>
            <a:off x="6990557" y="5540065"/>
            <a:ext cx="2294626" cy="5565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19" name="Segnaposto testo 4">
            <a:extLst>
              <a:ext uri="{FF2B5EF4-FFF2-40B4-BE49-F238E27FC236}">
                <a16:creationId xmlns:a16="http://schemas.microsoft.com/office/drawing/2014/main" id="{E55F6F86-323F-2A42-97CF-6802158A4C3E}"/>
              </a:ext>
            </a:extLst>
          </p:cNvPr>
          <p:cNvSpPr>
            <a:spLocks noGrp="1"/>
          </p:cNvSpPr>
          <p:nvPr>
            <p:ph type="body" sz="quarter" idx="18" hasCustomPrompt="1"/>
          </p:nvPr>
        </p:nvSpPr>
        <p:spPr>
          <a:xfrm>
            <a:off x="9880905" y="5540065"/>
            <a:ext cx="2294626" cy="5565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20" name="Slide Number Placeholder 5">
            <a:extLst>
              <a:ext uri="{FF2B5EF4-FFF2-40B4-BE49-F238E27FC236}">
                <a16:creationId xmlns:a16="http://schemas.microsoft.com/office/drawing/2014/main" id="{A1CBF7F4-01C2-68F5-EAA2-6C835824D3CF}"/>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21" name="Segnaposto piè di pagina 7">
            <a:extLst>
              <a:ext uri="{FF2B5EF4-FFF2-40B4-BE49-F238E27FC236}">
                <a16:creationId xmlns:a16="http://schemas.microsoft.com/office/drawing/2014/main" id="{EA144434-01BA-4751-7093-E6593FEC8F65}"/>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35675382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anking_2">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6" name="Segnaposto testo 4">
            <a:extLst>
              <a:ext uri="{FF2B5EF4-FFF2-40B4-BE49-F238E27FC236}">
                <a16:creationId xmlns:a16="http://schemas.microsoft.com/office/drawing/2014/main" id="{1A80F357-970B-B288-3D4F-053C361BC86B}"/>
              </a:ext>
            </a:extLst>
          </p:cNvPr>
          <p:cNvSpPr>
            <a:spLocks noGrp="1"/>
          </p:cNvSpPr>
          <p:nvPr>
            <p:ph type="body" sz="quarter" idx="15" hasCustomPrompt="1"/>
          </p:nvPr>
        </p:nvSpPr>
        <p:spPr>
          <a:xfrm>
            <a:off x="569094" y="3228975"/>
            <a:ext cx="3288532" cy="2923543"/>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3" y="549276"/>
            <a:ext cx="6550025" cy="827087"/>
          </a:xfrm>
        </p:spPr>
        <p:txBody>
          <a:bodyPr/>
          <a:lstStyle/>
          <a:p>
            <a:r>
              <a:rPr lang="nl-NL"/>
              <a:t>CLICK TO EDIT </a:t>
            </a:r>
            <a:endParaRPr lang="en-GB"/>
          </a:p>
        </p:txBody>
      </p:sp>
      <p:grpSp>
        <p:nvGrpSpPr>
          <p:cNvPr id="21" name="Groep 20">
            <a:extLst>
              <a:ext uri="{FF2B5EF4-FFF2-40B4-BE49-F238E27FC236}">
                <a16:creationId xmlns:a16="http://schemas.microsoft.com/office/drawing/2014/main" id="{F8A6A801-7867-AF2E-3277-F15B021E0295}"/>
              </a:ext>
            </a:extLst>
          </p:cNvPr>
          <p:cNvGrpSpPr>
            <a:grpSpLocks noChangeAspect="1"/>
          </p:cNvGrpSpPr>
          <p:nvPr userDrawn="1"/>
        </p:nvGrpSpPr>
        <p:grpSpPr>
          <a:xfrm>
            <a:off x="4286250" y="549275"/>
            <a:ext cx="7336655" cy="5601113"/>
            <a:chOff x="6386290" y="1358198"/>
            <a:chExt cx="10943767" cy="7626145"/>
          </a:xfrm>
        </p:grpSpPr>
        <p:sp>
          <p:nvSpPr>
            <p:cNvPr id="2" name="Rectangle 16">
              <a:extLst>
                <a:ext uri="{FF2B5EF4-FFF2-40B4-BE49-F238E27FC236}">
                  <a16:creationId xmlns:a16="http://schemas.microsoft.com/office/drawing/2014/main" id="{95C4E335-ABF6-2915-1892-54FE65034ED9}"/>
                </a:ext>
              </a:extLst>
            </p:cNvPr>
            <p:cNvSpPr/>
            <p:nvPr userDrawn="1"/>
          </p:nvSpPr>
          <p:spPr>
            <a:xfrm>
              <a:off x="6386290" y="4426857"/>
              <a:ext cx="3428103" cy="45574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17">
              <a:extLst>
                <a:ext uri="{FF2B5EF4-FFF2-40B4-BE49-F238E27FC236}">
                  <a16:creationId xmlns:a16="http://schemas.microsoft.com/office/drawing/2014/main" id="{6F7D3F38-3279-0E16-6BEC-BBA0FDB6E6F5}"/>
                </a:ext>
              </a:extLst>
            </p:cNvPr>
            <p:cNvSpPr/>
            <p:nvPr userDrawn="1"/>
          </p:nvSpPr>
          <p:spPr>
            <a:xfrm>
              <a:off x="10144122" y="3526971"/>
              <a:ext cx="3428103" cy="545737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18">
              <a:extLst>
                <a:ext uri="{FF2B5EF4-FFF2-40B4-BE49-F238E27FC236}">
                  <a16:creationId xmlns:a16="http://schemas.microsoft.com/office/drawing/2014/main" id="{4B0F2161-396D-652C-D40C-E52A2EB570B3}"/>
                </a:ext>
              </a:extLst>
            </p:cNvPr>
            <p:cNvSpPr/>
            <p:nvPr userDrawn="1"/>
          </p:nvSpPr>
          <p:spPr>
            <a:xfrm>
              <a:off x="13901954" y="2423885"/>
              <a:ext cx="3428103" cy="656045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reeform 20">
              <a:extLst>
                <a:ext uri="{FF2B5EF4-FFF2-40B4-BE49-F238E27FC236}">
                  <a16:creationId xmlns:a16="http://schemas.microsoft.com/office/drawing/2014/main" id="{27FA60E8-62EF-D055-8276-0CC268CABFBF}"/>
                </a:ext>
              </a:extLst>
            </p:cNvPr>
            <p:cNvSpPr/>
            <p:nvPr userDrawn="1"/>
          </p:nvSpPr>
          <p:spPr>
            <a:xfrm>
              <a:off x="7382739" y="3361170"/>
              <a:ext cx="1610989" cy="147046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reeform 21">
              <a:extLst>
                <a:ext uri="{FF2B5EF4-FFF2-40B4-BE49-F238E27FC236}">
                  <a16:creationId xmlns:a16="http://schemas.microsoft.com/office/drawing/2014/main" id="{2CC383C2-6F79-0AA1-FAE0-9D58AF77E42F}"/>
                </a:ext>
              </a:extLst>
            </p:cNvPr>
            <p:cNvSpPr/>
            <p:nvPr userDrawn="1"/>
          </p:nvSpPr>
          <p:spPr>
            <a:xfrm>
              <a:off x="11097280" y="2493703"/>
              <a:ext cx="1610989" cy="147046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22">
              <a:extLst>
                <a:ext uri="{FF2B5EF4-FFF2-40B4-BE49-F238E27FC236}">
                  <a16:creationId xmlns:a16="http://schemas.microsoft.com/office/drawing/2014/main" id="{42AF3AF7-2383-4D22-11BB-09319314BF26}"/>
                </a:ext>
              </a:extLst>
            </p:cNvPr>
            <p:cNvSpPr/>
            <p:nvPr userDrawn="1"/>
          </p:nvSpPr>
          <p:spPr>
            <a:xfrm>
              <a:off x="14855113" y="1358198"/>
              <a:ext cx="1610989" cy="1470464"/>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jdelijke aanduiding voor tekst 22">
            <a:extLst>
              <a:ext uri="{FF2B5EF4-FFF2-40B4-BE49-F238E27FC236}">
                <a16:creationId xmlns:a16="http://schemas.microsoft.com/office/drawing/2014/main" id="{56EB96C7-03FC-C3DF-9529-C8C0DF3D9B5D}"/>
              </a:ext>
            </a:extLst>
          </p:cNvPr>
          <p:cNvSpPr>
            <a:spLocks noGrp="1"/>
          </p:cNvSpPr>
          <p:nvPr>
            <p:ph type="body" sz="quarter" idx="16" hasCustomPrompt="1"/>
          </p:nvPr>
        </p:nvSpPr>
        <p:spPr>
          <a:xfrm>
            <a:off x="5242109" y="2325432"/>
            <a:ext cx="504311" cy="469900"/>
          </a:xfrm>
        </p:spPr>
        <p:txBody>
          <a:bodyPr numCol="1" anchor="ctr">
            <a:noAutofit/>
          </a:bodyPr>
          <a:lstStyle>
            <a:lvl1pPr algn="ctr">
              <a:lnSpc>
                <a:spcPct val="100000"/>
              </a:lnSpc>
              <a:defRPr sz="3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24" name="Tijdelijke aanduiding voor tekst 22">
            <a:extLst>
              <a:ext uri="{FF2B5EF4-FFF2-40B4-BE49-F238E27FC236}">
                <a16:creationId xmlns:a16="http://schemas.microsoft.com/office/drawing/2014/main" id="{5C4F2B87-A2BC-5C18-4193-2B9CD99DF2A2}"/>
              </a:ext>
            </a:extLst>
          </p:cNvPr>
          <p:cNvSpPr>
            <a:spLocks noGrp="1"/>
          </p:cNvSpPr>
          <p:nvPr>
            <p:ph type="body" sz="quarter" idx="17" hasCustomPrompt="1"/>
          </p:nvPr>
        </p:nvSpPr>
        <p:spPr>
          <a:xfrm>
            <a:off x="7732322" y="1688310"/>
            <a:ext cx="504311" cy="469900"/>
          </a:xfrm>
        </p:spPr>
        <p:txBody>
          <a:bodyPr anchor="ctr">
            <a:noAutofit/>
          </a:bodyPr>
          <a:lstStyle>
            <a:lvl1pPr algn="ctr">
              <a:defRPr sz="3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25" name="Tijdelijke aanduiding voor tekst 22">
            <a:extLst>
              <a:ext uri="{FF2B5EF4-FFF2-40B4-BE49-F238E27FC236}">
                <a16:creationId xmlns:a16="http://schemas.microsoft.com/office/drawing/2014/main" id="{EC49F097-B1A7-238D-C703-7C102E28F0AA}"/>
              </a:ext>
            </a:extLst>
          </p:cNvPr>
          <p:cNvSpPr>
            <a:spLocks noGrp="1"/>
          </p:cNvSpPr>
          <p:nvPr>
            <p:ph type="body" sz="quarter" idx="18" hasCustomPrompt="1"/>
          </p:nvPr>
        </p:nvSpPr>
        <p:spPr>
          <a:xfrm>
            <a:off x="10251557" y="854325"/>
            <a:ext cx="504311" cy="469900"/>
          </a:xfrm>
        </p:spPr>
        <p:txBody>
          <a:bodyPr anchor="ctr">
            <a:noAutofit/>
          </a:bodyPr>
          <a:lstStyle>
            <a:lvl1pPr algn="ctr">
              <a:defRPr sz="3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27" name="Tijdelijke aanduiding voor tekst 26">
            <a:extLst>
              <a:ext uri="{FF2B5EF4-FFF2-40B4-BE49-F238E27FC236}">
                <a16:creationId xmlns:a16="http://schemas.microsoft.com/office/drawing/2014/main" id="{3FE8EF48-204A-F015-D368-2B927261650E}"/>
              </a:ext>
            </a:extLst>
          </p:cNvPr>
          <p:cNvSpPr>
            <a:spLocks noGrp="1"/>
          </p:cNvSpPr>
          <p:nvPr>
            <p:ph type="body" sz="quarter" idx="19" hasCustomPrompt="1"/>
          </p:nvPr>
        </p:nvSpPr>
        <p:spPr>
          <a:xfrm>
            <a:off x="4380715" y="4009409"/>
            <a:ext cx="2077235" cy="2019916"/>
          </a:xfrm>
        </p:spPr>
        <p:txBody>
          <a:bodyPr numCol="1"/>
          <a:lstStyle>
            <a:lvl1pPr>
              <a:lnSpc>
                <a:spcPct val="100000"/>
              </a:lnSpc>
              <a:defRPr>
                <a:solidFill>
                  <a:schemeClr val="bg1"/>
                </a:solidFill>
              </a:defRPr>
            </a:lvl1pPr>
          </a:lstStyle>
          <a:p>
            <a:pPr lvl="0"/>
            <a:r>
              <a:rPr lang="en-GB"/>
              <a:t>Your text here</a:t>
            </a:r>
          </a:p>
        </p:txBody>
      </p:sp>
      <p:sp>
        <p:nvSpPr>
          <p:cNvPr id="28" name="Tijdelijke aanduiding voor tekst 26">
            <a:extLst>
              <a:ext uri="{FF2B5EF4-FFF2-40B4-BE49-F238E27FC236}">
                <a16:creationId xmlns:a16="http://schemas.microsoft.com/office/drawing/2014/main" id="{EF25E531-8AFA-076D-E358-C98D321D239F}"/>
              </a:ext>
            </a:extLst>
          </p:cNvPr>
          <p:cNvSpPr>
            <a:spLocks noGrp="1"/>
          </p:cNvSpPr>
          <p:nvPr>
            <p:ph type="body" sz="quarter" idx="20" hasCustomPrompt="1"/>
          </p:nvPr>
        </p:nvSpPr>
        <p:spPr>
          <a:xfrm>
            <a:off x="6945859" y="3429000"/>
            <a:ext cx="2077235" cy="2600325"/>
          </a:xfrm>
        </p:spPr>
        <p:txBody>
          <a:bodyPr numCol="1"/>
          <a:lstStyle>
            <a:lvl1pPr>
              <a:lnSpc>
                <a:spcPct val="100000"/>
              </a:lnSpc>
              <a:defRPr>
                <a:solidFill>
                  <a:schemeClr val="bg1"/>
                </a:solidFill>
              </a:defRPr>
            </a:lvl1pPr>
          </a:lstStyle>
          <a:p>
            <a:pPr lvl="0"/>
            <a:r>
              <a:rPr lang="en-GB"/>
              <a:t>Your text here</a:t>
            </a:r>
          </a:p>
        </p:txBody>
      </p:sp>
      <p:sp>
        <p:nvSpPr>
          <p:cNvPr id="29" name="Tijdelijke aanduiding voor tekst 26">
            <a:extLst>
              <a:ext uri="{FF2B5EF4-FFF2-40B4-BE49-F238E27FC236}">
                <a16:creationId xmlns:a16="http://schemas.microsoft.com/office/drawing/2014/main" id="{6C60736B-CA1F-4358-F1E7-D77650768689}"/>
              </a:ext>
            </a:extLst>
          </p:cNvPr>
          <p:cNvSpPr>
            <a:spLocks noGrp="1"/>
          </p:cNvSpPr>
          <p:nvPr>
            <p:ph type="body" sz="quarter" idx="21" hasCustomPrompt="1"/>
          </p:nvPr>
        </p:nvSpPr>
        <p:spPr>
          <a:xfrm>
            <a:off x="9435194" y="2513414"/>
            <a:ext cx="2077235" cy="3515911"/>
          </a:xfrm>
        </p:spPr>
        <p:txBody>
          <a:bodyPr numCol="1"/>
          <a:lstStyle>
            <a:lvl1pPr>
              <a:lnSpc>
                <a:spcPct val="100000"/>
              </a:lnSpc>
              <a:defRPr>
                <a:solidFill>
                  <a:schemeClr val="bg1"/>
                </a:solidFill>
              </a:defRPr>
            </a:lvl1pPr>
          </a:lstStyle>
          <a:p>
            <a:pPr lvl="0"/>
            <a:r>
              <a:rPr lang="en-GB"/>
              <a:t>Your text here</a:t>
            </a:r>
          </a:p>
        </p:txBody>
      </p:sp>
      <p:sp>
        <p:nvSpPr>
          <p:cNvPr id="31" name="Tijdelijke aanduiding voor tekst 26">
            <a:extLst>
              <a:ext uri="{FF2B5EF4-FFF2-40B4-BE49-F238E27FC236}">
                <a16:creationId xmlns:a16="http://schemas.microsoft.com/office/drawing/2014/main" id="{30AC2DE5-1002-2844-F3A4-BB354043DF31}"/>
              </a:ext>
            </a:extLst>
          </p:cNvPr>
          <p:cNvSpPr>
            <a:spLocks noGrp="1"/>
          </p:cNvSpPr>
          <p:nvPr>
            <p:ph type="body" sz="quarter" idx="23" hasCustomPrompt="1"/>
          </p:nvPr>
        </p:nvSpPr>
        <p:spPr>
          <a:xfrm>
            <a:off x="6915960" y="2825568"/>
            <a:ext cx="2077235" cy="298382"/>
          </a:xfrm>
        </p:spPr>
        <p:txBody>
          <a:bodyPr numCol="1" anchor="ctr">
            <a:normAutofit/>
          </a:bodyPr>
          <a:lstStyle>
            <a:lvl1pPr algn="ctr">
              <a:lnSpc>
                <a:spcPct val="100000"/>
              </a:lnSpc>
              <a:defRPr sz="2000" b="1">
                <a:solidFill>
                  <a:schemeClr val="bg1"/>
                </a:solidFill>
                <a:latin typeface="Prometo" panose="020B0604030203060203" pitchFamily="34" charset="77"/>
              </a:defRPr>
            </a:lvl1pPr>
          </a:lstStyle>
          <a:p>
            <a:pPr lvl="0"/>
            <a:r>
              <a:rPr lang="en-GB"/>
              <a:t>YOUR TEXT</a:t>
            </a:r>
          </a:p>
        </p:txBody>
      </p:sp>
      <p:sp>
        <p:nvSpPr>
          <p:cNvPr id="32" name="Tijdelijke aanduiding voor tekst 26">
            <a:extLst>
              <a:ext uri="{FF2B5EF4-FFF2-40B4-BE49-F238E27FC236}">
                <a16:creationId xmlns:a16="http://schemas.microsoft.com/office/drawing/2014/main" id="{A877C15C-FB7E-41D4-8B20-38EB0B0E2EBA}"/>
              </a:ext>
            </a:extLst>
          </p:cNvPr>
          <p:cNvSpPr>
            <a:spLocks noGrp="1"/>
          </p:cNvSpPr>
          <p:nvPr>
            <p:ph type="body" sz="quarter" idx="24" hasCustomPrompt="1"/>
          </p:nvPr>
        </p:nvSpPr>
        <p:spPr>
          <a:xfrm>
            <a:off x="9465094" y="1934325"/>
            <a:ext cx="2077235" cy="298382"/>
          </a:xfrm>
        </p:spPr>
        <p:txBody>
          <a:bodyPr numCol="1" anchor="ctr">
            <a:normAutofit/>
          </a:bodyPr>
          <a:lstStyle>
            <a:lvl1pPr algn="ctr">
              <a:lnSpc>
                <a:spcPct val="100000"/>
              </a:lnSpc>
              <a:defRPr sz="2000" b="1">
                <a:solidFill>
                  <a:schemeClr val="bg1"/>
                </a:solidFill>
                <a:latin typeface="Prometo" panose="020B0604030203060203" pitchFamily="34" charset="77"/>
              </a:defRPr>
            </a:lvl1pPr>
          </a:lstStyle>
          <a:p>
            <a:pPr lvl="0"/>
            <a:r>
              <a:rPr lang="en-GB"/>
              <a:t>YOUR TEXT</a:t>
            </a:r>
          </a:p>
        </p:txBody>
      </p:sp>
      <p:sp>
        <p:nvSpPr>
          <p:cNvPr id="33" name="Tijdelijke aanduiding voor tekst 26">
            <a:extLst>
              <a:ext uri="{FF2B5EF4-FFF2-40B4-BE49-F238E27FC236}">
                <a16:creationId xmlns:a16="http://schemas.microsoft.com/office/drawing/2014/main" id="{BD1A2112-1007-9D29-310C-CED73DB00A55}"/>
              </a:ext>
            </a:extLst>
          </p:cNvPr>
          <p:cNvSpPr>
            <a:spLocks noGrp="1"/>
          </p:cNvSpPr>
          <p:nvPr>
            <p:ph type="body" sz="quarter" idx="22" hasCustomPrompt="1"/>
          </p:nvPr>
        </p:nvSpPr>
        <p:spPr>
          <a:xfrm>
            <a:off x="4369892" y="3446020"/>
            <a:ext cx="2077235" cy="298382"/>
          </a:xfrm>
        </p:spPr>
        <p:txBody>
          <a:bodyPr numCol="1" anchor="ctr">
            <a:normAutofit/>
          </a:bodyPr>
          <a:lstStyle>
            <a:lvl1pPr algn="ctr">
              <a:lnSpc>
                <a:spcPct val="100000"/>
              </a:lnSpc>
              <a:defRPr sz="2000" b="1">
                <a:solidFill>
                  <a:schemeClr val="bg1"/>
                </a:solidFill>
                <a:latin typeface="Prometo" panose="020B0604030203060203" pitchFamily="34" charset="77"/>
              </a:defRPr>
            </a:lvl1pPr>
          </a:lstStyle>
          <a:p>
            <a:pPr lvl="0"/>
            <a:r>
              <a:rPr lang="en-GB"/>
              <a:t>YOUR TEXT</a:t>
            </a:r>
          </a:p>
        </p:txBody>
      </p:sp>
    </p:spTree>
    <p:extLst>
      <p:ext uri="{BB962C8B-B14F-4D97-AF65-F5344CB8AC3E}">
        <p14:creationId xmlns:p14="http://schemas.microsoft.com/office/powerpoint/2010/main" val="4273468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slide_2">
    <p:spTree>
      <p:nvGrpSpPr>
        <p:cNvPr id="1" name=""/>
        <p:cNvGrpSpPr/>
        <p:nvPr/>
      </p:nvGrpSpPr>
      <p:grpSpPr>
        <a:xfrm>
          <a:off x="0" y="0"/>
          <a:ext cx="0" cy="0"/>
          <a:chOff x="0" y="0"/>
          <a:chExt cx="0" cy="0"/>
        </a:xfrm>
      </p:grpSpPr>
      <p:pic>
        <p:nvPicPr>
          <p:cNvPr id="5" name="Afbeelding 4" descr="Afbeelding met persoon, kleding, Menselijk gezicht, buitenshuis&#10;&#10;Door AI gegenereerde inhoud is mogelijk onjuist.">
            <a:extLst>
              <a:ext uri="{FF2B5EF4-FFF2-40B4-BE49-F238E27FC236}">
                <a16:creationId xmlns:a16="http://schemas.microsoft.com/office/drawing/2014/main" id="{B2980010-D54C-393B-B3FC-29D14B94745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1"/>
            <a:ext cx="12192000" cy="6858001"/>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5533579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rtphone mockup">
    <p:spTree>
      <p:nvGrpSpPr>
        <p:cNvPr id="1" name=""/>
        <p:cNvGrpSpPr/>
        <p:nvPr/>
      </p:nvGrpSpPr>
      <p:grpSpPr>
        <a:xfrm>
          <a:off x="0" y="0"/>
          <a:ext cx="0" cy="0"/>
          <a:chOff x="0" y="0"/>
          <a:chExt cx="0" cy="0"/>
        </a:xfrm>
      </p:grpSpPr>
      <p:pic>
        <p:nvPicPr>
          <p:cNvPr id="5" name="Picture 17">
            <a:extLst>
              <a:ext uri="{FF2B5EF4-FFF2-40B4-BE49-F238E27FC236}">
                <a16:creationId xmlns:a16="http://schemas.microsoft.com/office/drawing/2014/main" id="{8AE363D4-2A7A-3DA2-E3B7-7AC91D6144C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35830" y="1054938"/>
            <a:ext cx="2922533" cy="5365544"/>
          </a:xfrm>
          <a:prstGeom prst="rect">
            <a:avLst/>
          </a:prstGeom>
          <a:effectLst>
            <a:reflection stA="36000" endPos="7000" dir="5400000" sy="-100000" algn="bl" rotWithShape="0"/>
          </a:effectLst>
        </p:spPr>
      </p:pic>
      <p:sp>
        <p:nvSpPr>
          <p:cNvPr id="4" name="Picture Placeholder 3"/>
          <p:cNvSpPr>
            <a:spLocks noGrp="1"/>
          </p:cNvSpPr>
          <p:nvPr>
            <p:ph type="pic" sz="quarter" idx="10"/>
          </p:nvPr>
        </p:nvSpPr>
        <p:spPr>
          <a:xfrm>
            <a:off x="7281797" y="1995814"/>
            <a:ext cx="2087672" cy="3674301"/>
          </a:xfrm>
          <a:solidFill>
            <a:schemeClr val="accent1">
              <a:lumMod val="20000"/>
              <a:lumOff val="80000"/>
            </a:schemeClr>
          </a:solidFill>
        </p:spPr>
        <p:txBody>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64AA2FF4-B866-9402-3F4B-C80B41695410}"/>
              </a:ext>
            </a:extLst>
          </p:cNvPr>
          <p:cNvSpPr>
            <a:spLocks noGrp="1"/>
          </p:cNvSpPr>
          <p:nvPr>
            <p:ph type="body" sz="quarter" idx="15" hasCustomPrompt="1"/>
          </p:nvPr>
        </p:nvSpPr>
        <p:spPr>
          <a:xfrm>
            <a:off x="1113606" y="3057525"/>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3" name="Titel 13">
            <a:extLst>
              <a:ext uri="{FF2B5EF4-FFF2-40B4-BE49-F238E27FC236}">
                <a16:creationId xmlns:a16="http://schemas.microsoft.com/office/drawing/2014/main" id="{0C43D491-6072-A986-3B7C-F631D591F78D}"/>
              </a:ext>
            </a:extLst>
          </p:cNvPr>
          <p:cNvSpPr>
            <a:spLocks noGrp="1"/>
          </p:cNvSpPr>
          <p:nvPr>
            <p:ph type="title" hasCustomPrompt="1"/>
          </p:nvPr>
        </p:nvSpPr>
        <p:spPr>
          <a:xfrm>
            <a:off x="550863" y="549276"/>
            <a:ext cx="4378325" cy="827087"/>
          </a:xfrm>
        </p:spPr>
        <p:txBody>
          <a:bodyPr/>
          <a:lstStyle/>
          <a:p>
            <a:r>
              <a:rPr lang="nl-NL"/>
              <a:t>CLICK TO EDIT </a:t>
            </a:r>
            <a:endParaRPr lang="en-GB"/>
          </a:p>
        </p:txBody>
      </p:sp>
      <p:sp>
        <p:nvSpPr>
          <p:cNvPr id="6" name="Slide Number Placeholder 5">
            <a:extLst>
              <a:ext uri="{FF2B5EF4-FFF2-40B4-BE49-F238E27FC236}">
                <a16:creationId xmlns:a16="http://schemas.microsoft.com/office/drawing/2014/main" id="{909E3A3F-C9C4-A6F5-084A-F6E2E41E5F26}"/>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D561DE1D-E31E-3261-63D6-FBE7A8B2D0E0}"/>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8" name="Freeform 23">
            <a:extLst>
              <a:ext uri="{FF2B5EF4-FFF2-40B4-BE49-F238E27FC236}">
                <a16:creationId xmlns:a16="http://schemas.microsoft.com/office/drawing/2014/main" id="{4DD5EB9F-7BB3-03AA-700F-8E7D436B06CD}"/>
              </a:ext>
            </a:extLst>
          </p:cNvPr>
          <p:cNvSpPr>
            <a:spLocks noChangeAspect="1" noChangeArrowheads="1"/>
          </p:cNvSpPr>
          <p:nvPr userDrawn="1"/>
        </p:nvSpPr>
        <p:spPr bwMode="auto">
          <a:xfrm>
            <a:off x="553085" y="3164681"/>
            <a:ext cx="371475" cy="371475"/>
          </a:xfrm>
          <a:custGeom>
            <a:avLst/>
            <a:gdLst>
              <a:gd name="T0" fmla="*/ 414 w 829"/>
              <a:gd name="T1" fmla="*/ 0 h 829"/>
              <a:gd name="T2" fmla="*/ 414 w 829"/>
              <a:gd name="T3" fmla="*/ 0 h 829"/>
              <a:gd name="T4" fmla="*/ 0 w 829"/>
              <a:gd name="T5" fmla="*/ 414 h 829"/>
              <a:gd name="T6" fmla="*/ 414 w 829"/>
              <a:gd name="T7" fmla="*/ 828 h 829"/>
              <a:gd name="T8" fmla="*/ 828 w 829"/>
              <a:gd name="T9" fmla="*/ 414 h 829"/>
              <a:gd name="T10" fmla="*/ 414 w 829"/>
              <a:gd name="T11" fmla="*/ 0 h 829"/>
              <a:gd name="T12" fmla="*/ 414 w 829"/>
              <a:gd name="T13" fmla="*/ 38 h 829"/>
              <a:gd name="T14" fmla="*/ 414 w 829"/>
              <a:gd name="T15" fmla="*/ 38 h 829"/>
              <a:gd name="T16" fmla="*/ 668 w 829"/>
              <a:gd name="T17" fmla="*/ 136 h 829"/>
              <a:gd name="T18" fmla="*/ 574 w 829"/>
              <a:gd name="T19" fmla="*/ 231 h 829"/>
              <a:gd name="T20" fmla="*/ 414 w 829"/>
              <a:gd name="T21" fmla="*/ 169 h 829"/>
              <a:gd name="T22" fmla="*/ 254 w 829"/>
              <a:gd name="T23" fmla="*/ 231 h 829"/>
              <a:gd name="T24" fmla="*/ 160 w 829"/>
              <a:gd name="T25" fmla="*/ 136 h 829"/>
              <a:gd name="T26" fmla="*/ 414 w 829"/>
              <a:gd name="T27" fmla="*/ 38 h 829"/>
              <a:gd name="T28" fmla="*/ 621 w 829"/>
              <a:gd name="T29" fmla="*/ 414 h 829"/>
              <a:gd name="T30" fmla="*/ 621 w 829"/>
              <a:gd name="T31" fmla="*/ 414 h 829"/>
              <a:gd name="T32" fmla="*/ 414 w 829"/>
              <a:gd name="T33" fmla="*/ 621 h 829"/>
              <a:gd name="T34" fmla="*/ 207 w 829"/>
              <a:gd name="T35" fmla="*/ 414 h 829"/>
              <a:gd name="T36" fmla="*/ 414 w 829"/>
              <a:gd name="T37" fmla="*/ 207 h 829"/>
              <a:gd name="T38" fmla="*/ 621 w 829"/>
              <a:gd name="T39" fmla="*/ 414 h 829"/>
              <a:gd name="T40" fmla="*/ 38 w 829"/>
              <a:gd name="T41" fmla="*/ 414 h 829"/>
              <a:gd name="T42" fmla="*/ 38 w 829"/>
              <a:gd name="T43" fmla="*/ 414 h 829"/>
              <a:gd name="T44" fmla="*/ 136 w 829"/>
              <a:gd name="T45" fmla="*/ 160 h 829"/>
              <a:gd name="T46" fmla="*/ 230 w 829"/>
              <a:gd name="T47" fmla="*/ 254 h 829"/>
              <a:gd name="T48" fmla="*/ 169 w 829"/>
              <a:gd name="T49" fmla="*/ 414 h 829"/>
              <a:gd name="T50" fmla="*/ 230 w 829"/>
              <a:gd name="T51" fmla="*/ 574 h 829"/>
              <a:gd name="T52" fmla="*/ 136 w 829"/>
              <a:gd name="T53" fmla="*/ 668 h 829"/>
              <a:gd name="T54" fmla="*/ 38 w 829"/>
              <a:gd name="T55" fmla="*/ 414 h 829"/>
              <a:gd name="T56" fmla="*/ 414 w 829"/>
              <a:gd name="T57" fmla="*/ 790 h 829"/>
              <a:gd name="T58" fmla="*/ 414 w 829"/>
              <a:gd name="T59" fmla="*/ 790 h 829"/>
              <a:gd name="T60" fmla="*/ 160 w 829"/>
              <a:gd name="T61" fmla="*/ 692 h 829"/>
              <a:gd name="T62" fmla="*/ 254 w 829"/>
              <a:gd name="T63" fmla="*/ 597 h 829"/>
              <a:gd name="T64" fmla="*/ 414 w 829"/>
              <a:gd name="T65" fmla="*/ 659 h 829"/>
              <a:gd name="T66" fmla="*/ 574 w 829"/>
              <a:gd name="T67" fmla="*/ 597 h 829"/>
              <a:gd name="T68" fmla="*/ 668 w 829"/>
              <a:gd name="T69" fmla="*/ 692 h 829"/>
              <a:gd name="T70" fmla="*/ 414 w 829"/>
              <a:gd name="T71" fmla="*/ 790 h 829"/>
              <a:gd name="T72" fmla="*/ 691 w 829"/>
              <a:gd name="T73" fmla="*/ 668 h 829"/>
              <a:gd name="T74" fmla="*/ 691 w 829"/>
              <a:gd name="T75" fmla="*/ 668 h 829"/>
              <a:gd name="T76" fmla="*/ 598 w 829"/>
              <a:gd name="T77" fmla="*/ 574 h 829"/>
              <a:gd name="T78" fmla="*/ 658 w 829"/>
              <a:gd name="T79" fmla="*/ 414 h 829"/>
              <a:gd name="T80" fmla="*/ 598 w 829"/>
              <a:gd name="T81" fmla="*/ 254 h 829"/>
              <a:gd name="T82" fmla="*/ 691 w 829"/>
              <a:gd name="T83" fmla="*/ 160 h 829"/>
              <a:gd name="T84" fmla="*/ 790 w 829"/>
              <a:gd name="T85" fmla="*/ 414 h 829"/>
              <a:gd name="T86" fmla="*/ 691 w 829"/>
              <a:gd name="T87" fmla="*/ 6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9" h="829">
                <a:moveTo>
                  <a:pt x="414" y="0"/>
                </a:moveTo>
                <a:lnTo>
                  <a:pt x="414" y="0"/>
                </a:lnTo>
                <a:cubicBezTo>
                  <a:pt x="183" y="0"/>
                  <a:pt x="0" y="184"/>
                  <a:pt x="0" y="414"/>
                </a:cubicBezTo>
                <a:cubicBezTo>
                  <a:pt x="0" y="644"/>
                  <a:pt x="183" y="828"/>
                  <a:pt x="414" y="828"/>
                </a:cubicBezTo>
                <a:cubicBezTo>
                  <a:pt x="644" y="828"/>
                  <a:pt x="828" y="644"/>
                  <a:pt x="828" y="414"/>
                </a:cubicBezTo>
                <a:cubicBezTo>
                  <a:pt x="828" y="184"/>
                  <a:pt x="644" y="0"/>
                  <a:pt x="414" y="0"/>
                </a:cubicBezTo>
                <a:close/>
                <a:moveTo>
                  <a:pt x="414" y="38"/>
                </a:moveTo>
                <a:lnTo>
                  <a:pt x="414" y="38"/>
                </a:lnTo>
                <a:cubicBezTo>
                  <a:pt x="513" y="38"/>
                  <a:pt x="598" y="75"/>
                  <a:pt x="668" y="136"/>
                </a:cubicBezTo>
                <a:cubicBezTo>
                  <a:pt x="574" y="231"/>
                  <a:pt x="605" y="199"/>
                  <a:pt x="574" y="231"/>
                </a:cubicBezTo>
                <a:cubicBezTo>
                  <a:pt x="532" y="193"/>
                  <a:pt x="475" y="169"/>
                  <a:pt x="414" y="169"/>
                </a:cubicBezTo>
                <a:cubicBezTo>
                  <a:pt x="353" y="169"/>
                  <a:pt x="296" y="193"/>
                  <a:pt x="254" y="231"/>
                </a:cubicBezTo>
                <a:cubicBezTo>
                  <a:pt x="160" y="136"/>
                  <a:pt x="191" y="167"/>
                  <a:pt x="160" y="136"/>
                </a:cubicBezTo>
                <a:cubicBezTo>
                  <a:pt x="230" y="75"/>
                  <a:pt x="315" y="38"/>
                  <a:pt x="414" y="38"/>
                </a:cubicBezTo>
                <a:close/>
                <a:moveTo>
                  <a:pt x="621" y="414"/>
                </a:moveTo>
                <a:lnTo>
                  <a:pt x="621" y="414"/>
                </a:lnTo>
                <a:cubicBezTo>
                  <a:pt x="621" y="527"/>
                  <a:pt x="527" y="621"/>
                  <a:pt x="414" y="621"/>
                </a:cubicBezTo>
                <a:cubicBezTo>
                  <a:pt x="301" y="621"/>
                  <a:pt x="207" y="527"/>
                  <a:pt x="207" y="414"/>
                </a:cubicBezTo>
                <a:cubicBezTo>
                  <a:pt x="207" y="301"/>
                  <a:pt x="301" y="207"/>
                  <a:pt x="414" y="207"/>
                </a:cubicBezTo>
                <a:cubicBezTo>
                  <a:pt x="527" y="207"/>
                  <a:pt x="621" y="301"/>
                  <a:pt x="621" y="414"/>
                </a:cubicBezTo>
                <a:close/>
                <a:moveTo>
                  <a:pt x="38" y="414"/>
                </a:moveTo>
                <a:lnTo>
                  <a:pt x="38" y="414"/>
                </a:lnTo>
                <a:cubicBezTo>
                  <a:pt x="38" y="315"/>
                  <a:pt x="75" y="231"/>
                  <a:pt x="136" y="160"/>
                </a:cubicBezTo>
                <a:cubicBezTo>
                  <a:pt x="230" y="254"/>
                  <a:pt x="198" y="222"/>
                  <a:pt x="230" y="254"/>
                </a:cubicBezTo>
                <a:cubicBezTo>
                  <a:pt x="193" y="297"/>
                  <a:pt x="169" y="353"/>
                  <a:pt x="169" y="414"/>
                </a:cubicBezTo>
                <a:cubicBezTo>
                  <a:pt x="169" y="475"/>
                  <a:pt x="193" y="531"/>
                  <a:pt x="230" y="574"/>
                </a:cubicBezTo>
                <a:cubicBezTo>
                  <a:pt x="136" y="668"/>
                  <a:pt x="167" y="636"/>
                  <a:pt x="136" y="668"/>
                </a:cubicBezTo>
                <a:cubicBezTo>
                  <a:pt x="75" y="597"/>
                  <a:pt x="38" y="513"/>
                  <a:pt x="38" y="414"/>
                </a:cubicBezTo>
                <a:close/>
                <a:moveTo>
                  <a:pt x="414" y="790"/>
                </a:moveTo>
                <a:lnTo>
                  <a:pt x="414" y="790"/>
                </a:lnTo>
                <a:cubicBezTo>
                  <a:pt x="315" y="790"/>
                  <a:pt x="230" y="753"/>
                  <a:pt x="160" y="692"/>
                </a:cubicBezTo>
                <a:cubicBezTo>
                  <a:pt x="254" y="597"/>
                  <a:pt x="222" y="628"/>
                  <a:pt x="254" y="597"/>
                </a:cubicBezTo>
                <a:cubicBezTo>
                  <a:pt x="296" y="635"/>
                  <a:pt x="353" y="659"/>
                  <a:pt x="414" y="659"/>
                </a:cubicBezTo>
                <a:cubicBezTo>
                  <a:pt x="475" y="659"/>
                  <a:pt x="532" y="635"/>
                  <a:pt x="574" y="597"/>
                </a:cubicBezTo>
                <a:cubicBezTo>
                  <a:pt x="668" y="692"/>
                  <a:pt x="636" y="660"/>
                  <a:pt x="668" y="692"/>
                </a:cubicBezTo>
                <a:cubicBezTo>
                  <a:pt x="598" y="753"/>
                  <a:pt x="513" y="790"/>
                  <a:pt x="414" y="790"/>
                </a:cubicBezTo>
                <a:close/>
                <a:moveTo>
                  <a:pt x="691" y="668"/>
                </a:moveTo>
                <a:lnTo>
                  <a:pt x="691" y="668"/>
                </a:lnTo>
                <a:cubicBezTo>
                  <a:pt x="598" y="574"/>
                  <a:pt x="629" y="605"/>
                  <a:pt x="598" y="574"/>
                </a:cubicBezTo>
                <a:cubicBezTo>
                  <a:pt x="635" y="531"/>
                  <a:pt x="658" y="475"/>
                  <a:pt x="658" y="414"/>
                </a:cubicBezTo>
                <a:cubicBezTo>
                  <a:pt x="658" y="353"/>
                  <a:pt x="635" y="297"/>
                  <a:pt x="598" y="254"/>
                </a:cubicBezTo>
                <a:cubicBezTo>
                  <a:pt x="691" y="160"/>
                  <a:pt x="660" y="191"/>
                  <a:pt x="691" y="160"/>
                </a:cubicBezTo>
                <a:cubicBezTo>
                  <a:pt x="752" y="231"/>
                  <a:pt x="790" y="315"/>
                  <a:pt x="790" y="414"/>
                </a:cubicBezTo>
                <a:cubicBezTo>
                  <a:pt x="790" y="513"/>
                  <a:pt x="752" y="597"/>
                  <a:pt x="691" y="668"/>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9" name="Freeform 30">
            <a:extLst>
              <a:ext uri="{FF2B5EF4-FFF2-40B4-BE49-F238E27FC236}">
                <a16:creationId xmlns:a16="http://schemas.microsoft.com/office/drawing/2014/main" id="{FE2E5055-7C4C-6780-3634-F2D39CBD417E}"/>
              </a:ext>
            </a:extLst>
          </p:cNvPr>
          <p:cNvSpPr>
            <a:spLocks noChangeAspect="1" noChangeArrowheads="1"/>
          </p:cNvSpPr>
          <p:nvPr userDrawn="1"/>
        </p:nvSpPr>
        <p:spPr bwMode="auto">
          <a:xfrm>
            <a:off x="539872" y="4205093"/>
            <a:ext cx="395678" cy="359899"/>
          </a:xfrm>
          <a:custGeom>
            <a:avLst/>
            <a:gdLst>
              <a:gd name="T0" fmla="*/ 828 w 829"/>
              <a:gd name="T1" fmla="*/ 254 h 753"/>
              <a:gd name="T2" fmla="*/ 828 w 829"/>
              <a:gd name="T3" fmla="*/ 254 h 753"/>
              <a:gd name="T4" fmla="*/ 527 w 829"/>
              <a:gd name="T5" fmla="*/ 0 h 753"/>
              <a:gd name="T6" fmla="*/ 250 w 829"/>
              <a:gd name="T7" fmla="*/ 155 h 753"/>
              <a:gd name="T8" fmla="*/ 297 w 829"/>
              <a:gd name="T9" fmla="*/ 150 h 753"/>
              <a:gd name="T10" fmla="*/ 527 w 829"/>
              <a:gd name="T11" fmla="*/ 37 h 753"/>
              <a:gd name="T12" fmla="*/ 791 w 829"/>
              <a:gd name="T13" fmla="*/ 254 h 753"/>
              <a:gd name="T14" fmla="*/ 711 w 829"/>
              <a:gd name="T15" fmla="*/ 409 h 753"/>
              <a:gd name="T16" fmla="*/ 701 w 829"/>
              <a:gd name="T17" fmla="*/ 446 h 753"/>
              <a:gd name="T18" fmla="*/ 715 w 829"/>
              <a:gd name="T19" fmla="*/ 503 h 753"/>
              <a:gd name="T20" fmla="*/ 635 w 829"/>
              <a:gd name="T21" fmla="*/ 470 h 753"/>
              <a:gd name="T22" fmla="*/ 631 w 829"/>
              <a:gd name="T23" fmla="*/ 508 h 753"/>
              <a:gd name="T24" fmla="*/ 772 w 829"/>
              <a:gd name="T25" fmla="*/ 564 h 753"/>
              <a:gd name="T26" fmla="*/ 734 w 829"/>
              <a:gd name="T27" fmla="*/ 437 h 753"/>
              <a:gd name="T28" fmla="*/ 828 w 829"/>
              <a:gd name="T29" fmla="*/ 254 h 753"/>
              <a:gd name="T30" fmla="*/ 301 w 829"/>
              <a:gd name="T31" fmla="*/ 188 h 753"/>
              <a:gd name="T32" fmla="*/ 301 w 829"/>
              <a:gd name="T33" fmla="*/ 188 h 753"/>
              <a:gd name="T34" fmla="*/ 0 w 829"/>
              <a:gd name="T35" fmla="*/ 442 h 753"/>
              <a:gd name="T36" fmla="*/ 94 w 829"/>
              <a:gd name="T37" fmla="*/ 625 h 753"/>
              <a:gd name="T38" fmla="*/ 57 w 829"/>
              <a:gd name="T39" fmla="*/ 752 h 753"/>
              <a:gd name="T40" fmla="*/ 226 w 829"/>
              <a:gd name="T41" fmla="*/ 687 h 753"/>
              <a:gd name="T42" fmla="*/ 301 w 829"/>
              <a:gd name="T43" fmla="*/ 696 h 753"/>
              <a:gd name="T44" fmla="*/ 602 w 829"/>
              <a:gd name="T45" fmla="*/ 442 h 753"/>
              <a:gd name="T46" fmla="*/ 301 w 829"/>
              <a:gd name="T47" fmla="*/ 188 h 753"/>
              <a:gd name="T48" fmla="*/ 301 w 829"/>
              <a:gd name="T49" fmla="*/ 658 h 753"/>
              <a:gd name="T50" fmla="*/ 301 w 829"/>
              <a:gd name="T51" fmla="*/ 658 h 753"/>
              <a:gd name="T52" fmla="*/ 236 w 829"/>
              <a:gd name="T53" fmla="*/ 649 h 753"/>
              <a:gd name="T54" fmla="*/ 226 w 829"/>
              <a:gd name="T55" fmla="*/ 649 h 753"/>
              <a:gd name="T56" fmla="*/ 212 w 829"/>
              <a:gd name="T57" fmla="*/ 654 h 753"/>
              <a:gd name="T58" fmla="*/ 113 w 829"/>
              <a:gd name="T59" fmla="*/ 691 h 753"/>
              <a:gd name="T60" fmla="*/ 127 w 829"/>
              <a:gd name="T61" fmla="*/ 635 h 753"/>
              <a:gd name="T62" fmla="*/ 118 w 829"/>
              <a:gd name="T63" fmla="*/ 597 h 753"/>
              <a:gd name="T64" fmla="*/ 38 w 829"/>
              <a:gd name="T65" fmla="*/ 442 h 753"/>
              <a:gd name="T66" fmla="*/ 301 w 829"/>
              <a:gd name="T67" fmla="*/ 226 h 753"/>
              <a:gd name="T68" fmla="*/ 565 w 829"/>
              <a:gd name="T69" fmla="*/ 442 h 753"/>
              <a:gd name="T70" fmla="*/ 301 w 829"/>
              <a:gd name="T71" fmla="*/ 658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9" h="753">
                <a:moveTo>
                  <a:pt x="828" y="254"/>
                </a:moveTo>
                <a:lnTo>
                  <a:pt x="828" y="254"/>
                </a:lnTo>
                <a:cubicBezTo>
                  <a:pt x="828" y="113"/>
                  <a:pt x="692" y="0"/>
                  <a:pt x="527" y="0"/>
                </a:cubicBezTo>
                <a:cubicBezTo>
                  <a:pt x="405" y="0"/>
                  <a:pt x="297" y="61"/>
                  <a:pt x="250" y="155"/>
                </a:cubicBezTo>
                <a:cubicBezTo>
                  <a:pt x="264" y="150"/>
                  <a:pt x="283" y="150"/>
                  <a:pt x="297" y="150"/>
                </a:cubicBezTo>
                <a:cubicBezTo>
                  <a:pt x="339" y="84"/>
                  <a:pt x="428" y="37"/>
                  <a:pt x="527" y="37"/>
                </a:cubicBezTo>
                <a:cubicBezTo>
                  <a:pt x="673" y="37"/>
                  <a:pt x="791" y="136"/>
                  <a:pt x="791" y="254"/>
                </a:cubicBezTo>
                <a:cubicBezTo>
                  <a:pt x="791" y="310"/>
                  <a:pt x="762" y="366"/>
                  <a:pt x="711" y="409"/>
                </a:cubicBezTo>
                <a:cubicBezTo>
                  <a:pt x="701" y="418"/>
                  <a:pt x="696" y="432"/>
                  <a:pt x="701" y="446"/>
                </a:cubicBezTo>
                <a:cubicBezTo>
                  <a:pt x="715" y="503"/>
                  <a:pt x="710" y="484"/>
                  <a:pt x="715" y="503"/>
                </a:cubicBezTo>
                <a:cubicBezTo>
                  <a:pt x="635" y="470"/>
                  <a:pt x="662" y="481"/>
                  <a:pt x="635" y="470"/>
                </a:cubicBezTo>
                <a:cubicBezTo>
                  <a:pt x="635" y="484"/>
                  <a:pt x="631" y="498"/>
                  <a:pt x="631" y="508"/>
                </a:cubicBezTo>
                <a:cubicBezTo>
                  <a:pt x="772" y="564"/>
                  <a:pt x="725" y="545"/>
                  <a:pt x="772" y="564"/>
                </a:cubicBezTo>
                <a:cubicBezTo>
                  <a:pt x="734" y="437"/>
                  <a:pt x="747" y="479"/>
                  <a:pt x="734" y="437"/>
                </a:cubicBezTo>
                <a:cubicBezTo>
                  <a:pt x="791" y="390"/>
                  <a:pt x="828" y="324"/>
                  <a:pt x="828" y="254"/>
                </a:cubicBezTo>
                <a:close/>
                <a:moveTo>
                  <a:pt x="301" y="188"/>
                </a:moveTo>
                <a:lnTo>
                  <a:pt x="301" y="188"/>
                </a:lnTo>
                <a:cubicBezTo>
                  <a:pt x="137" y="188"/>
                  <a:pt x="0" y="301"/>
                  <a:pt x="0" y="442"/>
                </a:cubicBezTo>
                <a:cubicBezTo>
                  <a:pt x="0" y="512"/>
                  <a:pt x="38" y="578"/>
                  <a:pt x="94" y="625"/>
                </a:cubicBezTo>
                <a:cubicBezTo>
                  <a:pt x="57" y="752"/>
                  <a:pt x="70" y="709"/>
                  <a:pt x="57" y="752"/>
                </a:cubicBezTo>
                <a:cubicBezTo>
                  <a:pt x="226" y="687"/>
                  <a:pt x="170" y="708"/>
                  <a:pt x="226" y="687"/>
                </a:cubicBezTo>
                <a:cubicBezTo>
                  <a:pt x="250" y="691"/>
                  <a:pt x="273" y="696"/>
                  <a:pt x="301" y="696"/>
                </a:cubicBezTo>
                <a:cubicBezTo>
                  <a:pt x="466" y="696"/>
                  <a:pt x="602" y="583"/>
                  <a:pt x="602" y="442"/>
                </a:cubicBezTo>
                <a:cubicBezTo>
                  <a:pt x="602" y="301"/>
                  <a:pt x="466" y="188"/>
                  <a:pt x="301" y="188"/>
                </a:cubicBezTo>
                <a:close/>
                <a:moveTo>
                  <a:pt x="301" y="658"/>
                </a:moveTo>
                <a:lnTo>
                  <a:pt x="301" y="658"/>
                </a:lnTo>
                <a:cubicBezTo>
                  <a:pt x="278" y="658"/>
                  <a:pt x="254" y="654"/>
                  <a:pt x="236" y="649"/>
                </a:cubicBezTo>
                <a:cubicBezTo>
                  <a:pt x="231" y="649"/>
                  <a:pt x="230" y="649"/>
                  <a:pt x="226" y="649"/>
                </a:cubicBezTo>
                <a:cubicBezTo>
                  <a:pt x="221" y="649"/>
                  <a:pt x="217" y="649"/>
                  <a:pt x="212" y="654"/>
                </a:cubicBezTo>
                <a:cubicBezTo>
                  <a:pt x="113" y="691"/>
                  <a:pt x="146" y="678"/>
                  <a:pt x="113" y="691"/>
                </a:cubicBezTo>
                <a:cubicBezTo>
                  <a:pt x="127" y="635"/>
                  <a:pt x="123" y="653"/>
                  <a:pt x="127" y="635"/>
                </a:cubicBezTo>
                <a:cubicBezTo>
                  <a:pt x="132" y="621"/>
                  <a:pt x="127" y="606"/>
                  <a:pt x="118" y="597"/>
                </a:cubicBezTo>
                <a:cubicBezTo>
                  <a:pt x="66" y="555"/>
                  <a:pt x="38" y="498"/>
                  <a:pt x="38" y="442"/>
                </a:cubicBezTo>
                <a:cubicBezTo>
                  <a:pt x="38" y="324"/>
                  <a:pt x="155" y="226"/>
                  <a:pt x="301" y="226"/>
                </a:cubicBezTo>
                <a:cubicBezTo>
                  <a:pt x="447" y="226"/>
                  <a:pt x="565" y="324"/>
                  <a:pt x="565" y="442"/>
                </a:cubicBezTo>
                <a:cubicBezTo>
                  <a:pt x="565" y="559"/>
                  <a:pt x="447" y="658"/>
                  <a:pt x="301" y="658"/>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10" name="Freeform 79">
            <a:extLst>
              <a:ext uri="{FF2B5EF4-FFF2-40B4-BE49-F238E27FC236}">
                <a16:creationId xmlns:a16="http://schemas.microsoft.com/office/drawing/2014/main" id="{9622ED8E-3B0D-F3EE-4BE0-FA580375377B}"/>
              </a:ext>
            </a:extLst>
          </p:cNvPr>
          <p:cNvSpPr>
            <a:spLocks noChangeAspect="1" noChangeArrowheads="1"/>
          </p:cNvSpPr>
          <p:nvPr userDrawn="1"/>
        </p:nvSpPr>
        <p:spPr bwMode="auto">
          <a:xfrm>
            <a:off x="550863" y="5248499"/>
            <a:ext cx="373697" cy="339905"/>
          </a:xfrm>
          <a:custGeom>
            <a:avLst/>
            <a:gdLst>
              <a:gd name="T0" fmla="*/ 207 w 829"/>
              <a:gd name="T1" fmla="*/ 339 h 753"/>
              <a:gd name="T2" fmla="*/ 338 w 829"/>
              <a:gd name="T3" fmla="*/ 320 h 753"/>
              <a:gd name="T4" fmla="*/ 207 w 829"/>
              <a:gd name="T5" fmla="*/ 301 h 753"/>
              <a:gd name="T6" fmla="*/ 207 w 829"/>
              <a:gd name="T7" fmla="*/ 339 h 753"/>
              <a:gd name="T8" fmla="*/ 790 w 829"/>
              <a:gd name="T9" fmla="*/ 75 h 753"/>
              <a:gd name="T10" fmla="*/ 526 w 829"/>
              <a:gd name="T11" fmla="*/ 0 h 753"/>
              <a:gd name="T12" fmla="*/ 376 w 829"/>
              <a:gd name="T13" fmla="*/ 75 h 753"/>
              <a:gd name="T14" fmla="*/ 150 w 829"/>
              <a:gd name="T15" fmla="*/ 113 h 753"/>
              <a:gd name="T16" fmla="*/ 169 w 829"/>
              <a:gd name="T17" fmla="*/ 188 h 753"/>
              <a:gd name="T18" fmla="*/ 188 w 829"/>
              <a:gd name="T19" fmla="*/ 113 h 753"/>
              <a:gd name="T20" fmla="*/ 790 w 829"/>
              <a:gd name="T21" fmla="*/ 564 h 753"/>
              <a:gd name="T22" fmla="*/ 715 w 829"/>
              <a:gd name="T23" fmla="*/ 583 h 753"/>
              <a:gd name="T24" fmla="*/ 790 w 829"/>
              <a:gd name="T25" fmla="*/ 602 h 753"/>
              <a:gd name="T26" fmla="*/ 828 w 829"/>
              <a:gd name="T27" fmla="*/ 113 h 753"/>
              <a:gd name="T28" fmla="*/ 413 w 829"/>
              <a:gd name="T29" fmla="*/ 75 h 753"/>
              <a:gd name="T30" fmla="*/ 451 w 829"/>
              <a:gd name="T31" fmla="*/ 37 h 753"/>
              <a:gd name="T32" fmla="*/ 564 w 829"/>
              <a:gd name="T33" fmla="*/ 75 h 753"/>
              <a:gd name="T34" fmla="*/ 207 w 829"/>
              <a:gd name="T35" fmla="*/ 413 h 753"/>
              <a:gd name="T36" fmla="*/ 244 w 829"/>
              <a:gd name="T37" fmla="*/ 413 h 753"/>
              <a:gd name="T38" fmla="*/ 244 w 829"/>
              <a:gd name="T39" fmla="*/ 376 h 753"/>
              <a:gd name="T40" fmla="*/ 188 w 829"/>
              <a:gd name="T41" fmla="*/ 395 h 753"/>
              <a:gd name="T42" fmla="*/ 639 w 829"/>
              <a:gd name="T43" fmla="*/ 226 h 753"/>
              <a:gd name="T44" fmla="*/ 451 w 829"/>
              <a:gd name="T45" fmla="*/ 226 h 753"/>
              <a:gd name="T46" fmla="*/ 300 w 829"/>
              <a:gd name="T47" fmla="*/ 150 h 753"/>
              <a:gd name="T48" fmla="*/ 37 w 829"/>
              <a:gd name="T49" fmla="*/ 226 h 753"/>
              <a:gd name="T50" fmla="*/ 0 w 829"/>
              <a:gd name="T51" fmla="*/ 715 h 753"/>
              <a:gd name="T52" fmla="*/ 639 w 829"/>
              <a:gd name="T53" fmla="*/ 752 h 753"/>
              <a:gd name="T54" fmla="*/ 677 w 829"/>
              <a:gd name="T55" fmla="*/ 263 h 753"/>
              <a:gd name="T56" fmla="*/ 300 w 829"/>
              <a:gd name="T57" fmla="*/ 188 h 753"/>
              <a:gd name="T58" fmla="*/ 376 w 829"/>
              <a:gd name="T59" fmla="*/ 188 h 753"/>
              <a:gd name="T60" fmla="*/ 263 w 829"/>
              <a:gd name="T61" fmla="*/ 226 h 753"/>
              <a:gd name="T62" fmla="*/ 113 w 829"/>
              <a:gd name="T63" fmla="*/ 602 h 753"/>
              <a:gd name="T64" fmla="*/ 94 w 829"/>
              <a:gd name="T65" fmla="*/ 621 h 753"/>
              <a:gd name="T66" fmla="*/ 113 w 829"/>
              <a:gd name="T67" fmla="*/ 715 h 753"/>
              <a:gd name="T68" fmla="*/ 37 w 829"/>
              <a:gd name="T69" fmla="*/ 263 h 753"/>
              <a:gd name="T70" fmla="*/ 113 w 829"/>
              <a:gd name="T71" fmla="*/ 602 h 753"/>
              <a:gd name="T72" fmla="*/ 526 w 829"/>
              <a:gd name="T73" fmla="*/ 602 h 753"/>
              <a:gd name="T74" fmla="*/ 526 w 829"/>
              <a:gd name="T75" fmla="*/ 639 h 753"/>
              <a:gd name="T76" fmla="*/ 150 w 829"/>
              <a:gd name="T77" fmla="*/ 715 h 753"/>
              <a:gd name="T78" fmla="*/ 169 w 829"/>
              <a:gd name="T79" fmla="*/ 621 h 753"/>
              <a:gd name="T80" fmla="*/ 150 w 829"/>
              <a:gd name="T81" fmla="*/ 263 h 753"/>
              <a:gd name="T82" fmla="*/ 526 w 829"/>
              <a:gd name="T83" fmla="*/ 602 h 753"/>
              <a:gd name="T84" fmla="*/ 639 w 829"/>
              <a:gd name="T85" fmla="*/ 715 h 753"/>
              <a:gd name="T86" fmla="*/ 564 w 829"/>
              <a:gd name="T87" fmla="*/ 639 h 753"/>
              <a:gd name="T88" fmla="*/ 564 w 829"/>
              <a:gd name="T89" fmla="*/ 602 h 753"/>
              <a:gd name="T90" fmla="*/ 639 w 829"/>
              <a:gd name="T91" fmla="*/ 263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9" h="753">
                <a:moveTo>
                  <a:pt x="207" y="339"/>
                </a:moveTo>
                <a:lnTo>
                  <a:pt x="207" y="339"/>
                </a:lnTo>
                <a:cubicBezTo>
                  <a:pt x="319" y="339"/>
                  <a:pt x="282" y="339"/>
                  <a:pt x="319" y="339"/>
                </a:cubicBezTo>
                <a:cubicBezTo>
                  <a:pt x="329" y="339"/>
                  <a:pt x="338" y="329"/>
                  <a:pt x="338" y="320"/>
                </a:cubicBezTo>
                <a:cubicBezTo>
                  <a:pt x="338" y="310"/>
                  <a:pt x="329" y="301"/>
                  <a:pt x="319" y="301"/>
                </a:cubicBezTo>
                <a:cubicBezTo>
                  <a:pt x="207" y="301"/>
                  <a:pt x="245" y="301"/>
                  <a:pt x="207" y="301"/>
                </a:cubicBezTo>
                <a:cubicBezTo>
                  <a:pt x="197" y="301"/>
                  <a:pt x="188" y="310"/>
                  <a:pt x="188" y="320"/>
                </a:cubicBezTo>
                <a:cubicBezTo>
                  <a:pt x="188" y="329"/>
                  <a:pt x="197" y="339"/>
                  <a:pt x="207" y="339"/>
                </a:cubicBezTo>
                <a:close/>
                <a:moveTo>
                  <a:pt x="790" y="75"/>
                </a:moveTo>
                <a:lnTo>
                  <a:pt x="790" y="75"/>
                </a:lnTo>
                <a:cubicBezTo>
                  <a:pt x="602" y="75"/>
                  <a:pt x="665" y="75"/>
                  <a:pt x="602" y="75"/>
                </a:cubicBezTo>
                <a:cubicBezTo>
                  <a:pt x="602" y="33"/>
                  <a:pt x="569" y="0"/>
                  <a:pt x="526" y="0"/>
                </a:cubicBezTo>
                <a:cubicBezTo>
                  <a:pt x="451" y="0"/>
                  <a:pt x="476" y="0"/>
                  <a:pt x="451" y="0"/>
                </a:cubicBezTo>
                <a:cubicBezTo>
                  <a:pt x="409" y="0"/>
                  <a:pt x="376" y="33"/>
                  <a:pt x="376" y="75"/>
                </a:cubicBezTo>
                <a:cubicBezTo>
                  <a:pt x="188" y="75"/>
                  <a:pt x="251" y="75"/>
                  <a:pt x="188" y="75"/>
                </a:cubicBezTo>
                <a:cubicBezTo>
                  <a:pt x="169" y="75"/>
                  <a:pt x="150" y="94"/>
                  <a:pt x="150" y="113"/>
                </a:cubicBezTo>
                <a:cubicBezTo>
                  <a:pt x="150" y="169"/>
                  <a:pt x="150" y="151"/>
                  <a:pt x="150" y="169"/>
                </a:cubicBezTo>
                <a:cubicBezTo>
                  <a:pt x="150" y="179"/>
                  <a:pt x="160" y="188"/>
                  <a:pt x="169" y="188"/>
                </a:cubicBezTo>
                <a:cubicBezTo>
                  <a:pt x="179" y="188"/>
                  <a:pt x="188" y="179"/>
                  <a:pt x="188" y="169"/>
                </a:cubicBezTo>
                <a:cubicBezTo>
                  <a:pt x="188" y="113"/>
                  <a:pt x="188" y="132"/>
                  <a:pt x="188" y="113"/>
                </a:cubicBezTo>
                <a:cubicBezTo>
                  <a:pt x="790" y="113"/>
                  <a:pt x="590" y="113"/>
                  <a:pt x="790" y="113"/>
                </a:cubicBezTo>
                <a:cubicBezTo>
                  <a:pt x="790" y="564"/>
                  <a:pt x="790" y="414"/>
                  <a:pt x="790" y="564"/>
                </a:cubicBezTo>
                <a:cubicBezTo>
                  <a:pt x="734" y="564"/>
                  <a:pt x="753" y="564"/>
                  <a:pt x="734" y="564"/>
                </a:cubicBezTo>
                <a:cubicBezTo>
                  <a:pt x="724" y="564"/>
                  <a:pt x="715" y="574"/>
                  <a:pt x="715" y="583"/>
                </a:cubicBezTo>
                <a:cubicBezTo>
                  <a:pt x="715" y="592"/>
                  <a:pt x="724" y="602"/>
                  <a:pt x="734" y="602"/>
                </a:cubicBezTo>
                <a:cubicBezTo>
                  <a:pt x="790" y="602"/>
                  <a:pt x="772" y="602"/>
                  <a:pt x="790" y="602"/>
                </a:cubicBezTo>
                <a:cubicBezTo>
                  <a:pt x="809" y="602"/>
                  <a:pt x="828" y="583"/>
                  <a:pt x="828" y="564"/>
                </a:cubicBezTo>
                <a:cubicBezTo>
                  <a:pt x="828" y="113"/>
                  <a:pt x="828" y="264"/>
                  <a:pt x="828" y="113"/>
                </a:cubicBezTo>
                <a:cubicBezTo>
                  <a:pt x="828" y="94"/>
                  <a:pt x="809" y="75"/>
                  <a:pt x="790" y="75"/>
                </a:cubicBezTo>
                <a:close/>
                <a:moveTo>
                  <a:pt x="413" y="75"/>
                </a:moveTo>
                <a:lnTo>
                  <a:pt x="413" y="75"/>
                </a:lnTo>
                <a:cubicBezTo>
                  <a:pt x="413" y="56"/>
                  <a:pt x="432" y="37"/>
                  <a:pt x="451" y="37"/>
                </a:cubicBezTo>
                <a:cubicBezTo>
                  <a:pt x="526" y="37"/>
                  <a:pt x="501" y="37"/>
                  <a:pt x="526" y="37"/>
                </a:cubicBezTo>
                <a:cubicBezTo>
                  <a:pt x="545" y="37"/>
                  <a:pt x="564" y="56"/>
                  <a:pt x="564" y="75"/>
                </a:cubicBezTo>
                <a:cubicBezTo>
                  <a:pt x="514" y="75"/>
                  <a:pt x="464" y="75"/>
                  <a:pt x="413" y="75"/>
                </a:cubicBezTo>
                <a:close/>
                <a:moveTo>
                  <a:pt x="207" y="413"/>
                </a:moveTo>
                <a:lnTo>
                  <a:pt x="207" y="413"/>
                </a:lnTo>
                <a:cubicBezTo>
                  <a:pt x="244" y="413"/>
                  <a:pt x="232" y="413"/>
                  <a:pt x="244" y="413"/>
                </a:cubicBezTo>
                <a:cubicBezTo>
                  <a:pt x="254" y="413"/>
                  <a:pt x="263" y="404"/>
                  <a:pt x="263" y="395"/>
                </a:cubicBezTo>
                <a:cubicBezTo>
                  <a:pt x="263" y="385"/>
                  <a:pt x="254" y="376"/>
                  <a:pt x="244" y="376"/>
                </a:cubicBezTo>
                <a:cubicBezTo>
                  <a:pt x="207" y="376"/>
                  <a:pt x="220" y="376"/>
                  <a:pt x="207" y="376"/>
                </a:cubicBezTo>
                <a:cubicBezTo>
                  <a:pt x="197" y="376"/>
                  <a:pt x="188" y="385"/>
                  <a:pt x="188" y="395"/>
                </a:cubicBezTo>
                <a:cubicBezTo>
                  <a:pt x="188" y="404"/>
                  <a:pt x="197" y="413"/>
                  <a:pt x="207" y="413"/>
                </a:cubicBezTo>
                <a:close/>
                <a:moveTo>
                  <a:pt x="639" y="226"/>
                </a:moveTo>
                <a:lnTo>
                  <a:pt x="639" y="226"/>
                </a:lnTo>
                <a:cubicBezTo>
                  <a:pt x="451" y="226"/>
                  <a:pt x="514" y="226"/>
                  <a:pt x="451" y="226"/>
                </a:cubicBezTo>
                <a:cubicBezTo>
                  <a:pt x="451" y="183"/>
                  <a:pt x="418" y="150"/>
                  <a:pt x="376" y="150"/>
                </a:cubicBezTo>
                <a:cubicBezTo>
                  <a:pt x="300" y="150"/>
                  <a:pt x="326" y="150"/>
                  <a:pt x="300" y="150"/>
                </a:cubicBezTo>
                <a:cubicBezTo>
                  <a:pt x="258" y="150"/>
                  <a:pt x="226" y="183"/>
                  <a:pt x="226" y="226"/>
                </a:cubicBezTo>
                <a:cubicBezTo>
                  <a:pt x="37" y="226"/>
                  <a:pt x="100" y="226"/>
                  <a:pt x="37" y="226"/>
                </a:cubicBezTo>
                <a:cubicBezTo>
                  <a:pt x="18" y="226"/>
                  <a:pt x="0" y="244"/>
                  <a:pt x="0" y="263"/>
                </a:cubicBezTo>
                <a:cubicBezTo>
                  <a:pt x="0" y="715"/>
                  <a:pt x="0" y="565"/>
                  <a:pt x="0" y="715"/>
                </a:cubicBezTo>
                <a:cubicBezTo>
                  <a:pt x="0" y="734"/>
                  <a:pt x="18" y="752"/>
                  <a:pt x="37" y="752"/>
                </a:cubicBezTo>
                <a:cubicBezTo>
                  <a:pt x="639" y="752"/>
                  <a:pt x="439" y="752"/>
                  <a:pt x="639" y="752"/>
                </a:cubicBezTo>
                <a:cubicBezTo>
                  <a:pt x="658" y="752"/>
                  <a:pt x="677" y="734"/>
                  <a:pt x="677" y="715"/>
                </a:cubicBezTo>
                <a:cubicBezTo>
                  <a:pt x="677" y="263"/>
                  <a:pt x="677" y="414"/>
                  <a:pt x="677" y="263"/>
                </a:cubicBezTo>
                <a:cubicBezTo>
                  <a:pt x="677" y="244"/>
                  <a:pt x="658" y="226"/>
                  <a:pt x="639" y="226"/>
                </a:cubicBezTo>
                <a:close/>
                <a:moveTo>
                  <a:pt x="300" y="188"/>
                </a:moveTo>
                <a:lnTo>
                  <a:pt x="300" y="188"/>
                </a:lnTo>
                <a:cubicBezTo>
                  <a:pt x="376" y="188"/>
                  <a:pt x="351" y="188"/>
                  <a:pt x="376" y="188"/>
                </a:cubicBezTo>
                <a:cubicBezTo>
                  <a:pt x="395" y="188"/>
                  <a:pt x="413" y="207"/>
                  <a:pt x="413" y="226"/>
                </a:cubicBezTo>
                <a:cubicBezTo>
                  <a:pt x="263" y="226"/>
                  <a:pt x="313" y="226"/>
                  <a:pt x="263" y="226"/>
                </a:cubicBezTo>
                <a:cubicBezTo>
                  <a:pt x="263" y="207"/>
                  <a:pt x="282" y="188"/>
                  <a:pt x="300" y="188"/>
                </a:cubicBezTo>
                <a:close/>
                <a:moveTo>
                  <a:pt x="113" y="602"/>
                </a:moveTo>
                <a:lnTo>
                  <a:pt x="113" y="602"/>
                </a:lnTo>
                <a:cubicBezTo>
                  <a:pt x="103" y="602"/>
                  <a:pt x="94" y="611"/>
                  <a:pt x="94" y="621"/>
                </a:cubicBezTo>
                <a:cubicBezTo>
                  <a:pt x="94" y="630"/>
                  <a:pt x="103" y="639"/>
                  <a:pt x="113" y="639"/>
                </a:cubicBezTo>
                <a:cubicBezTo>
                  <a:pt x="113" y="715"/>
                  <a:pt x="113" y="690"/>
                  <a:pt x="113" y="715"/>
                </a:cubicBezTo>
                <a:cubicBezTo>
                  <a:pt x="37" y="715"/>
                  <a:pt x="63" y="715"/>
                  <a:pt x="37" y="715"/>
                </a:cubicBezTo>
                <a:cubicBezTo>
                  <a:pt x="37" y="263"/>
                  <a:pt x="37" y="414"/>
                  <a:pt x="37" y="263"/>
                </a:cubicBezTo>
                <a:cubicBezTo>
                  <a:pt x="113" y="263"/>
                  <a:pt x="88" y="263"/>
                  <a:pt x="113" y="263"/>
                </a:cubicBezTo>
                <a:cubicBezTo>
                  <a:pt x="113" y="376"/>
                  <a:pt x="113" y="489"/>
                  <a:pt x="113" y="602"/>
                </a:cubicBezTo>
                <a:close/>
                <a:moveTo>
                  <a:pt x="526" y="602"/>
                </a:moveTo>
                <a:lnTo>
                  <a:pt x="526" y="602"/>
                </a:lnTo>
                <a:cubicBezTo>
                  <a:pt x="517" y="602"/>
                  <a:pt x="508" y="611"/>
                  <a:pt x="508" y="621"/>
                </a:cubicBezTo>
                <a:cubicBezTo>
                  <a:pt x="508" y="630"/>
                  <a:pt x="517" y="639"/>
                  <a:pt x="526" y="639"/>
                </a:cubicBezTo>
                <a:cubicBezTo>
                  <a:pt x="526" y="715"/>
                  <a:pt x="526" y="690"/>
                  <a:pt x="526" y="715"/>
                </a:cubicBezTo>
                <a:cubicBezTo>
                  <a:pt x="150" y="715"/>
                  <a:pt x="276" y="715"/>
                  <a:pt x="150" y="715"/>
                </a:cubicBezTo>
                <a:cubicBezTo>
                  <a:pt x="150" y="639"/>
                  <a:pt x="150" y="665"/>
                  <a:pt x="150" y="639"/>
                </a:cubicBezTo>
                <a:cubicBezTo>
                  <a:pt x="160" y="639"/>
                  <a:pt x="169" y="630"/>
                  <a:pt x="169" y="621"/>
                </a:cubicBezTo>
                <a:cubicBezTo>
                  <a:pt x="169" y="611"/>
                  <a:pt x="160" y="602"/>
                  <a:pt x="150" y="602"/>
                </a:cubicBezTo>
                <a:cubicBezTo>
                  <a:pt x="150" y="263"/>
                  <a:pt x="150" y="376"/>
                  <a:pt x="150" y="263"/>
                </a:cubicBezTo>
                <a:cubicBezTo>
                  <a:pt x="526" y="263"/>
                  <a:pt x="401" y="263"/>
                  <a:pt x="526" y="263"/>
                </a:cubicBezTo>
                <a:cubicBezTo>
                  <a:pt x="526" y="376"/>
                  <a:pt x="526" y="489"/>
                  <a:pt x="526" y="602"/>
                </a:cubicBezTo>
                <a:close/>
                <a:moveTo>
                  <a:pt x="639" y="715"/>
                </a:moveTo>
                <a:lnTo>
                  <a:pt x="639" y="715"/>
                </a:lnTo>
                <a:cubicBezTo>
                  <a:pt x="564" y="715"/>
                  <a:pt x="589" y="715"/>
                  <a:pt x="564" y="715"/>
                </a:cubicBezTo>
                <a:cubicBezTo>
                  <a:pt x="564" y="639"/>
                  <a:pt x="564" y="665"/>
                  <a:pt x="564" y="639"/>
                </a:cubicBezTo>
                <a:cubicBezTo>
                  <a:pt x="574" y="639"/>
                  <a:pt x="583" y="630"/>
                  <a:pt x="583" y="621"/>
                </a:cubicBezTo>
                <a:cubicBezTo>
                  <a:pt x="583" y="611"/>
                  <a:pt x="574" y="602"/>
                  <a:pt x="564" y="602"/>
                </a:cubicBezTo>
                <a:cubicBezTo>
                  <a:pt x="564" y="263"/>
                  <a:pt x="564" y="376"/>
                  <a:pt x="564" y="263"/>
                </a:cubicBezTo>
                <a:cubicBezTo>
                  <a:pt x="639" y="263"/>
                  <a:pt x="614" y="263"/>
                  <a:pt x="639" y="263"/>
                </a:cubicBezTo>
                <a:cubicBezTo>
                  <a:pt x="639" y="414"/>
                  <a:pt x="639" y="565"/>
                  <a:pt x="639" y="715"/>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11" name="Segnaposto testo 4">
            <a:extLst>
              <a:ext uri="{FF2B5EF4-FFF2-40B4-BE49-F238E27FC236}">
                <a16:creationId xmlns:a16="http://schemas.microsoft.com/office/drawing/2014/main" id="{F593FD6A-EDDF-4E5E-6B01-42322D177476}"/>
              </a:ext>
            </a:extLst>
          </p:cNvPr>
          <p:cNvSpPr>
            <a:spLocks noGrp="1"/>
          </p:cNvSpPr>
          <p:nvPr>
            <p:ph type="body" sz="quarter" idx="16" hasCustomPrompt="1"/>
          </p:nvPr>
        </p:nvSpPr>
        <p:spPr>
          <a:xfrm>
            <a:off x="1113605" y="3321843"/>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5" name="Segnaposto testo 4">
            <a:extLst>
              <a:ext uri="{FF2B5EF4-FFF2-40B4-BE49-F238E27FC236}">
                <a16:creationId xmlns:a16="http://schemas.microsoft.com/office/drawing/2014/main" id="{EFBC0F74-0D2B-5566-305A-F07EACB16A7F}"/>
              </a:ext>
            </a:extLst>
          </p:cNvPr>
          <p:cNvSpPr>
            <a:spLocks noGrp="1"/>
          </p:cNvSpPr>
          <p:nvPr>
            <p:ph type="body" sz="quarter" idx="17" hasCustomPrompt="1"/>
          </p:nvPr>
        </p:nvSpPr>
        <p:spPr>
          <a:xfrm>
            <a:off x="1113605" y="4097937"/>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6" name="Segnaposto testo 4">
            <a:extLst>
              <a:ext uri="{FF2B5EF4-FFF2-40B4-BE49-F238E27FC236}">
                <a16:creationId xmlns:a16="http://schemas.microsoft.com/office/drawing/2014/main" id="{9F39A800-C46A-33AD-E6FC-E4B0AAB2802A}"/>
              </a:ext>
            </a:extLst>
          </p:cNvPr>
          <p:cNvSpPr>
            <a:spLocks noGrp="1"/>
          </p:cNvSpPr>
          <p:nvPr>
            <p:ph type="body" sz="quarter" idx="18" hasCustomPrompt="1"/>
          </p:nvPr>
        </p:nvSpPr>
        <p:spPr>
          <a:xfrm>
            <a:off x="1113604" y="4362255"/>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7" name="Segnaposto testo 4">
            <a:extLst>
              <a:ext uri="{FF2B5EF4-FFF2-40B4-BE49-F238E27FC236}">
                <a16:creationId xmlns:a16="http://schemas.microsoft.com/office/drawing/2014/main" id="{4936D9DA-3856-AA7B-452D-159D622DE273}"/>
              </a:ext>
            </a:extLst>
          </p:cNvPr>
          <p:cNvSpPr>
            <a:spLocks noGrp="1"/>
          </p:cNvSpPr>
          <p:nvPr>
            <p:ph type="body" sz="quarter" idx="19" hasCustomPrompt="1"/>
          </p:nvPr>
        </p:nvSpPr>
        <p:spPr>
          <a:xfrm>
            <a:off x="1113604" y="5138349"/>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8" name="Segnaposto testo 4">
            <a:extLst>
              <a:ext uri="{FF2B5EF4-FFF2-40B4-BE49-F238E27FC236}">
                <a16:creationId xmlns:a16="http://schemas.microsoft.com/office/drawing/2014/main" id="{9E3E2779-F59D-654A-713F-1CE39F117F43}"/>
              </a:ext>
            </a:extLst>
          </p:cNvPr>
          <p:cNvSpPr>
            <a:spLocks noGrp="1"/>
          </p:cNvSpPr>
          <p:nvPr>
            <p:ph type="body" sz="quarter" idx="20" hasCustomPrompt="1"/>
          </p:nvPr>
        </p:nvSpPr>
        <p:spPr>
          <a:xfrm>
            <a:off x="1113603" y="5402667"/>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p:txBody>
      </p:sp>
    </p:spTree>
    <p:extLst>
      <p:ext uri="{BB962C8B-B14F-4D97-AF65-F5344CB8AC3E}">
        <p14:creationId xmlns:p14="http://schemas.microsoft.com/office/powerpoint/2010/main" val="1551129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pic>
        <p:nvPicPr>
          <p:cNvPr id="17" name="Picture 1">
            <a:extLst>
              <a:ext uri="{FF2B5EF4-FFF2-40B4-BE49-F238E27FC236}">
                <a16:creationId xmlns:a16="http://schemas.microsoft.com/office/drawing/2014/main" id="{4A55F413-B4DF-5076-901F-F262802DE8B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7361" t="7376" r="27502" b="11915"/>
          <a:stretch/>
        </p:blipFill>
        <p:spPr>
          <a:xfrm>
            <a:off x="6317867" y="1464848"/>
            <a:ext cx="3740532" cy="5019721"/>
          </a:xfrm>
          <a:prstGeom prst="rect">
            <a:avLst/>
          </a:prstGeom>
          <a:effectLst>
            <a:reflection blurRad="6350" stA="32000" endPos="7000" dir="5400000" sy="-100000" algn="bl" rotWithShape="0"/>
          </a:effectLst>
        </p:spPr>
      </p:pic>
      <p:sp>
        <p:nvSpPr>
          <p:cNvPr id="3" name="Picture Placeholder 2"/>
          <p:cNvSpPr>
            <a:spLocks noGrp="1"/>
          </p:cNvSpPr>
          <p:nvPr>
            <p:ph type="pic" sz="quarter" idx="10"/>
          </p:nvPr>
        </p:nvSpPr>
        <p:spPr>
          <a:xfrm>
            <a:off x="6792202" y="2179130"/>
            <a:ext cx="2819437" cy="3766559"/>
          </a:xfrm>
          <a:solidFill>
            <a:schemeClr val="accent1">
              <a:lumMod val="20000"/>
              <a:lumOff val="80000"/>
            </a:schemeClr>
          </a:solidFill>
        </p:spPr>
        <p:txBody>
          <a:bodyPr/>
          <a:lstStyle/>
          <a:p>
            <a:r>
              <a:rPr lang="nl-NL"/>
              <a:t>Klik op het pictogram als u een afbeelding wilt toevoegen</a:t>
            </a:r>
            <a:endParaRPr lang="en-GB"/>
          </a:p>
        </p:txBody>
      </p:sp>
      <p:sp>
        <p:nvSpPr>
          <p:cNvPr id="4" name="Titel 13">
            <a:extLst>
              <a:ext uri="{FF2B5EF4-FFF2-40B4-BE49-F238E27FC236}">
                <a16:creationId xmlns:a16="http://schemas.microsoft.com/office/drawing/2014/main" id="{89EC667D-DE61-7B29-C64B-A7CA69E2F56B}"/>
              </a:ext>
            </a:extLst>
          </p:cNvPr>
          <p:cNvSpPr>
            <a:spLocks noGrp="1"/>
          </p:cNvSpPr>
          <p:nvPr>
            <p:ph type="title" hasCustomPrompt="1"/>
          </p:nvPr>
        </p:nvSpPr>
        <p:spPr>
          <a:xfrm>
            <a:off x="550863" y="549276"/>
            <a:ext cx="6550025" cy="827087"/>
          </a:xfrm>
        </p:spPr>
        <p:txBody>
          <a:bodyPr/>
          <a:lstStyle/>
          <a:p>
            <a:r>
              <a:rPr lang="nl-NL"/>
              <a:t>CLICK TO EDIT </a:t>
            </a:r>
            <a:endParaRPr lang="en-GB"/>
          </a:p>
        </p:txBody>
      </p:sp>
      <p:sp>
        <p:nvSpPr>
          <p:cNvPr id="5" name="Slide Number Placeholder 5">
            <a:extLst>
              <a:ext uri="{FF2B5EF4-FFF2-40B4-BE49-F238E27FC236}">
                <a16:creationId xmlns:a16="http://schemas.microsoft.com/office/drawing/2014/main" id="{3860E492-42E8-F246-8A20-BF995556AE12}"/>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58E89C02-3994-B426-5C31-5D96E3A7F269}"/>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7" name="ZoneTexte 36">
            <a:extLst>
              <a:ext uri="{FF2B5EF4-FFF2-40B4-BE49-F238E27FC236}">
                <a16:creationId xmlns:a16="http://schemas.microsoft.com/office/drawing/2014/main" id="{A1445D4C-46AF-0DA7-EB86-7876445347E1}"/>
              </a:ext>
            </a:extLst>
          </p:cNvPr>
          <p:cNvSpPr txBox="1">
            <a:spLocks noChangeArrowheads="1"/>
          </p:cNvSpPr>
          <p:nvPr userDrawn="1"/>
        </p:nvSpPr>
        <p:spPr bwMode="auto">
          <a:xfrm>
            <a:off x="521466" y="2760063"/>
            <a:ext cx="53412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pPr>
            <a:r>
              <a:rPr lang="fr-FR" altLang="en-US" sz="6000">
                <a:solidFill>
                  <a:schemeClr val="accent1"/>
                </a:solidFill>
                <a:latin typeface="Fave Script Bold Pro" pitchFamily="2" charset="77"/>
                <a:ea typeface="Fira Sans ExtraBold" panose="020B0903050000020004" pitchFamily="34" charset="0"/>
              </a:rPr>
              <a:t>01</a:t>
            </a:r>
          </a:p>
        </p:txBody>
      </p:sp>
      <p:sp>
        <p:nvSpPr>
          <p:cNvPr id="8" name="ZoneTexte 36">
            <a:extLst>
              <a:ext uri="{FF2B5EF4-FFF2-40B4-BE49-F238E27FC236}">
                <a16:creationId xmlns:a16="http://schemas.microsoft.com/office/drawing/2014/main" id="{0EC17268-FDE7-94FE-A849-FBE63705A312}"/>
              </a:ext>
            </a:extLst>
          </p:cNvPr>
          <p:cNvSpPr txBox="1">
            <a:spLocks noChangeArrowheads="1"/>
          </p:cNvSpPr>
          <p:nvPr userDrawn="1"/>
        </p:nvSpPr>
        <p:spPr bwMode="auto">
          <a:xfrm>
            <a:off x="464314" y="3792836"/>
            <a:ext cx="62388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pPr>
            <a:r>
              <a:rPr lang="fr-FR" altLang="en-US" sz="6000">
                <a:solidFill>
                  <a:schemeClr val="accent1"/>
                </a:solidFill>
                <a:latin typeface="Fave Script Bold Pro" pitchFamily="2" charset="77"/>
                <a:ea typeface="Fira Sans ExtraBold" panose="020B0903050000020004" pitchFamily="34" charset="0"/>
              </a:rPr>
              <a:t>02</a:t>
            </a:r>
          </a:p>
        </p:txBody>
      </p:sp>
      <p:sp>
        <p:nvSpPr>
          <p:cNvPr id="9" name="ZoneTexte 36">
            <a:extLst>
              <a:ext uri="{FF2B5EF4-FFF2-40B4-BE49-F238E27FC236}">
                <a16:creationId xmlns:a16="http://schemas.microsoft.com/office/drawing/2014/main" id="{05DFBDF3-5373-5E64-89FD-A1E30BF699D5}"/>
              </a:ext>
            </a:extLst>
          </p:cNvPr>
          <p:cNvSpPr txBox="1">
            <a:spLocks noChangeArrowheads="1"/>
          </p:cNvSpPr>
          <p:nvPr userDrawn="1"/>
        </p:nvSpPr>
        <p:spPr bwMode="auto">
          <a:xfrm>
            <a:off x="464314" y="4854185"/>
            <a:ext cx="64152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pPr>
            <a:r>
              <a:rPr lang="fr-FR" altLang="en-US" sz="6000">
                <a:solidFill>
                  <a:schemeClr val="accent1"/>
                </a:solidFill>
                <a:latin typeface="Fave Script Bold Pro" pitchFamily="2" charset="77"/>
                <a:ea typeface="Fira Sans ExtraBold" panose="020B0903050000020004" pitchFamily="34" charset="0"/>
              </a:rPr>
              <a:t>03</a:t>
            </a:r>
          </a:p>
        </p:txBody>
      </p:sp>
      <p:sp>
        <p:nvSpPr>
          <p:cNvPr id="10" name="Segnaposto testo 4">
            <a:extLst>
              <a:ext uri="{FF2B5EF4-FFF2-40B4-BE49-F238E27FC236}">
                <a16:creationId xmlns:a16="http://schemas.microsoft.com/office/drawing/2014/main" id="{936F8B38-7BCF-B280-9B81-8B1C14D9F7B9}"/>
              </a:ext>
            </a:extLst>
          </p:cNvPr>
          <p:cNvSpPr>
            <a:spLocks noGrp="1"/>
          </p:cNvSpPr>
          <p:nvPr>
            <p:ph type="body" sz="quarter" idx="15" hasCustomPrompt="1"/>
          </p:nvPr>
        </p:nvSpPr>
        <p:spPr>
          <a:xfrm>
            <a:off x="1113606" y="3057525"/>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1" name="Titel 13">
            <a:extLst>
              <a:ext uri="{FF2B5EF4-FFF2-40B4-BE49-F238E27FC236}">
                <a16:creationId xmlns:a16="http://schemas.microsoft.com/office/drawing/2014/main" id="{A5BAB697-FCA6-B708-ACA5-D89039CCF05D}"/>
              </a:ext>
            </a:extLst>
          </p:cNvPr>
          <p:cNvSpPr txBox="1">
            <a:spLocks/>
          </p:cNvSpPr>
          <p:nvPr userDrawn="1"/>
        </p:nvSpPr>
        <p:spPr>
          <a:xfrm>
            <a:off x="550863" y="549276"/>
            <a:ext cx="4378325" cy="82708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000" b="1" i="0" kern="1200" cap="all" baseline="0">
                <a:solidFill>
                  <a:schemeClr val="accent1"/>
                </a:solidFill>
                <a:latin typeface="Prometo" panose="020B0604030203060203" pitchFamily="34" charset="77"/>
                <a:ea typeface="+mj-ea"/>
                <a:cs typeface="+mj-cs"/>
              </a:defRPr>
            </a:lvl1pPr>
          </a:lstStyle>
          <a:p>
            <a:r>
              <a:rPr lang="nl-NL"/>
              <a:t>CLICK TO EDIT </a:t>
            </a:r>
            <a:endParaRPr lang="en-GB"/>
          </a:p>
        </p:txBody>
      </p:sp>
      <p:sp>
        <p:nvSpPr>
          <p:cNvPr id="12" name="Segnaposto testo 4">
            <a:extLst>
              <a:ext uri="{FF2B5EF4-FFF2-40B4-BE49-F238E27FC236}">
                <a16:creationId xmlns:a16="http://schemas.microsoft.com/office/drawing/2014/main" id="{B84068D7-3C3B-8589-B6F7-340DAB03FDF9}"/>
              </a:ext>
            </a:extLst>
          </p:cNvPr>
          <p:cNvSpPr>
            <a:spLocks noGrp="1"/>
          </p:cNvSpPr>
          <p:nvPr>
            <p:ph type="body" sz="quarter" idx="16" hasCustomPrompt="1"/>
          </p:nvPr>
        </p:nvSpPr>
        <p:spPr>
          <a:xfrm>
            <a:off x="1113605" y="3321843"/>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3" name="Segnaposto testo 4">
            <a:extLst>
              <a:ext uri="{FF2B5EF4-FFF2-40B4-BE49-F238E27FC236}">
                <a16:creationId xmlns:a16="http://schemas.microsoft.com/office/drawing/2014/main" id="{D595B042-3522-534A-5012-90DC55B807B4}"/>
              </a:ext>
            </a:extLst>
          </p:cNvPr>
          <p:cNvSpPr>
            <a:spLocks noGrp="1"/>
          </p:cNvSpPr>
          <p:nvPr>
            <p:ph type="body" sz="quarter" idx="17" hasCustomPrompt="1"/>
          </p:nvPr>
        </p:nvSpPr>
        <p:spPr>
          <a:xfrm>
            <a:off x="1113605" y="4097937"/>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4" name="Segnaposto testo 4">
            <a:extLst>
              <a:ext uri="{FF2B5EF4-FFF2-40B4-BE49-F238E27FC236}">
                <a16:creationId xmlns:a16="http://schemas.microsoft.com/office/drawing/2014/main" id="{FBA54EA6-3856-C00E-2074-FA09F340D053}"/>
              </a:ext>
            </a:extLst>
          </p:cNvPr>
          <p:cNvSpPr>
            <a:spLocks noGrp="1"/>
          </p:cNvSpPr>
          <p:nvPr>
            <p:ph type="body" sz="quarter" idx="18" hasCustomPrompt="1"/>
          </p:nvPr>
        </p:nvSpPr>
        <p:spPr>
          <a:xfrm>
            <a:off x="1113604" y="4362255"/>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5" name="Segnaposto testo 4">
            <a:extLst>
              <a:ext uri="{FF2B5EF4-FFF2-40B4-BE49-F238E27FC236}">
                <a16:creationId xmlns:a16="http://schemas.microsoft.com/office/drawing/2014/main" id="{EDF0EFA6-2409-787E-6E06-32241487FD7B}"/>
              </a:ext>
            </a:extLst>
          </p:cNvPr>
          <p:cNvSpPr>
            <a:spLocks noGrp="1"/>
          </p:cNvSpPr>
          <p:nvPr>
            <p:ph type="body" sz="quarter" idx="19" hasCustomPrompt="1"/>
          </p:nvPr>
        </p:nvSpPr>
        <p:spPr>
          <a:xfrm>
            <a:off x="1113604" y="5138349"/>
            <a:ext cx="4938711"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6" name="Segnaposto testo 4">
            <a:extLst>
              <a:ext uri="{FF2B5EF4-FFF2-40B4-BE49-F238E27FC236}">
                <a16:creationId xmlns:a16="http://schemas.microsoft.com/office/drawing/2014/main" id="{A76B4E95-53E5-F092-9EEB-9695FD75FFE0}"/>
              </a:ext>
            </a:extLst>
          </p:cNvPr>
          <p:cNvSpPr>
            <a:spLocks noGrp="1"/>
          </p:cNvSpPr>
          <p:nvPr>
            <p:ph type="body" sz="quarter" idx="20" hasCustomPrompt="1"/>
          </p:nvPr>
        </p:nvSpPr>
        <p:spPr>
          <a:xfrm>
            <a:off x="1113603" y="5402667"/>
            <a:ext cx="4938711"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p:txBody>
      </p:sp>
    </p:spTree>
    <p:extLst>
      <p:ext uri="{BB962C8B-B14F-4D97-AF65-F5344CB8AC3E}">
        <p14:creationId xmlns:p14="http://schemas.microsoft.com/office/powerpoint/2010/main" val="37535094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grpSp>
        <p:nvGrpSpPr>
          <p:cNvPr id="16" name="Group 21">
            <a:extLst>
              <a:ext uri="{FF2B5EF4-FFF2-40B4-BE49-F238E27FC236}">
                <a16:creationId xmlns:a16="http://schemas.microsoft.com/office/drawing/2014/main" id="{9047D8A8-6AB6-FC6A-2FB6-CA85481D9C98}"/>
              </a:ext>
            </a:extLst>
          </p:cNvPr>
          <p:cNvGrpSpPr>
            <a:grpSpLocks noChangeAspect="1"/>
          </p:cNvGrpSpPr>
          <p:nvPr userDrawn="1"/>
        </p:nvGrpSpPr>
        <p:grpSpPr>
          <a:xfrm>
            <a:off x="3712287" y="2028824"/>
            <a:ext cx="8189166" cy="3886201"/>
            <a:chOff x="6794348" y="2981313"/>
            <a:chExt cx="10858500" cy="5152944"/>
          </a:xfrm>
        </p:grpSpPr>
        <p:pic>
          <p:nvPicPr>
            <p:cNvPr id="17" name="Picture 1">
              <a:extLst>
                <a:ext uri="{FF2B5EF4-FFF2-40B4-BE49-F238E27FC236}">
                  <a16:creationId xmlns:a16="http://schemas.microsoft.com/office/drawing/2014/main" id="{B07A22B1-AAD6-49D6-D345-A119C93C635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439" t="13191" r="6454" b="12766"/>
            <a:stretch/>
          </p:blipFill>
          <p:spPr>
            <a:xfrm>
              <a:off x="8360771" y="2981313"/>
              <a:ext cx="8081254" cy="4980420"/>
            </a:xfrm>
            <a:prstGeom prst="rect">
              <a:avLst/>
            </a:prstGeom>
          </p:spPr>
        </p:pic>
        <p:sp>
          <p:nvSpPr>
            <p:cNvPr id="18" name="Oval 36">
              <a:extLst>
                <a:ext uri="{FF2B5EF4-FFF2-40B4-BE49-F238E27FC236}">
                  <a16:creationId xmlns:a16="http://schemas.microsoft.com/office/drawing/2014/main" id="{A66881C3-A390-20C0-CA8E-E4189B4028A1}"/>
                </a:ext>
              </a:extLst>
            </p:cNvPr>
            <p:cNvSpPr/>
            <p:nvPr/>
          </p:nvSpPr>
          <p:spPr>
            <a:xfrm>
              <a:off x="6794348" y="7789209"/>
              <a:ext cx="10858500" cy="345048"/>
            </a:xfrm>
            <a:prstGeom prst="ellipse">
              <a:avLst/>
            </a:prstGeom>
            <a:gradFill flip="none" rotWithShape="1">
              <a:gsLst>
                <a:gs pos="61000">
                  <a:schemeClr val="tx1">
                    <a:lumMod val="95000"/>
                    <a:lumOff val="5000"/>
                    <a:alpha val="61000"/>
                  </a:schemeClr>
                </a:gs>
                <a:gs pos="100000">
                  <a:schemeClr val="tx1">
                    <a:lumMod val="46000"/>
                    <a:lumOff val="54000"/>
                    <a:alpha val="0"/>
                  </a:schemeClr>
                </a:gs>
              </a:gsLst>
              <a:path path="shap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50"/>
            </a:p>
          </p:txBody>
        </p:sp>
        <p:sp>
          <p:nvSpPr>
            <p:cNvPr id="19" name="Oval 37">
              <a:extLst>
                <a:ext uri="{FF2B5EF4-FFF2-40B4-BE49-F238E27FC236}">
                  <a16:creationId xmlns:a16="http://schemas.microsoft.com/office/drawing/2014/main" id="{9008BD6C-A259-B02C-B56C-DE981BA16845}"/>
                </a:ext>
              </a:extLst>
            </p:cNvPr>
            <p:cNvSpPr/>
            <p:nvPr/>
          </p:nvSpPr>
          <p:spPr>
            <a:xfrm>
              <a:off x="7340600" y="7789209"/>
              <a:ext cx="9765997" cy="345048"/>
            </a:xfrm>
            <a:prstGeom prst="ellipse">
              <a:avLst/>
            </a:prstGeom>
            <a:gradFill flip="none" rotWithShape="1">
              <a:gsLst>
                <a:gs pos="36000">
                  <a:schemeClr val="tx1">
                    <a:lumMod val="96000"/>
                    <a:lumOff val="4000"/>
                  </a:schemeClr>
                </a:gs>
                <a:gs pos="100000">
                  <a:schemeClr val="tx1">
                    <a:lumMod val="37000"/>
                    <a:lumOff val="63000"/>
                    <a:alpha val="0"/>
                  </a:schemeClr>
                </a:gs>
              </a:gsLst>
              <a:path path="shap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50"/>
            </a:p>
          </p:txBody>
        </p:sp>
      </p:grpSp>
      <p:sp>
        <p:nvSpPr>
          <p:cNvPr id="4" name="Picture Placeholder 3"/>
          <p:cNvSpPr>
            <a:spLocks noGrp="1"/>
          </p:cNvSpPr>
          <p:nvPr>
            <p:ph type="pic" sz="quarter" idx="10"/>
          </p:nvPr>
        </p:nvSpPr>
        <p:spPr>
          <a:xfrm>
            <a:off x="5752868" y="2416142"/>
            <a:ext cx="4393215" cy="2752933"/>
          </a:xfrm>
          <a:solidFill>
            <a:schemeClr val="accent1">
              <a:lumMod val="20000"/>
              <a:lumOff val="80000"/>
            </a:schemeClr>
          </a:solidFill>
        </p:spPr>
        <p:txBody>
          <a:bodyPr/>
          <a:lstStyle/>
          <a:p>
            <a:r>
              <a:rPr lang="nl-NL"/>
              <a:t>Klik op het pictogram als u een afbeelding wilt toevoegen</a:t>
            </a:r>
            <a:endParaRPr lang="en-GB"/>
          </a:p>
        </p:txBody>
      </p:sp>
      <p:sp>
        <p:nvSpPr>
          <p:cNvPr id="3" name="Titel 13">
            <a:extLst>
              <a:ext uri="{FF2B5EF4-FFF2-40B4-BE49-F238E27FC236}">
                <a16:creationId xmlns:a16="http://schemas.microsoft.com/office/drawing/2014/main" id="{B3E79A27-B5F7-34AD-28D5-6E59F96EE359}"/>
              </a:ext>
            </a:extLst>
          </p:cNvPr>
          <p:cNvSpPr>
            <a:spLocks noGrp="1"/>
          </p:cNvSpPr>
          <p:nvPr>
            <p:ph type="title" hasCustomPrompt="1"/>
          </p:nvPr>
        </p:nvSpPr>
        <p:spPr>
          <a:xfrm>
            <a:off x="550863" y="549276"/>
            <a:ext cx="6550025" cy="827087"/>
          </a:xfrm>
        </p:spPr>
        <p:txBody>
          <a:bodyPr/>
          <a:lstStyle/>
          <a:p>
            <a:r>
              <a:rPr lang="nl-NL"/>
              <a:t>CLICK TO EDIT </a:t>
            </a:r>
            <a:endParaRPr lang="en-GB"/>
          </a:p>
        </p:txBody>
      </p:sp>
      <p:sp>
        <p:nvSpPr>
          <p:cNvPr id="5" name="Slide Number Placeholder 5">
            <a:extLst>
              <a:ext uri="{FF2B5EF4-FFF2-40B4-BE49-F238E27FC236}">
                <a16:creationId xmlns:a16="http://schemas.microsoft.com/office/drawing/2014/main" id="{63C75C0B-3EE0-B810-656A-456A569874A5}"/>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EB6EC507-A35E-A31D-6637-E02204691370}"/>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7" name="Segnaposto testo 4">
            <a:extLst>
              <a:ext uri="{FF2B5EF4-FFF2-40B4-BE49-F238E27FC236}">
                <a16:creationId xmlns:a16="http://schemas.microsoft.com/office/drawing/2014/main" id="{0052D1FD-54BC-4A38-6B3D-2A3FC8978D37}"/>
              </a:ext>
            </a:extLst>
          </p:cNvPr>
          <p:cNvSpPr>
            <a:spLocks noGrp="1"/>
          </p:cNvSpPr>
          <p:nvPr>
            <p:ph type="body" sz="quarter" idx="15" hasCustomPrompt="1"/>
          </p:nvPr>
        </p:nvSpPr>
        <p:spPr>
          <a:xfrm>
            <a:off x="1113607" y="2471731"/>
            <a:ext cx="3780032"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8" name="Freeform 23">
            <a:extLst>
              <a:ext uri="{FF2B5EF4-FFF2-40B4-BE49-F238E27FC236}">
                <a16:creationId xmlns:a16="http://schemas.microsoft.com/office/drawing/2014/main" id="{8B19BE6A-918A-10ED-DCCF-3EF37F5AE0B7}"/>
              </a:ext>
            </a:extLst>
          </p:cNvPr>
          <p:cNvSpPr>
            <a:spLocks noChangeAspect="1" noChangeArrowheads="1"/>
          </p:cNvSpPr>
          <p:nvPr userDrawn="1"/>
        </p:nvSpPr>
        <p:spPr bwMode="auto">
          <a:xfrm>
            <a:off x="553085" y="2578887"/>
            <a:ext cx="401052" cy="371475"/>
          </a:xfrm>
          <a:custGeom>
            <a:avLst/>
            <a:gdLst>
              <a:gd name="T0" fmla="*/ 414 w 829"/>
              <a:gd name="T1" fmla="*/ 0 h 829"/>
              <a:gd name="T2" fmla="*/ 414 w 829"/>
              <a:gd name="T3" fmla="*/ 0 h 829"/>
              <a:gd name="T4" fmla="*/ 0 w 829"/>
              <a:gd name="T5" fmla="*/ 414 h 829"/>
              <a:gd name="T6" fmla="*/ 414 w 829"/>
              <a:gd name="T7" fmla="*/ 828 h 829"/>
              <a:gd name="T8" fmla="*/ 828 w 829"/>
              <a:gd name="T9" fmla="*/ 414 h 829"/>
              <a:gd name="T10" fmla="*/ 414 w 829"/>
              <a:gd name="T11" fmla="*/ 0 h 829"/>
              <a:gd name="T12" fmla="*/ 414 w 829"/>
              <a:gd name="T13" fmla="*/ 38 h 829"/>
              <a:gd name="T14" fmla="*/ 414 w 829"/>
              <a:gd name="T15" fmla="*/ 38 h 829"/>
              <a:gd name="T16" fmla="*/ 668 w 829"/>
              <a:gd name="T17" fmla="*/ 136 h 829"/>
              <a:gd name="T18" fmla="*/ 574 w 829"/>
              <a:gd name="T19" fmla="*/ 231 h 829"/>
              <a:gd name="T20" fmla="*/ 414 w 829"/>
              <a:gd name="T21" fmla="*/ 169 h 829"/>
              <a:gd name="T22" fmla="*/ 254 w 829"/>
              <a:gd name="T23" fmla="*/ 231 h 829"/>
              <a:gd name="T24" fmla="*/ 160 w 829"/>
              <a:gd name="T25" fmla="*/ 136 h 829"/>
              <a:gd name="T26" fmla="*/ 414 w 829"/>
              <a:gd name="T27" fmla="*/ 38 h 829"/>
              <a:gd name="T28" fmla="*/ 621 w 829"/>
              <a:gd name="T29" fmla="*/ 414 h 829"/>
              <a:gd name="T30" fmla="*/ 621 w 829"/>
              <a:gd name="T31" fmla="*/ 414 h 829"/>
              <a:gd name="T32" fmla="*/ 414 w 829"/>
              <a:gd name="T33" fmla="*/ 621 h 829"/>
              <a:gd name="T34" fmla="*/ 207 w 829"/>
              <a:gd name="T35" fmla="*/ 414 h 829"/>
              <a:gd name="T36" fmla="*/ 414 w 829"/>
              <a:gd name="T37" fmla="*/ 207 h 829"/>
              <a:gd name="T38" fmla="*/ 621 w 829"/>
              <a:gd name="T39" fmla="*/ 414 h 829"/>
              <a:gd name="T40" fmla="*/ 38 w 829"/>
              <a:gd name="T41" fmla="*/ 414 h 829"/>
              <a:gd name="T42" fmla="*/ 38 w 829"/>
              <a:gd name="T43" fmla="*/ 414 h 829"/>
              <a:gd name="T44" fmla="*/ 136 w 829"/>
              <a:gd name="T45" fmla="*/ 160 h 829"/>
              <a:gd name="T46" fmla="*/ 230 w 829"/>
              <a:gd name="T47" fmla="*/ 254 h 829"/>
              <a:gd name="T48" fmla="*/ 169 w 829"/>
              <a:gd name="T49" fmla="*/ 414 h 829"/>
              <a:gd name="T50" fmla="*/ 230 w 829"/>
              <a:gd name="T51" fmla="*/ 574 h 829"/>
              <a:gd name="T52" fmla="*/ 136 w 829"/>
              <a:gd name="T53" fmla="*/ 668 h 829"/>
              <a:gd name="T54" fmla="*/ 38 w 829"/>
              <a:gd name="T55" fmla="*/ 414 h 829"/>
              <a:gd name="T56" fmla="*/ 414 w 829"/>
              <a:gd name="T57" fmla="*/ 790 h 829"/>
              <a:gd name="T58" fmla="*/ 414 w 829"/>
              <a:gd name="T59" fmla="*/ 790 h 829"/>
              <a:gd name="T60" fmla="*/ 160 w 829"/>
              <a:gd name="T61" fmla="*/ 692 h 829"/>
              <a:gd name="T62" fmla="*/ 254 w 829"/>
              <a:gd name="T63" fmla="*/ 597 h 829"/>
              <a:gd name="T64" fmla="*/ 414 w 829"/>
              <a:gd name="T65" fmla="*/ 659 h 829"/>
              <a:gd name="T66" fmla="*/ 574 w 829"/>
              <a:gd name="T67" fmla="*/ 597 h 829"/>
              <a:gd name="T68" fmla="*/ 668 w 829"/>
              <a:gd name="T69" fmla="*/ 692 h 829"/>
              <a:gd name="T70" fmla="*/ 414 w 829"/>
              <a:gd name="T71" fmla="*/ 790 h 829"/>
              <a:gd name="T72" fmla="*/ 691 w 829"/>
              <a:gd name="T73" fmla="*/ 668 h 829"/>
              <a:gd name="T74" fmla="*/ 691 w 829"/>
              <a:gd name="T75" fmla="*/ 668 h 829"/>
              <a:gd name="T76" fmla="*/ 598 w 829"/>
              <a:gd name="T77" fmla="*/ 574 h 829"/>
              <a:gd name="T78" fmla="*/ 658 w 829"/>
              <a:gd name="T79" fmla="*/ 414 h 829"/>
              <a:gd name="T80" fmla="*/ 598 w 829"/>
              <a:gd name="T81" fmla="*/ 254 h 829"/>
              <a:gd name="T82" fmla="*/ 691 w 829"/>
              <a:gd name="T83" fmla="*/ 160 h 829"/>
              <a:gd name="T84" fmla="*/ 790 w 829"/>
              <a:gd name="T85" fmla="*/ 414 h 829"/>
              <a:gd name="T86" fmla="*/ 691 w 829"/>
              <a:gd name="T87" fmla="*/ 6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9" h="829">
                <a:moveTo>
                  <a:pt x="414" y="0"/>
                </a:moveTo>
                <a:lnTo>
                  <a:pt x="414" y="0"/>
                </a:lnTo>
                <a:cubicBezTo>
                  <a:pt x="183" y="0"/>
                  <a:pt x="0" y="184"/>
                  <a:pt x="0" y="414"/>
                </a:cubicBezTo>
                <a:cubicBezTo>
                  <a:pt x="0" y="644"/>
                  <a:pt x="183" y="828"/>
                  <a:pt x="414" y="828"/>
                </a:cubicBezTo>
                <a:cubicBezTo>
                  <a:pt x="644" y="828"/>
                  <a:pt x="828" y="644"/>
                  <a:pt x="828" y="414"/>
                </a:cubicBezTo>
                <a:cubicBezTo>
                  <a:pt x="828" y="184"/>
                  <a:pt x="644" y="0"/>
                  <a:pt x="414" y="0"/>
                </a:cubicBezTo>
                <a:close/>
                <a:moveTo>
                  <a:pt x="414" y="38"/>
                </a:moveTo>
                <a:lnTo>
                  <a:pt x="414" y="38"/>
                </a:lnTo>
                <a:cubicBezTo>
                  <a:pt x="513" y="38"/>
                  <a:pt x="598" y="75"/>
                  <a:pt x="668" y="136"/>
                </a:cubicBezTo>
                <a:cubicBezTo>
                  <a:pt x="574" y="231"/>
                  <a:pt x="605" y="199"/>
                  <a:pt x="574" y="231"/>
                </a:cubicBezTo>
                <a:cubicBezTo>
                  <a:pt x="532" y="193"/>
                  <a:pt x="475" y="169"/>
                  <a:pt x="414" y="169"/>
                </a:cubicBezTo>
                <a:cubicBezTo>
                  <a:pt x="353" y="169"/>
                  <a:pt x="296" y="193"/>
                  <a:pt x="254" y="231"/>
                </a:cubicBezTo>
                <a:cubicBezTo>
                  <a:pt x="160" y="136"/>
                  <a:pt x="191" y="167"/>
                  <a:pt x="160" y="136"/>
                </a:cubicBezTo>
                <a:cubicBezTo>
                  <a:pt x="230" y="75"/>
                  <a:pt x="315" y="38"/>
                  <a:pt x="414" y="38"/>
                </a:cubicBezTo>
                <a:close/>
                <a:moveTo>
                  <a:pt x="621" y="414"/>
                </a:moveTo>
                <a:lnTo>
                  <a:pt x="621" y="414"/>
                </a:lnTo>
                <a:cubicBezTo>
                  <a:pt x="621" y="527"/>
                  <a:pt x="527" y="621"/>
                  <a:pt x="414" y="621"/>
                </a:cubicBezTo>
                <a:cubicBezTo>
                  <a:pt x="301" y="621"/>
                  <a:pt x="207" y="527"/>
                  <a:pt x="207" y="414"/>
                </a:cubicBezTo>
                <a:cubicBezTo>
                  <a:pt x="207" y="301"/>
                  <a:pt x="301" y="207"/>
                  <a:pt x="414" y="207"/>
                </a:cubicBezTo>
                <a:cubicBezTo>
                  <a:pt x="527" y="207"/>
                  <a:pt x="621" y="301"/>
                  <a:pt x="621" y="414"/>
                </a:cubicBezTo>
                <a:close/>
                <a:moveTo>
                  <a:pt x="38" y="414"/>
                </a:moveTo>
                <a:lnTo>
                  <a:pt x="38" y="414"/>
                </a:lnTo>
                <a:cubicBezTo>
                  <a:pt x="38" y="315"/>
                  <a:pt x="75" y="231"/>
                  <a:pt x="136" y="160"/>
                </a:cubicBezTo>
                <a:cubicBezTo>
                  <a:pt x="230" y="254"/>
                  <a:pt x="198" y="222"/>
                  <a:pt x="230" y="254"/>
                </a:cubicBezTo>
                <a:cubicBezTo>
                  <a:pt x="193" y="297"/>
                  <a:pt x="169" y="353"/>
                  <a:pt x="169" y="414"/>
                </a:cubicBezTo>
                <a:cubicBezTo>
                  <a:pt x="169" y="475"/>
                  <a:pt x="193" y="531"/>
                  <a:pt x="230" y="574"/>
                </a:cubicBezTo>
                <a:cubicBezTo>
                  <a:pt x="136" y="668"/>
                  <a:pt x="167" y="636"/>
                  <a:pt x="136" y="668"/>
                </a:cubicBezTo>
                <a:cubicBezTo>
                  <a:pt x="75" y="597"/>
                  <a:pt x="38" y="513"/>
                  <a:pt x="38" y="414"/>
                </a:cubicBezTo>
                <a:close/>
                <a:moveTo>
                  <a:pt x="414" y="790"/>
                </a:moveTo>
                <a:lnTo>
                  <a:pt x="414" y="790"/>
                </a:lnTo>
                <a:cubicBezTo>
                  <a:pt x="315" y="790"/>
                  <a:pt x="230" y="753"/>
                  <a:pt x="160" y="692"/>
                </a:cubicBezTo>
                <a:cubicBezTo>
                  <a:pt x="254" y="597"/>
                  <a:pt x="222" y="628"/>
                  <a:pt x="254" y="597"/>
                </a:cubicBezTo>
                <a:cubicBezTo>
                  <a:pt x="296" y="635"/>
                  <a:pt x="353" y="659"/>
                  <a:pt x="414" y="659"/>
                </a:cubicBezTo>
                <a:cubicBezTo>
                  <a:pt x="475" y="659"/>
                  <a:pt x="532" y="635"/>
                  <a:pt x="574" y="597"/>
                </a:cubicBezTo>
                <a:cubicBezTo>
                  <a:pt x="668" y="692"/>
                  <a:pt x="636" y="660"/>
                  <a:pt x="668" y="692"/>
                </a:cubicBezTo>
                <a:cubicBezTo>
                  <a:pt x="598" y="753"/>
                  <a:pt x="513" y="790"/>
                  <a:pt x="414" y="790"/>
                </a:cubicBezTo>
                <a:close/>
                <a:moveTo>
                  <a:pt x="691" y="668"/>
                </a:moveTo>
                <a:lnTo>
                  <a:pt x="691" y="668"/>
                </a:lnTo>
                <a:cubicBezTo>
                  <a:pt x="598" y="574"/>
                  <a:pt x="629" y="605"/>
                  <a:pt x="598" y="574"/>
                </a:cubicBezTo>
                <a:cubicBezTo>
                  <a:pt x="635" y="531"/>
                  <a:pt x="658" y="475"/>
                  <a:pt x="658" y="414"/>
                </a:cubicBezTo>
                <a:cubicBezTo>
                  <a:pt x="658" y="353"/>
                  <a:pt x="635" y="297"/>
                  <a:pt x="598" y="254"/>
                </a:cubicBezTo>
                <a:cubicBezTo>
                  <a:pt x="691" y="160"/>
                  <a:pt x="660" y="191"/>
                  <a:pt x="691" y="160"/>
                </a:cubicBezTo>
                <a:cubicBezTo>
                  <a:pt x="752" y="231"/>
                  <a:pt x="790" y="315"/>
                  <a:pt x="790" y="414"/>
                </a:cubicBezTo>
                <a:cubicBezTo>
                  <a:pt x="790" y="513"/>
                  <a:pt x="752" y="597"/>
                  <a:pt x="691" y="668"/>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9" name="Freeform 30">
            <a:extLst>
              <a:ext uri="{FF2B5EF4-FFF2-40B4-BE49-F238E27FC236}">
                <a16:creationId xmlns:a16="http://schemas.microsoft.com/office/drawing/2014/main" id="{AB1A40DF-577D-5A21-DA66-CAA1D9A12A47}"/>
              </a:ext>
            </a:extLst>
          </p:cNvPr>
          <p:cNvSpPr>
            <a:spLocks noChangeAspect="1" noChangeArrowheads="1"/>
          </p:cNvSpPr>
          <p:nvPr userDrawn="1"/>
        </p:nvSpPr>
        <p:spPr bwMode="auto">
          <a:xfrm>
            <a:off x="539872" y="3619299"/>
            <a:ext cx="427182" cy="359899"/>
          </a:xfrm>
          <a:custGeom>
            <a:avLst/>
            <a:gdLst>
              <a:gd name="T0" fmla="*/ 828 w 829"/>
              <a:gd name="T1" fmla="*/ 254 h 753"/>
              <a:gd name="T2" fmla="*/ 828 w 829"/>
              <a:gd name="T3" fmla="*/ 254 h 753"/>
              <a:gd name="T4" fmla="*/ 527 w 829"/>
              <a:gd name="T5" fmla="*/ 0 h 753"/>
              <a:gd name="T6" fmla="*/ 250 w 829"/>
              <a:gd name="T7" fmla="*/ 155 h 753"/>
              <a:gd name="T8" fmla="*/ 297 w 829"/>
              <a:gd name="T9" fmla="*/ 150 h 753"/>
              <a:gd name="T10" fmla="*/ 527 w 829"/>
              <a:gd name="T11" fmla="*/ 37 h 753"/>
              <a:gd name="T12" fmla="*/ 791 w 829"/>
              <a:gd name="T13" fmla="*/ 254 h 753"/>
              <a:gd name="T14" fmla="*/ 711 w 829"/>
              <a:gd name="T15" fmla="*/ 409 h 753"/>
              <a:gd name="T16" fmla="*/ 701 w 829"/>
              <a:gd name="T17" fmla="*/ 446 h 753"/>
              <a:gd name="T18" fmla="*/ 715 w 829"/>
              <a:gd name="T19" fmla="*/ 503 h 753"/>
              <a:gd name="T20" fmla="*/ 635 w 829"/>
              <a:gd name="T21" fmla="*/ 470 h 753"/>
              <a:gd name="T22" fmla="*/ 631 w 829"/>
              <a:gd name="T23" fmla="*/ 508 h 753"/>
              <a:gd name="T24" fmla="*/ 772 w 829"/>
              <a:gd name="T25" fmla="*/ 564 h 753"/>
              <a:gd name="T26" fmla="*/ 734 w 829"/>
              <a:gd name="T27" fmla="*/ 437 h 753"/>
              <a:gd name="T28" fmla="*/ 828 w 829"/>
              <a:gd name="T29" fmla="*/ 254 h 753"/>
              <a:gd name="T30" fmla="*/ 301 w 829"/>
              <a:gd name="T31" fmla="*/ 188 h 753"/>
              <a:gd name="T32" fmla="*/ 301 w 829"/>
              <a:gd name="T33" fmla="*/ 188 h 753"/>
              <a:gd name="T34" fmla="*/ 0 w 829"/>
              <a:gd name="T35" fmla="*/ 442 h 753"/>
              <a:gd name="T36" fmla="*/ 94 w 829"/>
              <a:gd name="T37" fmla="*/ 625 h 753"/>
              <a:gd name="T38" fmla="*/ 57 w 829"/>
              <a:gd name="T39" fmla="*/ 752 h 753"/>
              <a:gd name="T40" fmla="*/ 226 w 829"/>
              <a:gd name="T41" fmla="*/ 687 h 753"/>
              <a:gd name="T42" fmla="*/ 301 w 829"/>
              <a:gd name="T43" fmla="*/ 696 h 753"/>
              <a:gd name="T44" fmla="*/ 602 w 829"/>
              <a:gd name="T45" fmla="*/ 442 h 753"/>
              <a:gd name="T46" fmla="*/ 301 w 829"/>
              <a:gd name="T47" fmla="*/ 188 h 753"/>
              <a:gd name="T48" fmla="*/ 301 w 829"/>
              <a:gd name="T49" fmla="*/ 658 h 753"/>
              <a:gd name="T50" fmla="*/ 301 w 829"/>
              <a:gd name="T51" fmla="*/ 658 h 753"/>
              <a:gd name="T52" fmla="*/ 236 w 829"/>
              <a:gd name="T53" fmla="*/ 649 h 753"/>
              <a:gd name="T54" fmla="*/ 226 w 829"/>
              <a:gd name="T55" fmla="*/ 649 h 753"/>
              <a:gd name="T56" fmla="*/ 212 w 829"/>
              <a:gd name="T57" fmla="*/ 654 h 753"/>
              <a:gd name="T58" fmla="*/ 113 w 829"/>
              <a:gd name="T59" fmla="*/ 691 h 753"/>
              <a:gd name="T60" fmla="*/ 127 w 829"/>
              <a:gd name="T61" fmla="*/ 635 h 753"/>
              <a:gd name="T62" fmla="*/ 118 w 829"/>
              <a:gd name="T63" fmla="*/ 597 h 753"/>
              <a:gd name="T64" fmla="*/ 38 w 829"/>
              <a:gd name="T65" fmla="*/ 442 h 753"/>
              <a:gd name="T66" fmla="*/ 301 w 829"/>
              <a:gd name="T67" fmla="*/ 226 h 753"/>
              <a:gd name="T68" fmla="*/ 565 w 829"/>
              <a:gd name="T69" fmla="*/ 442 h 753"/>
              <a:gd name="T70" fmla="*/ 301 w 829"/>
              <a:gd name="T71" fmla="*/ 658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9" h="753">
                <a:moveTo>
                  <a:pt x="828" y="254"/>
                </a:moveTo>
                <a:lnTo>
                  <a:pt x="828" y="254"/>
                </a:lnTo>
                <a:cubicBezTo>
                  <a:pt x="828" y="113"/>
                  <a:pt x="692" y="0"/>
                  <a:pt x="527" y="0"/>
                </a:cubicBezTo>
                <a:cubicBezTo>
                  <a:pt x="405" y="0"/>
                  <a:pt x="297" y="61"/>
                  <a:pt x="250" y="155"/>
                </a:cubicBezTo>
                <a:cubicBezTo>
                  <a:pt x="264" y="150"/>
                  <a:pt x="283" y="150"/>
                  <a:pt x="297" y="150"/>
                </a:cubicBezTo>
                <a:cubicBezTo>
                  <a:pt x="339" y="84"/>
                  <a:pt x="428" y="37"/>
                  <a:pt x="527" y="37"/>
                </a:cubicBezTo>
                <a:cubicBezTo>
                  <a:pt x="673" y="37"/>
                  <a:pt x="791" y="136"/>
                  <a:pt x="791" y="254"/>
                </a:cubicBezTo>
                <a:cubicBezTo>
                  <a:pt x="791" y="310"/>
                  <a:pt x="762" y="366"/>
                  <a:pt x="711" y="409"/>
                </a:cubicBezTo>
                <a:cubicBezTo>
                  <a:pt x="701" y="418"/>
                  <a:pt x="696" y="432"/>
                  <a:pt x="701" y="446"/>
                </a:cubicBezTo>
                <a:cubicBezTo>
                  <a:pt x="715" y="503"/>
                  <a:pt x="710" y="484"/>
                  <a:pt x="715" y="503"/>
                </a:cubicBezTo>
                <a:cubicBezTo>
                  <a:pt x="635" y="470"/>
                  <a:pt x="662" y="481"/>
                  <a:pt x="635" y="470"/>
                </a:cubicBezTo>
                <a:cubicBezTo>
                  <a:pt x="635" y="484"/>
                  <a:pt x="631" y="498"/>
                  <a:pt x="631" y="508"/>
                </a:cubicBezTo>
                <a:cubicBezTo>
                  <a:pt x="772" y="564"/>
                  <a:pt x="725" y="545"/>
                  <a:pt x="772" y="564"/>
                </a:cubicBezTo>
                <a:cubicBezTo>
                  <a:pt x="734" y="437"/>
                  <a:pt x="747" y="479"/>
                  <a:pt x="734" y="437"/>
                </a:cubicBezTo>
                <a:cubicBezTo>
                  <a:pt x="791" y="390"/>
                  <a:pt x="828" y="324"/>
                  <a:pt x="828" y="254"/>
                </a:cubicBezTo>
                <a:close/>
                <a:moveTo>
                  <a:pt x="301" y="188"/>
                </a:moveTo>
                <a:lnTo>
                  <a:pt x="301" y="188"/>
                </a:lnTo>
                <a:cubicBezTo>
                  <a:pt x="137" y="188"/>
                  <a:pt x="0" y="301"/>
                  <a:pt x="0" y="442"/>
                </a:cubicBezTo>
                <a:cubicBezTo>
                  <a:pt x="0" y="512"/>
                  <a:pt x="38" y="578"/>
                  <a:pt x="94" y="625"/>
                </a:cubicBezTo>
                <a:cubicBezTo>
                  <a:pt x="57" y="752"/>
                  <a:pt x="70" y="709"/>
                  <a:pt x="57" y="752"/>
                </a:cubicBezTo>
                <a:cubicBezTo>
                  <a:pt x="226" y="687"/>
                  <a:pt x="170" y="708"/>
                  <a:pt x="226" y="687"/>
                </a:cubicBezTo>
                <a:cubicBezTo>
                  <a:pt x="250" y="691"/>
                  <a:pt x="273" y="696"/>
                  <a:pt x="301" y="696"/>
                </a:cubicBezTo>
                <a:cubicBezTo>
                  <a:pt x="466" y="696"/>
                  <a:pt x="602" y="583"/>
                  <a:pt x="602" y="442"/>
                </a:cubicBezTo>
                <a:cubicBezTo>
                  <a:pt x="602" y="301"/>
                  <a:pt x="466" y="188"/>
                  <a:pt x="301" y="188"/>
                </a:cubicBezTo>
                <a:close/>
                <a:moveTo>
                  <a:pt x="301" y="658"/>
                </a:moveTo>
                <a:lnTo>
                  <a:pt x="301" y="658"/>
                </a:lnTo>
                <a:cubicBezTo>
                  <a:pt x="278" y="658"/>
                  <a:pt x="254" y="654"/>
                  <a:pt x="236" y="649"/>
                </a:cubicBezTo>
                <a:cubicBezTo>
                  <a:pt x="231" y="649"/>
                  <a:pt x="230" y="649"/>
                  <a:pt x="226" y="649"/>
                </a:cubicBezTo>
                <a:cubicBezTo>
                  <a:pt x="221" y="649"/>
                  <a:pt x="217" y="649"/>
                  <a:pt x="212" y="654"/>
                </a:cubicBezTo>
                <a:cubicBezTo>
                  <a:pt x="113" y="691"/>
                  <a:pt x="146" y="678"/>
                  <a:pt x="113" y="691"/>
                </a:cubicBezTo>
                <a:cubicBezTo>
                  <a:pt x="127" y="635"/>
                  <a:pt x="123" y="653"/>
                  <a:pt x="127" y="635"/>
                </a:cubicBezTo>
                <a:cubicBezTo>
                  <a:pt x="132" y="621"/>
                  <a:pt x="127" y="606"/>
                  <a:pt x="118" y="597"/>
                </a:cubicBezTo>
                <a:cubicBezTo>
                  <a:pt x="66" y="555"/>
                  <a:pt x="38" y="498"/>
                  <a:pt x="38" y="442"/>
                </a:cubicBezTo>
                <a:cubicBezTo>
                  <a:pt x="38" y="324"/>
                  <a:pt x="155" y="226"/>
                  <a:pt x="301" y="226"/>
                </a:cubicBezTo>
                <a:cubicBezTo>
                  <a:pt x="447" y="226"/>
                  <a:pt x="565" y="324"/>
                  <a:pt x="565" y="442"/>
                </a:cubicBezTo>
                <a:cubicBezTo>
                  <a:pt x="565" y="559"/>
                  <a:pt x="447" y="658"/>
                  <a:pt x="301" y="658"/>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10" name="Freeform 79">
            <a:extLst>
              <a:ext uri="{FF2B5EF4-FFF2-40B4-BE49-F238E27FC236}">
                <a16:creationId xmlns:a16="http://schemas.microsoft.com/office/drawing/2014/main" id="{C34E3F8D-2691-3B61-DA91-138756115FB4}"/>
              </a:ext>
            </a:extLst>
          </p:cNvPr>
          <p:cNvSpPr>
            <a:spLocks noChangeAspect="1" noChangeArrowheads="1"/>
          </p:cNvSpPr>
          <p:nvPr userDrawn="1"/>
        </p:nvSpPr>
        <p:spPr bwMode="auto">
          <a:xfrm>
            <a:off x="550863" y="4662705"/>
            <a:ext cx="403451" cy="339905"/>
          </a:xfrm>
          <a:custGeom>
            <a:avLst/>
            <a:gdLst>
              <a:gd name="T0" fmla="*/ 207 w 829"/>
              <a:gd name="T1" fmla="*/ 339 h 753"/>
              <a:gd name="T2" fmla="*/ 338 w 829"/>
              <a:gd name="T3" fmla="*/ 320 h 753"/>
              <a:gd name="T4" fmla="*/ 207 w 829"/>
              <a:gd name="T5" fmla="*/ 301 h 753"/>
              <a:gd name="T6" fmla="*/ 207 w 829"/>
              <a:gd name="T7" fmla="*/ 339 h 753"/>
              <a:gd name="T8" fmla="*/ 790 w 829"/>
              <a:gd name="T9" fmla="*/ 75 h 753"/>
              <a:gd name="T10" fmla="*/ 526 w 829"/>
              <a:gd name="T11" fmla="*/ 0 h 753"/>
              <a:gd name="T12" fmla="*/ 376 w 829"/>
              <a:gd name="T13" fmla="*/ 75 h 753"/>
              <a:gd name="T14" fmla="*/ 150 w 829"/>
              <a:gd name="T15" fmla="*/ 113 h 753"/>
              <a:gd name="T16" fmla="*/ 169 w 829"/>
              <a:gd name="T17" fmla="*/ 188 h 753"/>
              <a:gd name="T18" fmla="*/ 188 w 829"/>
              <a:gd name="T19" fmla="*/ 113 h 753"/>
              <a:gd name="T20" fmla="*/ 790 w 829"/>
              <a:gd name="T21" fmla="*/ 564 h 753"/>
              <a:gd name="T22" fmla="*/ 715 w 829"/>
              <a:gd name="T23" fmla="*/ 583 h 753"/>
              <a:gd name="T24" fmla="*/ 790 w 829"/>
              <a:gd name="T25" fmla="*/ 602 h 753"/>
              <a:gd name="T26" fmla="*/ 828 w 829"/>
              <a:gd name="T27" fmla="*/ 113 h 753"/>
              <a:gd name="T28" fmla="*/ 413 w 829"/>
              <a:gd name="T29" fmla="*/ 75 h 753"/>
              <a:gd name="T30" fmla="*/ 451 w 829"/>
              <a:gd name="T31" fmla="*/ 37 h 753"/>
              <a:gd name="T32" fmla="*/ 564 w 829"/>
              <a:gd name="T33" fmla="*/ 75 h 753"/>
              <a:gd name="T34" fmla="*/ 207 w 829"/>
              <a:gd name="T35" fmla="*/ 413 h 753"/>
              <a:gd name="T36" fmla="*/ 244 w 829"/>
              <a:gd name="T37" fmla="*/ 413 h 753"/>
              <a:gd name="T38" fmla="*/ 244 w 829"/>
              <a:gd name="T39" fmla="*/ 376 h 753"/>
              <a:gd name="T40" fmla="*/ 188 w 829"/>
              <a:gd name="T41" fmla="*/ 395 h 753"/>
              <a:gd name="T42" fmla="*/ 639 w 829"/>
              <a:gd name="T43" fmla="*/ 226 h 753"/>
              <a:gd name="T44" fmla="*/ 451 w 829"/>
              <a:gd name="T45" fmla="*/ 226 h 753"/>
              <a:gd name="T46" fmla="*/ 300 w 829"/>
              <a:gd name="T47" fmla="*/ 150 h 753"/>
              <a:gd name="T48" fmla="*/ 37 w 829"/>
              <a:gd name="T49" fmla="*/ 226 h 753"/>
              <a:gd name="T50" fmla="*/ 0 w 829"/>
              <a:gd name="T51" fmla="*/ 715 h 753"/>
              <a:gd name="T52" fmla="*/ 639 w 829"/>
              <a:gd name="T53" fmla="*/ 752 h 753"/>
              <a:gd name="T54" fmla="*/ 677 w 829"/>
              <a:gd name="T55" fmla="*/ 263 h 753"/>
              <a:gd name="T56" fmla="*/ 300 w 829"/>
              <a:gd name="T57" fmla="*/ 188 h 753"/>
              <a:gd name="T58" fmla="*/ 376 w 829"/>
              <a:gd name="T59" fmla="*/ 188 h 753"/>
              <a:gd name="T60" fmla="*/ 263 w 829"/>
              <a:gd name="T61" fmla="*/ 226 h 753"/>
              <a:gd name="T62" fmla="*/ 113 w 829"/>
              <a:gd name="T63" fmla="*/ 602 h 753"/>
              <a:gd name="T64" fmla="*/ 94 w 829"/>
              <a:gd name="T65" fmla="*/ 621 h 753"/>
              <a:gd name="T66" fmla="*/ 113 w 829"/>
              <a:gd name="T67" fmla="*/ 715 h 753"/>
              <a:gd name="T68" fmla="*/ 37 w 829"/>
              <a:gd name="T69" fmla="*/ 263 h 753"/>
              <a:gd name="T70" fmla="*/ 113 w 829"/>
              <a:gd name="T71" fmla="*/ 602 h 753"/>
              <a:gd name="T72" fmla="*/ 526 w 829"/>
              <a:gd name="T73" fmla="*/ 602 h 753"/>
              <a:gd name="T74" fmla="*/ 526 w 829"/>
              <a:gd name="T75" fmla="*/ 639 h 753"/>
              <a:gd name="T76" fmla="*/ 150 w 829"/>
              <a:gd name="T77" fmla="*/ 715 h 753"/>
              <a:gd name="T78" fmla="*/ 169 w 829"/>
              <a:gd name="T79" fmla="*/ 621 h 753"/>
              <a:gd name="T80" fmla="*/ 150 w 829"/>
              <a:gd name="T81" fmla="*/ 263 h 753"/>
              <a:gd name="T82" fmla="*/ 526 w 829"/>
              <a:gd name="T83" fmla="*/ 602 h 753"/>
              <a:gd name="T84" fmla="*/ 639 w 829"/>
              <a:gd name="T85" fmla="*/ 715 h 753"/>
              <a:gd name="T86" fmla="*/ 564 w 829"/>
              <a:gd name="T87" fmla="*/ 639 h 753"/>
              <a:gd name="T88" fmla="*/ 564 w 829"/>
              <a:gd name="T89" fmla="*/ 602 h 753"/>
              <a:gd name="T90" fmla="*/ 639 w 829"/>
              <a:gd name="T91" fmla="*/ 263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9" h="753">
                <a:moveTo>
                  <a:pt x="207" y="339"/>
                </a:moveTo>
                <a:lnTo>
                  <a:pt x="207" y="339"/>
                </a:lnTo>
                <a:cubicBezTo>
                  <a:pt x="319" y="339"/>
                  <a:pt x="282" y="339"/>
                  <a:pt x="319" y="339"/>
                </a:cubicBezTo>
                <a:cubicBezTo>
                  <a:pt x="329" y="339"/>
                  <a:pt x="338" y="329"/>
                  <a:pt x="338" y="320"/>
                </a:cubicBezTo>
                <a:cubicBezTo>
                  <a:pt x="338" y="310"/>
                  <a:pt x="329" y="301"/>
                  <a:pt x="319" y="301"/>
                </a:cubicBezTo>
                <a:cubicBezTo>
                  <a:pt x="207" y="301"/>
                  <a:pt x="245" y="301"/>
                  <a:pt x="207" y="301"/>
                </a:cubicBezTo>
                <a:cubicBezTo>
                  <a:pt x="197" y="301"/>
                  <a:pt x="188" y="310"/>
                  <a:pt x="188" y="320"/>
                </a:cubicBezTo>
                <a:cubicBezTo>
                  <a:pt x="188" y="329"/>
                  <a:pt x="197" y="339"/>
                  <a:pt x="207" y="339"/>
                </a:cubicBezTo>
                <a:close/>
                <a:moveTo>
                  <a:pt x="790" y="75"/>
                </a:moveTo>
                <a:lnTo>
                  <a:pt x="790" y="75"/>
                </a:lnTo>
                <a:cubicBezTo>
                  <a:pt x="602" y="75"/>
                  <a:pt x="665" y="75"/>
                  <a:pt x="602" y="75"/>
                </a:cubicBezTo>
                <a:cubicBezTo>
                  <a:pt x="602" y="33"/>
                  <a:pt x="569" y="0"/>
                  <a:pt x="526" y="0"/>
                </a:cubicBezTo>
                <a:cubicBezTo>
                  <a:pt x="451" y="0"/>
                  <a:pt x="476" y="0"/>
                  <a:pt x="451" y="0"/>
                </a:cubicBezTo>
                <a:cubicBezTo>
                  <a:pt x="409" y="0"/>
                  <a:pt x="376" y="33"/>
                  <a:pt x="376" y="75"/>
                </a:cubicBezTo>
                <a:cubicBezTo>
                  <a:pt x="188" y="75"/>
                  <a:pt x="251" y="75"/>
                  <a:pt x="188" y="75"/>
                </a:cubicBezTo>
                <a:cubicBezTo>
                  <a:pt x="169" y="75"/>
                  <a:pt x="150" y="94"/>
                  <a:pt x="150" y="113"/>
                </a:cubicBezTo>
                <a:cubicBezTo>
                  <a:pt x="150" y="169"/>
                  <a:pt x="150" y="151"/>
                  <a:pt x="150" y="169"/>
                </a:cubicBezTo>
                <a:cubicBezTo>
                  <a:pt x="150" y="179"/>
                  <a:pt x="160" y="188"/>
                  <a:pt x="169" y="188"/>
                </a:cubicBezTo>
                <a:cubicBezTo>
                  <a:pt x="179" y="188"/>
                  <a:pt x="188" y="179"/>
                  <a:pt x="188" y="169"/>
                </a:cubicBezTo>
                <a:cubicBezTo>
                  <a:pt x="188" y="113"/>
                  <a:pt x="188" y="132"/>
                  <a:pt x="188" y="113"/>
                </a:cubicBezTo>
                <a:cubicBezTo>
                  <a:pt x="790" y="113"/>
                  <a:pt x="590" y="113"/>
                  <a:pt x="790" y="113"/>
                </a:cubicBezTo>
                <a:cubicBezTo>
                  <a:pt x="790" y="564"/>
                  <a:pt x="790" y="414"/>
                  <a:pt x="790" y="564"/>
                </a:cubicBezTo>
                <a:cubicBezTo>
                  <a:pt x="734" y="564"/>
                  <a:pt x="753" y="564"/>
                  <a:pt x="734" y="564"/>
                </a:cubicBezTo>
                <a:cubicBezTo>
                  <a:pt x="724" y="564"/>
                  <a:pt x="715" y="574"/>
                  <a:pt x="715" y="583"/>
                </a:cubicBezTo>
                <a:cubicBezTo>
                  <a:pt x="715" y="592"/>
                  <a:pt x="724" y="602"/>
                  <a:pt x="734" y="602"/>
                </a:cubicBezTo>
                <a:cubicBezTo>
                  <a:pt x="790" y="602"/>
                  <a:pt x="772" y="602"/>
                  <a:pt x="790" y="602"/>
                </a:cubicBezTo>
                <a:cubicBezTo>
                  <a:pt x="809" y="602"/>
                  <a:pt x="828" y="583"/>
                  <a:pt x="828" y="564"/>
                </a:cubicBezTo>
                <a:cubicBezTo>
                  <a:pt x="828" y="113"/>
                  <a:pt x="828" y="264"/>
                  <a:pt x="828" y="113"/>
                </a:cubicBezTo>
                <a:cubicBezTo>
                  <a:pt x="828" y="94"/>
                  <a:pt x="809" y="75"/>
                  <a:pt x="790" y="75"/>
                </a:cubicBezTo>
                <a:close/>
                <a:moveTo>
                  <a:pt x="413" y="75"/>
                </a:moveTo>
                <a:lnTo>
                  <a:pt x="413" y="75"/>
                </a:lnTo>
                <a:cubicBezTo>
                  <a:pt x="413" y="56"/>
                  <a:pt x="432" y="37"/>
                  <a:pt x="451" y="37"/>
                </a:cubicBezTo>
                <a:cubicBezTo>
                  <a:pt x="526" y="37"/>
                  <a:pt x="501" y="37"/>
                  <a:pt x="526" y="37"/>
                </a:cubicBezTo>
                <a:cubicBezTo>
                  <a:pt x="545" y="37"/>
                  <a:pt x="564" y="56"/>
                  <a:pt x="564" y="75"/>
                </a:cubicBezTo>
                <a:cubicBezTo>
                  <a:pt x="514" y="75"/>
                  <a:pt x="464" y="75"/>
                  <a:pt x="413" y="75"/>
                </a:cubicBezTo>
                <a:close/>
                <a:moveTo>
                  <a:pt x="207" y="413"/>
                </a:moveTo>
                <a:lnTo>
                  <a:pt x="207" y="413"/>
                </a:lnTo>
                <a:cubicBezTo>
                  <a:pt x="244" y="413"/>
                  <a:pt x="232" y="413"/>
                  <a:pt x="244" y="413"/>
                </a:cubicBezTo>
                <a:cubicBezTo>
                  <a:pt x="254" y="413"/>
                  <a:pt x="263" y="404"/>
                  <a:pt x="263" y="395"/>
                </a:cubicBezTo>
                <a:cubicBezTo>
                  <a:pt x="263" y="385"/>
                  <a:pt x="254" y="376"/>
                  <a:pt x="244" y="376"/>
                </a:cubicBezTo>
                <a:cubicBezTo>
                  <a:pt x="207" y="376"/>
                  <a:pt x="220" y="376"/>
                  <a:pt x="207" y="376"/>
                </a:cubicBezTo>
                <a:cubicBezTo>
                  <a:pt x="197" y="376"/>
                  <a:pt x="188" y="385"/>
                  <a:pt x="188" y="395"/>
                </a:cubicBezTo>
                <a:cubicBezTo>
                  <a:pt x="188" y="404"/>
                  <a:pt x="197" y="413"/>
                  <a:pt x="207" y="413"/>
                </a:cubicBezTo>
                <a:close/>
                <a:moveTo>
                  <a:pt x="639" y="226"/>
                </a:moveTo>
                <a:lnTo>
                  <a:pt x="639" y="226"/>
                </a:lnTo>
                <a:cubicBezTo>
                  <a:pt x="451" y="226"/>
                  <a:pt x="514" y="226"/>
                  <a:pt x="451" y="226"/>
                </a:cubicBezTo>
                <a:cubicBezTo>
                  <a:pt x="451" y="183"/>
                  <a:pt x="418" y="150"/>
                  <a:pt x="376" y="150"/>
                </a:cubicBezTo>
                <a:cubicBezTo>
                  <a:pt x="300" y="150"/>
                  <a:pt x="326" y="150"/>
                  <a:pt x="300" y="150"/>
                </a:cubicBezTo>
                <a:cubicBezTo>
                  <a:pt x="258" y="150"/>
                  <a:pt x="226" y="183"/>
                  <a:pt x="226" y="226"/>
                </a:cubicBezTo>
                <a:cubicBezTo>
                  <a:pt x="37" y="226"/>
                  <a:pt x="100" y="226"/>
                  <a:pt x="37" y="226"/>
                </a:cubicBezTo>
                <a:cubicBezTo>
                  <a:pt x="18" y="226"/>
                  <a:pt x="0" y="244"/>
                  <a:pt x="0" y="263"/>
                </a:cubicBezTo>
                <a:cubicBezTo>
                  <a:pt x="0" y="715"/>
                  <a:pt x="0" y="565"/>
                  <a:pt x="0" y="715"/>
                </a:cubicBezTo>
                <a:cubicBezTo>
                  <a:pt x="0" y="734"/>
                  <a:pt x="18" y="752"/>
                  <a:pt x="37" y="752"/>
                </a:cubicBezTo>
                <a:cubicBezTo>
                  <a:pt x="639" y="752"/>
                  <a:pt x="439" y="752"/>
                  <a:pt x="639" y="752"/>
                </a:cubicBezTo>
                <a:cubicBezTo>
                  <a:pt x="658" y="752"/>
                  <a:pt x="677" y="734"/>
                  <a:pt x="677" y="715"/>
                </a:cubicBezTo>
                <a:cubicBezTo>
                  <a:pt x="677" y="263"/>
                  <a:pt x="677" y="414"/>
                  <a:pt x="677" y="263"/>
                </a:cubicBezTo>
                <a:cubicBezTo>
                  <a:pt x="677" y="244"/>
                  <a:pt x="658" y="226"/>
                  <a:pt x="639" y="226"/>
                </a:cubicBezTo>
                <a:close/>
                <a:moveTo>
                  <a:pt x="300" y="188"/>
                </a:moveTo>
                <a:lnTo>
                  <a:pt x="300" y="188"/>
                </a:lnTo>
                <a:cubicBezTo>
                  <a:pt x="376" y="188"/>
                  <a:pt x="351" y="188"/>
                  <a:pt x="376" y="188"/>
                </a:cubicBezTo>
                <a:cubicBezTo>
                  <a:pt x="395" y="188"/>
                  <a:pt x="413" y="207"/>
                  <a:pt x="413" y="226"/>
                </a:cubicBezTo>
                <a:cubicBezTo>
                  <a:pt x="263" y="226"/>
                  <a:pt x="313" y="226"/>
                  <a:pt x="263" y="226"/>
                </a:cubicBezTo>
                <a:cubicBezTo>
                  <a:pt x="263" y="207"/>
                  <a:pt x="282" y="188"/>
                  <a:pt x="300" y="188"/>
                </a:cubicBezTo>
                <a:close/>
                <a:moveTo>
                  <a:pt x="113" y="602"/>
                </a:moveTo>
                <a:lnTo>
                  <a:pt x="113" y="602"/>
                </a:lnTo>
                <a:cubicBezTo>
                  <a:pt x="103" y="602"/>
                  <a:pt x="94" y="611"/>
                  <a:pt x="94" y="621"/>
                </a:cubicBezTo>
                <a:cubicBezTo>
                  <a:pt x="94" y="630"/>
                  <a:pt x="103" y="639"/>
                  <a:pt x="113" y="639"/>
                </a:cubicBezTo>
                <a:cubicBezTo>
                  <a:pt x="113" y="715"/>
                  <a:pt x="113" y="690"/>
                  <a:pt x="113" y="715"/>
                </a:cubicBezTo>
                <a:cubicBezTo>
                  <a:pt x="37" y="715"/>
                  <a:pt x="63" y="715"/>
                  <a:pt x="37" y="715"/>
                </a:cubicBezTo>
                <a:cubicBezTo>
                  <a:pt x="37" y="263"/>
                  <a:pt x="37" y="414"/>
                  <a:pt x="37" y="263"/>
                </a:cubicBezTo>
                <a:cubicBezTo>
                  <a:pt x="113" y="263"/>
                  <a:pt x="88" y="263"/>
                  <a:pt x="113" y="263"/>
                </a:cubicBezTo>
                <a:cubicBezTo>
                  <a:pt x="113" y="376"/>
                  <a:pt x="113" y="489"/>
                  <a:pt x="113" y="602"/>
                </a:cubicBezTo>
                <a:close/>
                <a:moveTo>
                  <a:pt x="526" y="602"/>
                </a:moveTo>
                <a:lnTo>
                  <a:pt x="526" y="602"/>
                </a:lnTo>
                <a:cubicBezTo>
                  <a:pt x="517" y="602"/>
                  <a:pt x="508" y="611"/>
                  <a:pt x="508" y="621"/>
                </a:cubicBezTo>
                <a:cubicBezTo>
                  <a:pt x="508" y="630"/>
                  <a:pt x="517" y="639"/>
                  <a:pt x="526" y="639"/>
                </a:cubicBezTo>
                <a:cubicBezTo>
                  <a:pt x="526" y="715"/>
                  <a:pt x="526" y="690"/>
                  <a:pt x="526" y="715"/>
                </a:cubicBezTo>
                <a:cubicBezTo>
                  <a:pt x="150" y="715"/>
                  <a:pt x="276" y="715"/>
                  <a:pt x="150" y="715"/>
                </a:cubicBezTo>
                <a:cubicBezTo>
                  <a:pt x="150" y="639"/>
                  <a:pt x="150" y="665"/>
                  <a:pt x="150" y="639"/>
                </a:cubicBezTo>
                <a:cubicBezTo>
                  <a:pt x="160" y="639"/>
                  <a:pt x="169" y="630"/>
                  <a:pt x="169" y="621"/>
                </a:cubicBezTo>
                <a:cubicBezTo>
                  <a:pt x="169" y="611"/>
                  <a:pt x="160" y="602"/>
                  <a:pt x="150" y="602"/>
                </a:cubicBezTo>
                <a:cubicBezTo>
                  <a:pt x="150" y="263"/>
                  <a:pt x="150" y="376"/>
                  <a:pt x="150" y="263"/>
                </a:cubicBezTo>
                <a:cubicBezTo>
                  <a:pt x="526" y="263"/>
                  <a:pt x="401" y="263"/>
                  <a:pt x="526" y="263"/>
                </a:cubicBezTo>
                <a:cubicBezTo>
                  <a:pt x="526" y="376"/>
                  <a:pt x="526" y="489"/>
                  <a:pt x="526" y="602"/>
                </a:cubicBezTo>
                <a:close/>
                <a:moveTo>
                  <a:pt x="639" y="715"/>
                </a:moveTo>
                <a:lnTo>
                  <a:pt x="639" y="715"/>
                </a:lnTo>
                <a:cubicBezTo>
                  <a:pt x="564" y="715"/>
                  <a:pt x="589" y="715"/>
                  <a:pt x="564" y="715"/>
                </a:cubicBezTo>
                <a:cubicBezTo>
                  <a:pt x="564" y="639"/>
                  <a:pt x="564" y="665"/>
                  <a:pt x="564" y="639"/>
                </a:cubicBezTo>
                <a:cubicBezTo>
                  <a:pt x="574" y="639"/>
                  <a:pt x="583" y="630"/>
                  <a:pt x="583" y="621"/>
                </a:cubicBezTo>
                <a:cubicBezTo>
                  <a:pt x="583" y="611"/>
                  <a:pt x="574" y="602"/>
                  <a:pt x="564" y="602"/>
                </a:cubicBezTo>
                <a:cubicBezTo>
                  <a:pt x="564" y="263"/>
                  <a:pt x="564" y="376"/>
                  <a:pt x="564" y="263"/>
                </a:cubicBezTo>
                <a:cubicBezTo>
                  <a:pt x="639" y="263"/>
                  <a:pt x="614" y="263"/>
                  <a:pt x="639" y="263"/>
                </a:cubicBezTo>
                <a:cubicBezTo>
                  <a:pt x="639" y="414"/>
                  <a:pt x="639" y="565"/>
                  <a:pt x="639" y="715"/>
                </a:cubicBezTo>
                <a:close/>
              </a:path>
            </a:pathLst>
          </a:custGeom>
          <a:solidFill>
            <a:schemeClr val="accent1"/>
          </a:solidFill>
          <a:ln>
            <a:noFill/>
          </a:ln>
          <a:effectLst/>
        </p:spPr>
        <p:txBody>
          <a:bodyPr wrap="none" numCol="1" anchor="ctr"/>
          <a:lstStyle/>
          <a:p>
            <a:pPr>
              <a:lnSpc>
                <a:spcPct val="100000"/>
              </a:lnSpc>
            </a:pPr>
            <a:endParaRPr lang="en-GB" sz="4050"/>
          </a:p>
        </p:txBody>
      </p:sp>
      <p:sp>
        <p:nvSpPr>
          <p:cNvPr id="11" name="Segnaposto testo 4">
            <a:extLst>
              <a:ext uri="{FF2B5EF4-FFF2-40B4-BE49-F238E27FC236}">
                <a16:creationId xmlns:a16="http://schemas.microsoft.com/office/drawing/2014/main" id="{F92BA88D-4239-89F9-018D-B0D2EA786E6C}"/>
              </a:ext>
            </a:extLst>
          </p:cNvPr>
          <p:cNvSpPr>
            <a:spLocks noGrp="1"/>
          </p:cNvSpPr>
          <p:nvPr>
            <p:ph type="body" sz="quarter" idx="16" hasCustomPrompt="1"/>
          </p:nvPr>
        </p:nvSpPr>
        <p:spPr>
          <a:xfrm>
            <a:off x="1113606" y="2736049"/>
            <a:ext cx="3780032"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2" name="Segnaposto testo 4">
            <a:extLst>
              <a:ext uri="{FF2B5EF4-FFF2-40B4-BE49-F238E27FC236}">
                <a16:creationId xmlns:a16="http://schemas.microsoft.com/office/drawing/2014/main" id="{F618EBDF-2001-BBDD-4467-CF343F314377}"/>
              </a:ext>
            </a:extLst>
          </p:cNvPr>
          <p:cNvSpPr>
            <a:spLocks noGrp="1"/>
          </p:cNvSpPr>
          <p:nvPr>
            <p:ph type="body" sz="quarter" idx="17" hasCustomPrompt="1"/>
          </p:nvPr>
        </p:nvSpPr>
        <p:spPr>
          <a:xfrm>
            <a:off x="1113606" y="3512143"/>
            <a:ext cx="3780032"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3" name="Segnaposto testo 4">
            <a:extLst>
              <a:ext uri="{FF2B5EF4-FFF2-40B4-BE49-F238E27FC236}">
                <a16:creationId xmlns:a16="http://schemas.microsoft.com/office/drawing/2014/main" id="{7D832FAC-3AE1-EC51-B191-7EF193DC4C19}"/>
              </a:ext>
            </a:extLst>
          </p:cNvPr>
          <p:cNvSpPr>
            <a:spLocks noGrp="1"/>
          </p:cNvSpPr>
          <p:nvPr>
            <p:ph type="body" sz="quarter" idx="18" hasCustomPrompt="1"/>
          </p:nvPr>
        </p:nvSpPr>
        <p:spPr>
          <a:xfrm>
            <a:off x="1113605" y="3776461"/>
            <a:ext cx="3780032"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a:p>
            <a:pPr lvl="0"/>
            <a:endParaRPr lang="en-US" noProof="0"/>
          </a:p>
          <a:p>
            <a:pPr lvl="0"/>
            <a:endParaRPr lang="en-US" noProof="0"/>
          </a:p>
          <a:p>
            <a:pPr lvl="0"/>
            <a:endParaRPr lang="en-US" noProof="0"/>
          </a:p>
          <a:p>
            <a:pPr lvl="0"/>
            <a:endParaRPr lang="en-US" noProof="0"/>
          </a:p>
          <a:p>
            <a:pPr lvl="0"/>
            <a:endParaRPr lang="en-US" noProof="0"/>
          </a:p>
        </p:txBody>
      </p:sp>
      <p:sp>
        <p:nvSpPr>
          <p:cNvPr id="14" name="Segnaposto testo 4">
            <a:extLst>
              <a:ext uri="{FF2B5EF4-FFF2-40B4-BE49-F238E27FC236}">
                <a16:creationId xmlns:a16="http://schemas.microsoft.com/office/drawing/2014/main" id="{0A695ACA-406E-6566-06BA-B638CE2B96CC}"/>
              </a:ext>
            </a:extLst>
          </p:cNvPr>
          <p:cNvSpPr>
            <a:spLocks noGrp="1"/>
          </p:cNvSpPr>
          <p:nvPr>
            <p:ph type="body" sz="quarter" idx="19" hasCustomPrompt="1"/>
          </p:nvPr>
        </p:nvSpPr>
        <p:spPr>
          <a:xfrm>
            <a:off x="1113605" y="4552555"/>
            <a:ext cx="3780032" cy="21431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5" name="Segnaposto testo 4">
            <a:extLst>
              <a:ext uri="{FF2B5EF4-FFF2-40B4-BE49-F238E27FC236}">
                <a16:creationId xmlns:a16="http://schemas.microsoft.com/office/drawing/2014/main" id="{F5062480-871F-F353-9356-D5D7A4CB2D9F}"/>
              </a:ext>
            </a:extLst>
          </p:cNvPr>
          <p:cNvSpPr>
            <a:spLocks noGrp="1"/>
          </p:cNvSpPr>
          <p:nvPr>
            <p:ph type="body" sz="quarter" idx="20" hasCustomPrompt="1"/>
          </p:nvPr>
        </p:nvSpPr>
        <p:spPr>
          <a:xfrm>
            <a:off x="1113604" y="4816873"/>
            <a:ext cx="3780032" cy="37147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Your text here</a:t>
            </a:r>
          </a:p>
          <a:p>
            <a:pPr lvl="0"/>
            <a:endParaRPr lang="en-US" noProof="0"/>
          </a:p>
        </p:txBody>
      </p:sp>
    </p:spTree>
    <p:extLst>
      <p:ext uri="{BB962C8B-B14F-4D97-AF65-F5344CB8AC3E}">
        <p14:creationId xmlns:p14="http://schemas.microsoft.com/office/powerpoint/2010/main" val="18674989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onitor mockup">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380AC3D7-95F4-AD04-CDE0-61BD3BD4F7B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205" t="2837" r="6667" b="4663"/>
          <a:stretch/>
        </p:blipFill>
        <p:spPr>
          <a:xfrm>
            <a:off x="5722688" y="1914525"/>
            <a:ext cx="5672360" cy="4516569"/>
          </a:xfrm>
          <a:prstGeom prst="rect">
            <a:avLst/>
          </a:prstGeom>
          <a:effectLst>
            <a:reflection blurRad="6350" stA="50000" endA="300" endPos="8000" dist="50800" dir="5400000" sy="-100000" algn="bl" rotWithShape="0"/>
          </a:effectLst>
        </p:spPr>
      </p:pic>
      <p:sp>
        <p:nvSpPr>
          <p:cNvPr id="4" name="Picture Placeholder 3"/>
          <p:cNvSpPr>
            <a:spLocks noGrp="1"/>
          </p:cNvSpPr>
          <p:nvPr>
            <p:ph type="pic" sz="quarter" idx="10"/>
          </p:nvPr>
        </p:nvSpPr>
        <p:spPr>
          <a:xfrm>
            <a:off x="6171157" y="2256549"/>
            <a:ext cx="4793293" cy="2695408"/>
          </a:xfrm>
          <a:solidFill>
            <a:schemeClr val="accent1">
              <a:lumMod val="20000"/>
              <a:lumOff val="80000"/>
            </a:schemeClr>
          </a:solidFill>
        </p:spPr>
        <p:txBody>
          <a:bodyPr/>
          <a:lstStyle/>
          <a:p>
            <a:r>
              <a:rPr lang="nl-NL"/>
              <a:t>Klik op het pictogram als u een afbeelding wilt toevoegen</a:t>
            </a:r>
            <a:endParaRPr lang="en-GB"/>
          </a:p>
        </p:txBody>
      </p:sp>
      <p:sp>
        <p:nvSpPr>
          <p:cNvPr id="2" name="Segnaposto testo 4">
            <a:extLst>
              <a:ext uri="{FF2B5EF4-FFF2-40B4-BE49-F238E27FC236}">
                <a16:creationId xmlns:a16="http://schemas.microsoft.com/office/drawing/2014/main" id="{49EC4B46-CA4A-0D2F-9AD8-3D41868704E3}"/>
              </a:ext>
            </a:extLst>
          </p:cNvPr>
          <p:cNvSpPr>
            <a:spLocks noGrp="1"/>
          </p:cNvSpPr>
          <p:nvPr>
            <p:ph type="body" sz="quarter" idx="15" hasCustomPrompt="1"/>
          </p:nvPr>
        </p:nvSpPr>
        <p:spPr>
          <a:xfrm>
            <a:off x="569093" y="3228975"/>
            <a:ext cx="3964011" cy="2386013"/>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3" name="Titel 13">
            <a:extLst>
              <a:ext uri="{FF2B5EF4-FFF2-40B4-BE49-F238E27FC236}">
                <a16:creationId xmlns:a16="http://schemas.microsoft.com/office/drawing/2014/main" id="{2E0807C2-CEC6-FEBC-A855-EC98CA023D3E}"/>
              </a:ext>
            </a:extLst>
          </p:cNvPr>
          <p:cNvSpPr>
            <a:spLocks noGrp="1"/>
          </p:cNvSpPr>
          <p:nvPr>
            <p:ph type="title" hasCustomPrompt="1"/>
          </p:nvPr>
        </p:nvSpPr>
        <p:spPr>
          <a:xfrm>
            <a:off x="550863" y="549276"/>
            <a:ext cx="6550025" cy="827087"/>
          </a:xfrm>
        </p:spPr>
        <p:txBody>
          <a:bodyPr/>
          <a:lstStyle/>
          <a:p>
            <a:r>
              <a:rPr lang="nl-NL"/>
              <a:t>CLICK TO EDIT </a:t>
            </a:r>
            <a:endParaRPr lang="en-GB"/>
          </a:p>
        </p:txBody>
      </p:sp>
      <p:sp>
        <p:nvSpPr>
          <p:cNvPr id="5" name="Slide Number Placeholder 5">
            <a:extLst>
              <a:ext uri="{FF2B5EF4-FFF2-40B4-BE49-F238E27FC236}">
                <a16:creationId xmlns:a16="http://schemas.microsoft.com/office/drawing/2014/main" id="{9A2CE20F-33A6-A45B-C255-5143CEE3791A}"/>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6" name="Segnaposto piè di pagina 7">
            <a:extLst>
              <a:ext uri="{FF2B5EF4-FFF2-40B4-BE49-F238E27FC236}">
                <a16:creationId xmlns:a16="http://schemas.microsoft.com/office/drawing/2014/main" id="{E5ABEF3D-293C-9043-CD88-EE07028A5031}"/>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7" name="Freeform 7">
            <a:extLst>
              <a:ext uri="{FF2B5EF4-FFF2-40B4-BE49-F238E27FC236}">
                <a16:creationId xmlns:a16="http://schemas.microsoft.com/office/drawing/2014/main" id="{C0112606-0DB1-361B-B613-D60305229530}"/>
              </a:ext>
            </a:extLst>
          </p:cNvPr>
          <p:cNvSpPr>
            <a:spLocks noChangeAspect="1"/>
          </p:cNvSpPr>
          <p:nvPr userDrawn="1"/>
        </p:nvSpPr>
        <p:spPr>
          <a:xfrm>
            <a:off x="4963703" y="2504264"/>
            <a:ext cx="1401410" cy="1401411"/>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0"/>
          </a:p>
        </p:txBody>
      </p:sp>
      <p:sp>
        <p:nvSpPr>
          <p:cNvPr id="10" name="Tijdelijke aanduiding voor tekst 22">
            <a:extLst>
              <a:ext uri="{FF2B5EF4-FFF2-40B4-BE49-F238E27FC236}">
                <a16:creationId xmlns:a16="http://schemas.microsoft.com/office/drawing/2014/main" id="{7801B087-E1F1-CF5D-7D21-4B6F89D540FF}"/>
              </a:ext>
            </a:extLst>
          </p:cNvPr>
          <p:cNvSpPr>
            <a:spLocks noGrp="1"/>
          </p:cNvSpPr>
          <p:nvPr>
            <p:ph type="body" sz="quarter" idx="16" hasCustomPrompt="1"/>
          </p:nvPr>
        </p:nvSpPr>
        <p:spPr>
          <a:xfrm>
            <a:off x="5186364" y="2820175"/>
            <a:ext cx="984794" cy="751699"/>
          </a:xfrm>
        </p:spPr>
        <p:txBody>
          <a:bodyPr anchor="ctr">
            <a:noAutofit/>
          </a:bodyPr>
          <a:lstStyle>
            <a:lvl1pPr algn="ctr">
              <a:defRPr sz="7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Tree>
    <p:extLst>
      <p:ext uri="{BB962C8B-B14F-4D97-AF65-F5344CB8AC3E}">
        <p14:creationId xmlns:p14="http://schemas.microsoft.com/office/powerpoint/2010/main" val="9756780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graphic">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64AA2FF4-B866-9402-3F4B-C80B41695410}"/>
              </a:ext>
            </a:extLst>
          </p:cNvPr>
          <p:cNvSpPr>
            <a:spLocks noGrp="1"/>
          </p:cNvSpPr>
          <p:nvPr>
            <p:ph type="body" sz="quarter" idx="15" hasCustomPrompt="1"/>
          </p:nvPr>
        </p:nvSpPr>
        <p:spPr>
          <a:xfrm>
            <a:off x="1113607" y="3057525"/>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3" name="Titel 13">
            <a:extLst>
              <a:ext uri="{FF2B5EF4-FFF2-40B4-BE49-F238E27FC236}">
                <a16:creationId xmlns:a16="http://schemas.microsoft.com/office/drawing/2014/main" id="{0C43D491-6072-A986-3B7C-F631D591F78D}"/>
              </a:ext>
            </a:extLst>
          </p:cNvPr>
          <p:cNvSpPr>
            <a:spLocks noGrp="1"/>
          </p:cNvSpPr>
          <p:nvPr>
            <p:ph type="title" hasCustomPrompt="1"/>
          </p:nvPr>
        </p:nvSpPr>
        <p:spPr>
          <a:xfrm>
            <a:off x="550863" y="549276"/>
            <a:ext cx="4378325" cy="827087"/>
          </a:xfrm>
        </p:spPr>
        <p:txBody>
          <a:bodyPr numCol="1"/>
          <a:lstStyle>
            <a:lvl1pPr>
              <a:lnSpc>
                <a:spcPct val="100000"/>
              </a:lnSpc>
              <a:defRPr/>
            </a:lvl1pPr>
          </a:lstStyle>
          <a:p>
            <a:r>
              <a:rPr lang="nl-NL"/>
              <a:t>CLICK TO EDIT </a:t>
            </a:r>
            <a:endParaRPr lang="en-GB"/>
          </a:p>
        </p:txBody>
      </p:sp>
      <p:sp>
        <p:nvSpPr>
          <p:cNvPr id="6" name="Slide Number Placeholder 5">
            <a:extLst>
              <a:ext uri="{FF2B5EF4-FFF2-40B4-BE49-F238E27FC236}">
                <a16:creationId xmlns:a16="http://schemas.microsoft.com/office/drawing/2014/main" id="{909E3A3F-C9C4-A6F5-084A-F6E2E41E5F26}"/>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7" name="Segnaposto piè di pagina 7">
            <a:extLst>
              <a:ext uri="{FF2B5EF4-FFF2-40B4-BE49-F238E27FC236}">
                <a16:creationId xmlns:a16="http://schemas.microsoft.com/office/drawing/2014/main" id="{D561DE1D-E31E-3261-63D6-FBE7A8B2D0E0}"/>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15" name="Segnaposto testo 4">
            <a:extLst>
              <a:ext uri="{FF2B5EF4-FFF2-40B4-BE49-F238E27FC236}">
                <a16:creationId xmlns:a16="http://schemas.microsoft.com/office/drawing/2014/main" id="{EFBC0F74-0D2B-5566-305A-F07EACB16A7F}"/>
              </a:ext>
            </a:extLst>
          </p:cNvPr>
          <p:cNvSpPr>
            <a:spLocks noGrp="1"/>
          </p:cNvSpPr>
          <p:nvPr>
            <p:ph type="body" sz="quarter" idx="17" hasCustomPrompt="1"/>
          </p:nvPr>
        </p:nvSpPr>
        <p:spPr>
          <a:xfrm>
            <a:off x="1096233" y="3785741"/>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17" name="Segnaposto testo 4">
            <a:extLst>
              <a:ext uri="{FF2B5EF4-FFF2-40B4-BE49-F238E27FC236}">
                <a16:creationId xmlns:a16="http://schemas.microsoft.com/office/drawing/2014/main" id="{4936D9DA-3856-AA7B-452D-159D622DE273}"/>
              </a:ext>
            </a:extLst>
          </p:cNvPr>
          <p:cNvSpPr>
            <a:spLocks noGrp="1"/>
          </p:cNvSpPr>
          <p:nvPr>
            <p:ph type="body" sz="quarter" idx="19" hasCustomPrompt="1"/>
          </p:nvPr>
        </p:nvSpPr>
        <p:spPr>
          <a:xfrm>
            <a:off x="1096233" y="4506159"/>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grpSp>
        <p:nvGrpSpPr>
          <p:cNvPr id="12" name="Group 2">
            <a:extLst>
              <a:ext uri="{FF2B5EF4-FFF2-40B4-BE49-F238E27FC236}">
                <a16:creationId xmlns:a16="http://schemas.microsoft.com/office/drawing/2014/main" id="{372C2584-EFF3-BFA0-E506-F7104403AD7C}"/>
              </a:ext>
            </a:extLst>
          </p:cNvPr>
          <p:cNvGrpSpPr/>
          <p:nvPr userDrawn="1"/>
        </p:nvGrpSpPr>
        <p:grpSpPr>
          <a:xfrm>
            <a:off x="5019434" y="549276"/>
            <a:ext cx="6608140" cy="5499647"/>
            <a:chOff x="4762500" y="719137"/>
            <a:chExt cx="6615113" cy="5505449"/>
          </a:xfrm>
        </p:grpSpPr>
        <p:sp>
          <p:nvSpPr>
            <p:cNvPr id="13" name="Oval 3">
              <a:extLst>
                <a:ext uri="{FF2B5EF4-FFF2-40B4-BE49-F238E27FC236}">
                  <a16:creationId xmlns:a16="http://schemas.microsoft.com/office/drawing/2014/main" id="{002AFCDF-677B-E9EE-970A-A89F69B2A483}"/>
                </a:ext>
              </a:extLst>
            </p:cNvPr>
            <p:cNvSpPr/>
            <p:nvPr/>
          </p:nvSpPr>
          <p:spPr>
            <a:xfrm>
              <a:off x="4762500" y="719137"/>
              <a:ext cx="4257675" cy="4257675"/>
            </a:xfrm>
            <a:prstGeom prst="ellipse">
              <a:avLst/>
            </a:prstGeom>
            <a:solidFill>
              <a:schemeClr val="accent1"/>
            </a:solidFill>
            <a:ln w="1524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4" name="Oval 4">
              <a:extLst>
                <a:ext uri="{FF2B5EF4-FFF2-40B4-BE49-F238E27FC236}">
                  <a16:creationId xmlns:a16="http://schemas.microsoft.com/office/drawing/2014/main" id="{17EF4398-2F2A-E1B4-15DF-71BD95C23B2F}"/>
                </a:ext>
              </a:extLst>
            </p:cNvPr>
            <p:cNvSpPr/>
            <p:nvPr/>
          </p:nvSpPr>
          <p:spPr>
            <a:xfrm>
              <a:off x="5393532" y="3771899"/>
              <a:ext cx="2176461" cy="2176461"/>
            </a:xfrm>
            <a:prstGeom prst="ellipse">
              <a:avLst/>
            </a:prstGeom>
            <a:solidFill>
              <a:schemeClr val="accent5"/>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9" name="Oval 5">
              <a:extLst>
                <a:ext uri="{FF2B5EF4-FFF2-40B4-BE49-F238E27FC236}">
                  <a16:creationId xmlns:a16="http://schemas.microsoft.com/office/drawing/2014/main" id="{343936AD-FD45-AC41-D03F-D358E7EB2872}"/>
                </a:ext>
              </a:extLst>
            </p:cNvPr>
            <p:cNvSpPr/>
            <p:nvPr/>
          </p:nvSpPr>
          <p:spPr>
            <a:xfrm>
              <a:off x="6927057" y="3609975"/>
              <a:ext cx="2614611" cy="2614611"/>
            </a:xfrm>
            <a:prstGeom prst="ellipse">
              <a:avLst/>
            </a:prstGeom>
            <a:solidFill>
              <a:schemeClr val="accent3"/>
            </a:solid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20" name="Oval 6">
              <a:extLst>
                <a:ext uri="{FF2B5EF4-FFF2-40B4-BE49-F238E27FC236}">
                  <a16:creationId xmlns:a16="http://schemas.microsoft.com/office/drawing/2014/main" id="{C3097A26-A21B-6C76-4F1A-56E0A851BAE6}"/>
                </a:ext>
              </a:extLst>
            </p:cNvPr>
            <p:cNvSpPr/>
            <p:nvPr/>
          </p:nvSpPr>
          <p:spPr>
            <a:xfrm>
              <a:off x="8234363" y="2184529"/>
              <a:ext cx="3143250" cy="3285202"/>
            </a:xfrm>
            <a:prstGeom prst="ellipse">
              <a:avLst/>
            </a:prstGeom>
            <a:solidFill>
              <a:schemeClr val="accent2"/>
            </a:solidFill>
            <a:ln w="152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grpSp>
      <p:cxnSp>
        <p:nvCxnSpPr>
          <p:cNvPr id="24" name="Straight Connector 10">
            <a:extLst>
              <a:ext uri="{FF2B5EF4-FFF2-40B4-BE49-F238E27FC236}">
                <a16:creationId xmlns:a16="http://schemas.microsoft.com/office/drawing/2014/main" id="{854C98E4-CEC2-1C39-E4D6-BB4CAFE18E42}"/>
              </a:ext>
            </a:extLst>
          </p:cNvPr>
          <p:cNvCxnSpPr/>
          <p:nvPr userDrawn="1"/>
        </p:nvCxnSpPr>
        <p:spPr>
          <a:xfrm>
            <a:off x="5818645" y="1686949"/>
            <a:ext cx="27261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13">
            <a:extLst>
              <a:ext uri="{FF2B5EF4-FFF2-40B4-BE49-F238E27FC236}">
                <a16:creationId xmlns:a16="http://schemas.microsoft.com/office/drawing/2014/main" id="{C0E40479-DC55-36E8-4961-577EFFBC6E2B}"/>
              </a:ext>
            </a:extLst>
          </p:cNvPr>
          <p:cNvCxnSpPr/>
          <p:nvPr userDrawn="1"/>
        </p:nvCxnSpPr>
        <p:spPr>
          <a:xfrm>
            <a:off x="8950939" y="3312468"/>
            <a:ext cx="22133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17">
            <a:extLst>
              <a:ext uri="{FF2B5EF4-FFF2-40B4-BE49-F238E27FC236}">
                <a16:creationId xmlns:a16="http://schemas.microsoft.com/office/drawing/2014/main" id="{411A550A-9564-B7C7-9C3C-49E0C1240CD3}"/>
              </a:ext>
            </a:extLst>
          </p:cNvPr>
          <p:cNvCxnSpPr/>
          <p:nvPr userDrawn="1"/>
        </p:nvCxnSpPr>
        <p:spPr>
          <a:xfrm>
            <a:off x="7494779" y="4906466"/>
            <a:ext cx="122307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20">
            <a:extLst>
              <a:ext uri="{FF2B5EF4-FFF2-40B4-BE49-F238E27FC236}">
                <a16:creationId xmlns:a16="http://schemas.microsoft.com/office/drawing/2014/main" id="{BBB5336C-D4D5-65E6-A68A-2A6A3433983A}"/>
              </a:ext>
            </a:extLst>
          </p:cNvPr>
          <p:cNvCxnSpPr/>
          <p:nvPr userDrawn="1"/>
        </p:nvCxnSpPr>
        <p:spPr>
          <a:xfrm>
            <a:off x="5907623" y="4580045"/>
            <a:ext cx="104499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Freeform 25">
            <a:extLst>
              <a:ext uri="{FF2B5EF4-FFF2-40B4-BE49-F238E27FC236}">
                <a16:creationId xmlns:a16="http://schemas.microsoft.com/office/drawing/2014/main" id="{CCE0D380-9C5A-1282-560A-D3EAD1D1A0DA}"/>
              </a:ext>
            </a:extLst>
          </p:cNvPr>
          <p:cNvSpPr/>
          <p:nvPr userDrawn="1"/>
        </p:nvSpPr>
        <p:spPr>
          <a:xfrm>
            <a:off x="550863" y="2993918"/>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0" name="Freeform 26">
            <a:extLst>
              <a:ext uri="{FF2B5EF4-FFF2-40B4-BE49-F238E27FC236}">
                <a16:creationId xmlns:a16="http://schemas.microsoft.com/office/drawing/2014/main" id="{B4BB46A7-8EFF-B159-CAEB-30B1FA2051BF}"/>
              </a:ext>
            </a:extLst>
          </p:cNvPr>
          <p:cNvSpPr/>
          <p:nvPr userDrawn="1"/>
        </p:nvSpPr>
        <p:spPr>
          <a:xfrm>
            <a:off x="550862" y="3699728"/>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1" name="Freeform 27">
            <a:extLst>
              <a:ext uri="{FF2B5EF4-FFF2-40B4-BE49-F238E27FC236}">
                <a16:creationId xmlns:a16="http://schemas.microsoft.com/office/drawing/2014/main" id="{9DC288DF-2B65-393B-1D05-3266D34F1653}"/>
              </a:ext>
            </a:extLst>
          </p:cNvPr>
          <p:cNvSpPr/>
          <p:nvPr userDrawn="1"/>
        </p:nvSpPr>
        <p:spPr>
          <a:xfrm>
            <a:off x="550861" y="4411391"/>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3"/>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2" name="Freeform 28">
            <a:extLst>
              <a:ext uri="{FF2B5EF4-FFF2-40B4-BE49-F238E27FC236}">
                <a16:creationId xmlns:a16="http://schemas.microsoft.com/office/drawing/2014/main" id="{8201E741-0840-38CE-A3CF-209F9970F774}"/>
              </a:ext>
            </a:extLst>
          </p:cNvPr>
          <p:cNvSpPr/>
          <p:nvPr userDrawn="1"/>
        </p:nvSpPr>
        <p:spPr>
          <a:xfrm>
            <a:off x="550860" y="5154081"/>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5"/>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4" name="Segnaposto testo 4">
            <a:extLst>
              <a:ext uri="{FF2B5EF4-FFF2-40B4-BE49-F238E27FC236}">
                <a16:creationId xmlns:a16="http://schemas.microsoft.com/office/drawing/2014/main" id="{C052B8D2-FA60-19CC-CDA5-CEDE51EE19E7}"/>
              </a:ext>
            </a:extLst>
          </p:cNvPr>
          <p:cNvSpPr>
            <a:spLocks noGrp="1"/>
          </p:cNvSpPr>
          <p:nvPr userDrawn="1">
            <p:ph type="body" sz="quarter" idx="20" hasCustomPrompt="1"/>
          </p:nvPr>
        </p:nvSpPr>
        <p:spPr>
          <a:xfrm>
            <a:off x="1096232" y="5218107"/>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45" name="Tijdelijke aanduiding voor tekst 22">
            <a:extLst>
              <a:ext uri="{FF2B5EF4-FFF2-40B4-BE49-F238E27FC236}">
                <a16:creationId xmlns:a16="http://schemas.microsoft.com/office/drawing/2014/main" id="{90DCBA45-E590-DF61-6B99-7D6F63A82A09}"/>
              </a:ext>
            </a:extLst>
          </p:cNvPr>
          <p:cNvSpPr>
            <a:spLocks noGrp="1"/>
          </p:cNvSpPr>
          <p:nvPr userDrawn="1">
            <p:ph type="body" sz="quarter" idx="16" hasCustomPrompt="1"/>
          </p:nvPr>
        </p:nvSpPr>
        <p:spPr>
          <a:xfrm>
            <a:off x="6597683" y="892650"/>
            <a:ext cx="984794" cy="751699"/>
          </a:xfrm>
        </p:spPr>
        <p:txBody>
          <a:bodyPr numCol="1" anchor="ctr">
            <a:noAutofit/>
          </a:bodyPr>
          <a:lstStyle>
            <a:lvl1pPr algn="ctr">
              <a:lnSpc>
                <a:spcPct val="100000"/>
              </a:lnSpc>
              <a:defRPr sz="7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46" name="Tijdelijke aanduiding voor tekst 22">
            <a:extLst>
              <a:ext uri="{FF2B5EF4-FFF2-40B4-BE49-F238E27FC236}">
                <a16:creationId xmlns:a16="http://schemas.microsoft.com/office/drawing/2014/main" id="{009BE124-8310-7433-776F-14DFEEC0B28A}"/>
              </a:ext>
            </a:extLst>
          </p:cNvPr>
          <p:cNvSpPr>
            <a:spLocks noGrp="1"/>
          </p:cNvSpPr>
          <p:nvPr userDrawn="1">
            <p:ph type="body" sz="quarter" idx="21" hasCustomPrompt="1"/>
          </p:nvPr>
        </p:nvSpPr>
        <p:spPr>
          <a:xfrm>
            <a:off x="9560201" y="2560769"/>
            <a:ext cx="984794" cy="751699"/>
          </a:xfrm>
        </p:spPr>
        <p:txBody>
          <a:bodyPr numCol="1" anchor="ctr">
            <a:noAutofit/>
          </a:bodyPr>
          <a:lstStyle>
            <a:lvl1pPr algn="ctr">
              <a:lnSpc>
                <a:spcPct val="100000"/>
              </a:lnSpc>
              <a:defRPr sz="7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47" name="Tijdelijke aanduiding voor tekst 22">
            <a:extLst>
              <a:ext uri="{FF2B5EF4-FFF2-40B4-BE49-F238E27FC236}">
                <a16:creationId xmlns:a16="http://schemas.microsoft.com/office/drawing/2014/main" id="{180098E4-2EF6-3D40-5F8F-DAB50E977A33}"/>
              </a:ext>
            </a:extLst>
          </p:cNvPr>
          <p:cNvSpPr>
            <a:spLocks noGrp="1"/>
          </p:cNvSpPr>
          <p:nvPr userDrawn="1">
            <p:ph type="body" sz="quarter" idx="22" hasCustomPrompt="1"/>
          </p:nvPr>
        </p:nvSpPr>
        <p:spPr>
          <a:xfrm>
            <a:off x="6143106" y="3849271"/>
            <a:ext cx="984794" cy="751699"/>
          </a:xfrm>
        </p:spPr>
        <p:txBody>
          <a:bodyPr numCol="1" anchor="ctr">
            <a:noAutofit/>
          </a:bodyPr>
          <a:lstStyle>
            <a:lvl1pPr algn="ctr">
              <a:lnSpc>
                <a:spcPct val="100000"/>
              </a:lnSpc>
              <a:defRPr sz="7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48" name="Tijdelijke aanduiding voor tekst 22">
            <a:extLst>
              <a:ext uri="{FF2B5EF4-FFF2-40B4-BE49-F238E27FC236}">
                <a16:creationId xmlns:a16="http://schemas.microsoft.com/office/drawing/2014/main" id="{AAC25B15-1164-486D-9CF8-2BBBC1F33AAF}"/>
              </a:ext>
            </a:extLst>
          </p:cNvPr>
          <p:cNvSpPr>
            <a:spLocks noGrp="1"/>
          </p:cNvSpPr>
          <p:nvPr userDrawn="1">
            <p:ph type="body" sz="quarter" idx="23" hasCustomPrompt="1"/>
          </p:nvPr>
        </p:nvSpPr>
        <p:spPr>
          <a:xfrm>
            <a:off x="7610275" y="4130111"/>
            <a:ext cx="984794" cy="751699"/>
          </a:xfrm>
        </p:spPr>
        <p:txBody>
          <a:bodyPr numCol="1" anchor="ctr">
            <a:noAutofit/>
          </a:bodyPr>
          <a:lstStyle>
            <a:lvl1pPr algn="ctr">
              <a:lnSpc>
                <a:spcPct val="100000"/>
              </a:lnSpc>
              <a:defRPr sz="7000">
                <a:solidFill>
                  <a:schemeClr val="bg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50" name="Segnaposto testo 4">
            <a:extLst>
              <a:ext uri="{FF2B5EF4-FFF2-40B4-BE49-F238E27FC236}">
                <a16:creationId xmlns:a16="http://schemas.microsoft.com/office/drawing/2014/main" id="{56C2D9BE-E1CA-5A76-BEFD-22401F6E6480}"/>
              </a:ext>
            </a:extLst>
          </p:cNvPr>
          <p:cNvSpPr>
            <a:spLocks noGrp="1"/>
          </p:cNvSpPr>
          <p:nvPr userDrawn="1">
            <p:ph type="body" sz="quarter" idx="24" hasCustomPrompt="1"/>
          </p:nvPr>
        </p:nvSpPr>
        <p:spPr>
          <a:xfrm>
            <a:off x="5875782" y="1883144"/>
            <a:ext cx="2611855" cy="432523"/>
          </a:xfrm>
        </p:spPr>
        <p:txBody>
          <a:bodyPr numCol="1" spcCol="360000" anchor="ctr">
            <a:noAutofit/>
          </a:bodyPr>
          <a:lstStyle>
            <a:lvl1pPr marL="0" indent="0" algn="ctr">
              <a:lnSpc>
                <a:spcPct val="100000"/>
              </a:lnSpc>
              <a:buNone/>
              <a:defRPr sz="30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51" name="Segnaposto testo 4">
            <a:extLst>
              <a:ext uri="{FF2B5EF4-FFF2-40B4-BE49-F238E27FC236}">
                <a16:creationId xmlns:a16="http://schemas.microsoft.com/office/drawing/2014/main" id="{AAA42941-7078-B780-E4C3-B4512BAE5BD2}"/>
              </a:ext>
            </a:extLst>
          </p:cNvPr>
          <p:cNvSpPr>
            <a:spLocks noGrp="1"/>
          </p:cNvSpPr>
          <p:nvPr userDrawn="1">
            <p:ph type="body" sz="quarter" idx="25" hasCustomPrompt="1"/>
          </p:nvPr>
        </p:nvSpPr>
        <p:spPr>
          <a:xfrm>
            <a:off x="8755731" y="3480732"/>
            <a:ext cx="2593734" cy="432523"/>
          </a:xfrm>
        </p:spPr>
        <p:txBody>
          <a:bodyPr numCol="1" spcCol="360000" anchor="ctr">
            <a:noAutofit/>
          </a:bodyPr>
          <a:lstStyle>
            <a:lvl1pPr marL="0" indent="0" algn="ctr">
              <a:lnSpc>
                <a:spcPct val="100000"/>
              </a:lnSpc>
              <a:buNone/>
              <a:defRPr sz="30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53" name="Segnaposto testo 4">
            <a:extLst>
              <a:ext uri="{FF2B5EF4-FFF2-40B4-BE49-F238E27FC236}">
                <a16:creationId xmlns:a16="http://schemas.microsoft.com/office/drawing/2014/main" id="{ED14609A-AA25-2E93-8B97-CC4EB58233E7}"/>
              </a:ext>
            </a:extLst>
          </p:cNvPr>
          <p:cNvSpPr>
            <a:spLocks noGrp="1"/>
          </p:cNvSpPr>
          <p:nvPr userDrawn="1">
            <p:ph type="body" sz="quarter" idx="26" hasCustomPrompt="1"/>
          </p:nvPr>
        </p:nvSpPr>
        <p:spPr>
          <a:xfrm>
            <a:off x="5277456" y="2538110"/>
            <a:ext cx="3139937" cy="432523"/>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55" name="Segnaposto testo 4">
            <a:extLst>
              <a:ext uri="{FF2B5EF4-FFF2-40B4-BE49-F238E27FC236}">
                <a16:creationId xmlns:a16="http://schemas.microsoft.com/office/drawing/2014/main" id="{08FDED87-19BC-D214-0EA8-5E42EEC0E89A}"/>
              </a:ext>
            </a:extLst>
          </p:cNvPr>
          <p:cNvSpPr>
            <a:spLocks noGrp="1"/>
          </p:cNvSpPr>
          <p:nvPr userDrawn="1">
            <p:ph type="body" sz="quarter" idx="27" hasCustomPrompt="1"/>
          </p:nvPr>
        </p:nvSpPr>
        <p:spPr>
          <a:xfrm>
            <a:off x="9026135" y="4074023"/>
            <a:ext cx="2180790" cy="432523"/>
          </a:xfrm>
        </p:spPr>
        <p:txBody>
          <a:bodyPr numCol="1" spcCol="360000">
            <a:normAutofit/>
          </a:bodyPr>
          <a:lstStyle>
            <a:lvl1pPr marL="0" indent="0" algn="just">
              <a:lnSpc>
                <a:spcPct val="100000"/>
              </a:lnSpc>
              <a:buNone/>
              <a:defRPr sz="1200" b="0"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57" name="Segnaposto testo 4">
            <a:extLst>
              <a:ext uri="{FF2B5EF4-FFF2-40B4-BE49-F238E27FC236}">
                <a16:creationId xmlns:a16="http://schemas.microsoft.com/office/drawing/2014/main" id="{86A467BD-3F51-069B-64C9-A1516758FD0B}"/>
              </a:ext>
            </a:extLst>
          </p:cNvPr>
          <p:cNvSpPr>
            <a:spLocks noGrp="1"/>
          </p:cNvSpPr>
          <p:nvPr userDrawn="1">
            <p:ph type="body" sz="quarter" idx="28" hasCustomPrompt="1"/>
          </p:nvPr>
        </p:nvSpPr>
        <p:spPr>
          <a:xfrm>
            <a:off x="5811889" y="4720534"/>
            <a:ext cx="1236457"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58" name="Segnaposto testo 4">
            <a:extLst>
              <a:ext uri="{FF2B5EF4-FFF2-40B4-BE49-F238E27FC236}">
                <a16:creationId xmlns:a16="http://schemas.microsoft.com/office/drawing/2014/main" id="{569FC9DC-5147-E286-967A-981A8D93585D}"/>
              </a:ext>
            </a:extLst>
          </p:cNvPr>
          <p:cNvSpPr>
            <a:spLocks noGrp="1"/>
          </p:cNvSpPr>
          <p:nvPr userDrawn="1">
            <p:ph type="body" sz="quarter" idx="29" hasCustomPrompt="1"/>
          </p:nvPr>
        </p:nvSpPr>
        <p:spPr>
          <a:xfrm>
            <a:off x="7537574" y="5030604"/>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Tree>
    <p:extLst>
      <p:ext uri="{BB962C8B-B14F-4D97-AF65-F5344CB8AC3E}">
        <p14:creationId xmlns:p14="http://schemas.microsoft.com/office/powerpoint/2010/main" val="28833661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a:xfrm>
            <a:off x="550863" y="549276"/>
            <a:ext cx="4101329" cy="827087"/>
          </a:xfrm>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76" name="Groep 75">
            <a:extLst>
              <a:ext uri="{FF2B5EF4-FFF2-40B4-BE49-F238E27FC236}">
                <a16:creationId xmlns:a16="http://schemas.microsoft.com/office/drawing/2014/main" id="{5597D176-7B71-1765-7F84-DA6A77702AF1}"/>
              </a:ext>
            </a:extLst>
          </p:cNvPr>
          <p:cNvGrpSpPr>
            <a:grpSpLocks noChangeAspect="1"/>
          </p:cNvGrpSpPr>
          <p:nvPr userDrawn="1"/>
        </p:nvGrpSpPr>
        <p:grpSpPr>
          <a:xfrm>
            <a:off x="2748681" y="549276"/>
            <a:ext cx="8564671" cy="5709781"/>
            <a:chOff x="980163" y="1243661"/>
            <a:chExt cx="10231677" cy="6821118"/>
          </a:xfrm>
        </p:grpSpPr>
        <p:sp>
          <p:nvSpPr>
            <p:cNvPr id="5" name="Rectangle 1">
              <a:extLst>
                <a:ext uri="{FF2B5EF4-FFF2-40B4-BE49-F238E27FC236}">
                  <a16:creationId xmlns:a16="http://schemas.microsoft.com/office/drawing/2014/main" id="{00514E16-FE8B-B206-03B5-E0A2A4A80A99}"/>
                </a:ext>
              </a:extLst>
            </p:cNvPr>
            <p:cNvSpPr>
              <a:spLocks noChangeAspect="1"/>
            </p:cNvSpPr>
            <p:nvPr userDrawn="1"/>
          </p:nvSpPr>
          <p:spPr>
            <a:xfrm>
              <a:off x="980163" y="1243661"/>
              <a:ext cx="10231677" cy="6821118"/>
            </a:xfrm>
            <a:prstGeom prst="rect">
              <a:avLst/>
            </a:prstGeom>
            <a:noFill/>
          </p:spPr>
          <p:txBody>
            <a:bodyPr numCol="1"/>
            <a:lstStyle/>
            <a:p>
              <a:pPr>
                <a:lnSpc>
                  <a:spcPct val="100000"/>
                </a:lnSpc>
              </a:pPr>
              <a:endParaRPr lang="en-GB">
                <a:latin typeface="Arial" panose="020B0604020202020204" pitchFamily="34" charset="0"/>
                <a:cs typeface="Arial" panose="020B0604020202020204" pitchFamily="34" charset="0"/>
              </a:endParaRPr>
            </a:p>
          </p:txBody>
        </p:sp>
        <p:sp>
          <p:nvSpPr>
            <p:cNvPr id="6" name="Circular Arrow 2">
              <a:extLst>
                <a:ext uri="{FF2B5EF4-FFF2-40B4-BE49-F238E27FC236}">
                  <a16:creationId xmlns:a16="http://schemas.microsoft.com/office/drawing/2014/main" id="{2BB68E58-695F-9F12-5166-5FB426BBB6AA}"/>
                </a:ext>
              </a:extLst>
            </p:cNvPr>
            <p:cNvSpPr>
              <a:spLocks noChangeAspect="1"/>
            </p:cNvSpPr>
            <p:nvPr userDrawn="1"/>
          </p:nvSpPr>
          <p:spPr>
            <a:xfrm>
              <a:off x="2930778" y="1244145"/>
              <a:ext cx="6330444" cy="6330444"/>
            </a:xfrm>
            <a:prstGeom prst="circularArrow">
              <a:avLst>
                <a:gd name="adj1" fmla="val 5202"/>
                <a:gd name="adj2" fmla="val 336015"/>
                <a:gd name="adj3" fmla="val 21292825"/>
                <a:gd name="adj4" fmla="val 19766604"/>
                <a:gd name="adj5" fmla="val 6068"/>
              </a:avLst>
            </a:prstGeom>
            <a:solidFill>
              <a:schemeClr val="accent1"/>
            </a:solidFill>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numCol="1"/>
            <a:lstStyle/>
            <a:p>
              <a:pPr>
                <a:lnSpc>
                  <a:spcPct val="100000"/>
                </a:lnSpc>
              </a:pPr>
              <a:endParaRPr lang="en-GB">
                <a:latin typeface="Arial" panose="020B0604020202020204" pitchFamily="34" charset="0"/>
                <a:cs typeface="Arial" panose="020B0604020202020204" pitchFamily="34" charset="0"/>
              </a:endParaRPr>
            </a:p>
          </p:txBody>
        </p:sp>
        <p:sp>
          <p:nvSpPr>
            <p:cNvPr id="7" name="Circular Arrow 3">
              <a:extLst>
                <a:ext uri="{FF2B5EF4-FFF2-40B4-BE49-F238E27FC236}">
                  <a16:creationId xmlns:a16="http://schemas.microsoft.com/office/drawing/2014/main" id="{40F043EC-051A-540C-6DA4-221C90F343B8}"/>
                </a:ext>
              </a:extLst>
            </p:cNvPr>
            <p:cNvSpPr>
              <a:spLocks noChangeAspect="1"/>
            </p:cNvSpPr>
            <p:nvPr userDrawn="1"/>
          </p:nvSpPr>
          <p:spPr>
            <a:xfrm>
              <a:off x="2930778" y="1244145"/>
              <a:ext cx="6330444" cy="6330444"/>
            </a:xfrm>
            <a:prstGeom prst="circularArrow">
              <a:avLst>
                <a:gd name="adj1" fmla="val 5202"/>
                <a:gd name="adj2" fmla="val 336015"/>
                <a:gd name="adj3" fmla="val 4014266"/>
                <a:gd name="adj4" fmla="val 2253829"/>
                <a:gd name="adj5" fmla="val 6068"/>
              </a:avLst>
            </a:prstGeom>
            <a:solidFill>
              <a:schemeClr val="accent1"/>
            </a:solid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numCol="1"/>
            <a:lstStyle/>
            <a:p>
              <a:pPr>
                <a:lnSpc>
                  <a:spcPct val="100000"/>
                </a:lnSpc>
              </a:pPr>
              <a:endParaRPr lang="en-GB">
                <a:latin typeface="Arial" panose="020B0604020202020204" pitchFamily="34" charset="0"/>
                <a:cs typeface="Arial" panose="020B0604020202020204" pitchFamily="34" charset="0"/>
              </a:endParaRPr>
            </a:p>
          </p:txBody>
        </p:sp>
        <p:sp>
          <p:nvSpPr>
            <p:cNvPr id="8" name="Circular Arrow 4">
              <a:extLst>
                <a:ext uri="{FF2B5EF4-FFF2-40B4-BE49-F238E27FC236}">
                  <a16:creationId xmlns:a16="http://schemas.microsoft.com/office/drawing/2014/main" id="{C7CAB126-2408-EE1D-0FFE-4A885F5F1761}"/>
                </a:ext>
              </a:extLst>
            </p:cNvPr>
            <p:cNvSpPr>
              <a:spLocks noChangeAspect="1"/>
            </p:cNvSpPr>
            <p:nvPr userDrawn="1"/>
          </p:nvSpPr>
          <p:spPr>
            <a:xfrm>
              <a:off x="2930778" y="1244145"/>
              <a:ext cx="6330444" cy="6330444"/>
            </a:xfrm>
            <a:prstGeom prst="circularArrow">
              <a:avLst>
                <a:gd name="adj1" fmla="val 5202"/>
                <a:gd name="adj2" fmla="val 336015"/>
                <a:gd name="adj3" fmla="val 8210155"/>
                <a:gd name="adj4" fmla="val 6449719"/>
                <a:gd name="adj5" fmla="val 6068"/>
              </a:avLst>
            </a:pr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numCol="1"/>
            <a:lstStyle/>
            <a:p>
              <a:pPr>
                <a:lnSpc>
                  <a:spcPct val="100000"/>
                </a:lnSpc>
              </a:pPr>
              <a:endParaRPr lang="en-GB">
                <a:latin typeface="Arial" panose="020B0604020202020204" pitchFamily="34" charset="0"/>
                <a:cs typeface="Arial" panose="020B0604020202020204" pitchFamily="34" charset="0"/>
              </a:endParaRPr>
            </a:p>
          </p:txBody>
        </p:sp>
        <p:sp>
          <p:nvSpPr>
            <p:cNvPr id="9" name="Circular Arrow 5">
              <a:extLst>
                <a:ext uri="{FF2B5EF4-FFF2-40B4-BE49-F238E27FC236}">
                  <a16:creationId xmlns:a16="http://schemas.microsoft.com/office/drawing/2014/main" id="{FE17DC1C-E7D9-845F-412B-14F6891A2BE3}"/>
                </a:ext>
              </a:extLst>
            </p:cNvPr>
            <p:cNvSpPr>
              <a:spLocks noChangeAspect="1"/>
            </p:cNvSpPr>
            <p:nvPr userDrawn="1"/>
          </p:nvSpPr>
          <p:spPr>
            <a:xfrm>
              <a:off x="2930778" y="1244145"/>
              <a:ext cx="6330444" cy="6330444"/>
            </a:xfrm>
            <a:prstGeom prst="circularArrow">
              <a:avLst>
                <a:gd name="adj1" fmla="val 5202"/>
                <a:gd name="adj2" fmla="val 336015"/>
                <a:gd name="adj3" fmla="val 12297380"/>
                <a:gd name="adj4" fmla="val 10771160"/>
                <a:gd name="adj5" fmla="val 6068"/>
              </a:avLst>
            </a:prstGeom>
            <a:solidFill>
              <a:schemeClr val="accent1"/>
            </a:solidFill>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numCol="1"/>
            <a:lstStyle/>
            <a:p>
              <a:pPr>
                <a:lnSpc>
                  <a:spcPct val="100000"/>
                </a:lnSpc>
              </a:pPr>
              <a:endParaRPr lang="en-GB">
                <a:latin typeface="Arial" panose="020B0604020202020204" pitchFamily="34" charset="0"/>
                <a:cs typeface="Arial" panose="020B0604020202020204" pitchFamily="34" charset="0"/>
              </a:endParaRPr>
            </a:p>
          </p:txBody>
        </p:sp>
        <p:sp>
          <p:nvSpPr>
            <p:cNvPr id="10" name="Circular Arrow 6">
              <a:extLst>
                <a:ext uri="{FF2B5EF4-FFF2-40B4-BE49-F238E27FC236}">
                  <a16:creationId xmlns:a16="http://schemas.microsoft.com/office/drawing/2014/main" id="{C94B680B-C5C6-D562-A7AB-26C44D091CD5}"/>
                </a:ext>
              </a:extLst>
            </p:cNvPr>
            <p:cNvSpPr>
              <a:spLocks noChangeAspect="1"/>
            </p:cNvSpPr>
            <p:nvPr userDrawn="1"/>
          </p:nvSpPr>
          <p:spPr>
            <a:xfrm>
              <a:off x="2930778" y="1244145"/>
              <a:ext cx="6330444" cy="6330444"/>
            </a:xfrm>
            <a:prstGeom prst="circularArrow">
              <a:avLst>
                <a:gd name="adj1" fmla="val 5202"/>
                <a:gd name="adj2" fmla="val 336015"/>
                <a:gd name="adj3" fmla="val 16865256"/>
                <a:gd name="adj4" fmla="val 15198729"/>
                <a:gd name="adj5" fmla="val 6068"/>
              </a:avLst>
            </a:prstGeom>
            <a:solidFill>
              <a:schemeClr val="accent1"/>
            </a:solidFill>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txBody>
            <a:bodyPr numCol="1"/>
            <a:lstStyle/>
            <a:p>
              <a:pPr>
                <a:lnSpc>
                  <a:spcPct val="100000"/>
                </a:lnSpc>
              </a:pPr>
              <a:endParaRPr lang="en-GB">
                <a:latin typeface="Arial" panose="020B0604020202020204" pitchFamily="34" charset="0"/>
                <a:cs typeface="Arial" panose="020B0604020202020204" pitchFamily="34" charset="0"/>
              </a:endParaRPr>
            </a:p>
          </p:txBody>
        </p:sp>
        <p:grpSp>
          <p:nvGrpSpPr>
            <p:cNvPr id="11" name="Group 7">
              <a:extLst>
                <a:ext uri="{FF2B5EF4-FFF2-40B4-BE49-F238E27FC236}">
                  <a16:creationId xmlns:a16="http://schemas.microsoft.com/office/drawing/2014/main" id="{8BFE7EC7-41DB-5F6E-04A4-BDCBD57F016E}"/>
                </a:ext>
              </a:extLst>
            </p:cNvPr>
            <p:cNvGrpSpPr>
              <a:grpSpLocks noChangeAspect="1"/>
            </p:cNvGrpSpPr>
            <p:nvPr userDrawn="1"/>
          </p:nvGrpSpPr>
          <p:grpSpPr>
            <a:xfrm>
              <a:off x="4538312" y="2905425"/>
              <a:ext cx="3098655" cy="3098652"/>
              <a:chOff x="4865222" y="2198222"/>
              <a:chExt cx="2461556" cy="2461556"/>
            </a:xfrm>
          </p:grpSpPr>
          <p:sp>
            <p:nvSpPr>
              <p:cNvPr id="12" name="Oval 8">
                <a:extLst>
                  <a:ext uri="{FF2B5EF4-FFF2-40B4-BE49-F238E27FC236}">
                    <a16:creationId xmlns:a16="http://schemas.microsoft.com/office/drawing/2014/main" id="{298CF3F2-C441-E3D6-8391-55248FC0C3E9}"/>
                  </a:ext>
                </a:extLst>
              </p:cNvPr>
              <p:cNvSpPr/>
              <p:nvPr/>
            </p:nvSpPr>
            <p:spPr>
              <a:xfrm>
                <a:off x="4865222" y="2198222"/>
                <a:ext cx="2461556" cy="246155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50">
                  <a:latin typeface="Arial" panose="020B0604020202020204" pitchFamily="34" charset="0"/>
                  <a:cs typeface="Arial" panose="020B0604020202020204" pitchFamily="34" charset="0"/>
                </a:endParaRPr>
              </a:p>
            </p:txBody>
          </p:sp>
          <p:sp>
            <p:nvSpPr>
              <p:cNvPr id="13" name="Oval 9">
                <a:extLst>
                  <a:ext uri="{FF2B5EF4-FFF2-40B4-BE49-F238E27FC236}">
                    <a16:creationId xmlns:a16="http://schemas.microsoft.com/office/drawing/2014/main" id="{8FB4FF09-0F0F-E883-BB94-9C86CDC40A66}"/>
                  </a:ext>
                </a:extLst>
              </p:cNvPr>
              <p:cNvSpPr/>
              <p:nvPr/>
            </p:nvSpPr>
            <p:spPr>
              <a:xfrm>
                <a:off x="5131605" y="2464605"/>
                <a:ext cx="1928790" cy="192879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50">
                  <a:latin typeface="Arial" panose="020B0604020202020204" pitchFamily="34" charset="0"/>
                  <a:cs typeface="Arial" panose="020B0604020202020204" pitchFamily="34" charset="0"/>
                </a:endParaRPr>
              </a:p>
            </p:txBody>
          </p:sp>
          <p:sp>
            <p:nvSpPr>
              <p:cNvPr id="14" name="Oval 10">
                <a:extLst>
                  <a:ext uri="{FF2B5EF4-FFF2-40B4-BE49-F238E27FC236}">
                    <a16:creationId xmlns:a16="http://schemas.microsoft.com/office/drawing/2014/main" id="{753B0329-C7DF-9C80-C789-70E5DEA99A8F}"/>
                  </a:ext>
                </a:extLst>
              </p:cNvPr>
              <p:cNvSpPr/>
              <p:nvPr/>
            </p:nvSpPr>
            <p:spPr>
              <a:xfrm>
                <a:off x="5359604" y="2692604"/>
                <a:ext cx="1472792" cy="147279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50">
                  <a:latin typeface="Arial" panose="020B0604020202020204" pitchFamily="34" charset="0"/>
                  <a:cs typeface="Arial" panose="020B0604020202020204" pitchFamily="34" charset="0"/>
                </a:endParaRPr>
              </a:p>
            </p:txBody>
          </p:sp>
          <p:sp>
            <p:nvSpPr>
              <p:cNvPr id="15" name="Oval 11">
                <a:extLst>
                  <a:ext uri="{FF2B5EF4-FFF2-40B4-BE49-F238E27FC236}">
                    <a16:creationId xmlns:a16="http://schemas.microsoft.com/office/drawing/2014/main" id="{EEAC7301-CDE8-A4E5-FDF4-52558D8DD657}"/>
                  </a:ext>
                </a:extLst>
              </p:cNvPr>
              <p:cNvSpPr/>
              <p:nvPr/>
            </p:nvSpPr>
            <p:spPr>
              <a:xfrm>
                <a:off x="5602986" y="2935986"/>
                <a:ext cx="986028" cy="986028"/>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50">
                  <a:latin typeface="Arial" panose="020B0604020202020204" pitchFamily="34" charset="0"/>
                  <a:cs typeface="Arial" panose="020B0604020202020204" pitchFamily="34" charset="0"/>
                </a:endParaRPr>
              </a:p>
            </p:txBody>
          </p:sp>
          <p:sp>
            <p:nvSpPr>
              <p:cNvPr id="16" name="Oval 12">
                <a:extLst>
                  <a:ext uri="{FF2B5EF4-FFF2-40B4-BE49-F238E27FC236}">
                    <a16:creationId xmlns:a16="http://schemas.microsoft.com/office/drawing/2014/main" id="{38FBF84E-6F2B-1852-39A8-9894065169F6}"/>
                  </a:ext>
                </a:extLst>
              </p:cNvPr>
              <p:cNvSpPr/>
              <p:nvPr/>
            </p:nvSpPr>
            <p:spPr>
              <a:xfrm>
                <a:off x="5845898" y="3178898"/>
                <a:ext cx="500204" cy="500204"/>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50">
                  <a:latin typeface="Arial" panose="020B0604020202020204" pitchFamily="34" charset="0"/>
                  <a:cs typeface="Arial" panose="020B0604020202020204" pitchFamily="34" charset="0"/>
                </a:endParaRPr>
              </a:p>
            </p:txBody>
          </p:sp>
        </p:grpSp>
        <p:grpSp>
          <p:nvGrpSpPr>
            <p:cNvPr id="17" name="Group 13">
              <a:extLst>
                <a:ext uri="{FF2B5EF4-FFF2-40B4-BE49-F238E27FC236}">
                  <a16:creationId xmlns:a16="http://schemas.microsoft.com/office/drawing/2014/main" id="{031DE5D8-5F18-3786-CDB5-58156FF7387B}"/>
                </a:ext>
              </a:extLst>
            </p:cNvPr>
            <p:cNvGrpSpPr>
              <a:grpSpLocks noChangeAspect="1"/>
            </p:cNvGrpSpPr>
            <p:nvPr userDrawn="1"/>
          </p:nvGrpSpPr>
          <p:grpSpPr>
            <a:xfrm rot="452665">
              <a:off x="6222480" y="2743093"/>
              <a:ext cx="1728698" cy="1827656"/>
              <a:chOff x="5954713" y="4703763"/>
              <a:chExt cx="887412" cy="938213"/>
            </a:xfrm>
          </p:grpSpPr>
          <p:sp>
            <p:nvSpPr>
              <p:cNvPr id="18" name="Freeform 187">
                <a:extLst>
                  <a:ext uri="{FF2B5EF4-FFF2-40B4-BE49-F238E27FC236}">
                    <a16:creationId xmlns:a16="http://schemas.microsoft.com/office/drawing/2014/main" id="{434BEB8E-BF99-7180-171A-55370BF4225A}"/>
                  </a:ext>
                </a:extLst>
              </p:cNvPr>
              <p:cNvSpPr>
                <a:spLocks/>
              </p:cNvSpPr>
              <p:nvPr/>
            </p:nvSpPr>
            <p:spPr bwMode="auto">
              <a:xfrm>
                <a:off x="5954713" y="5513388"/>
                <a:ext cx="117475" cy="128588"/>
              </a:xfrm>
              <a:custGeom>
                <a:avLst/>
                <a:gdLst>
                  <a:gd name="T0" fmla="*/ 48 w 300"/>
                  <a:gd name="T1" fmla="*/ 289 h 322"/>
                  <a:gd name="T2" fmla="*/ 0 w 300"/>
                  <a:gd name="T3" fmla="*/ 322 h 322"/>
                  <a:gd name="T4" fmla="*/ 30 w 300"/>
                  <a:gd name="T5" fmla="*/ 270 h 322"/>
                  <a:gd name="T6" fmla="*/ 280 w 300"/>
                  <a:gd name="T7" fmla="*/ 0 h 322"/>
                  <a:gd name="T8" fmla="*/ 300 w 300"/>
                  <a:gd name="T9" fmla="*/ 18 h 322"/>
                  <a:gd name="T10" fmla="*/ 48 w 300"/>
                  <a:gd name="T11" fmla="*/ 289 h 322"/>
                </a:gdLst>
                <a:ahLst/>
                <a:cxnLst>
                  <a:cxn ang="0">
                    <a:pos x="T0" y="T1"/>
                  </a:cxn>
                  <a:cxn ang="0">
                    <a:pos x="T2" y="T3"/>
                  </a:cxn>
                  <a:cxn ang="0">
                    <a:pos x="T4" y="T5"/>
                  </a:cxn>
                  <a:cxn ang="0">
                    <a:pos x="T6" y="T7"/>
                  </a:cxn>
                  <a:cxn ang="0">
                    <a:pos x="T8" y="T9"/>
                  </a:cxn>
                  <a:cxn ang="0">
                    <a:pos x="T10" y="T11"/>
                  </a:cxn>
                </a:cxnLst>
                <a:rect l="0" t="0" r="r" b="b"/>
                <a:pathLst>
                  <a:path w="300" h="322">
                    <a:moveTo>
                      <a:pt x="48" y="289"/>
                    </a:moveTo>
                    <a:lnTo>
                      <a:pt x="0" y="322"/>
                    </a:lnTo>
                    <a:lnTo>
                      <a:pt x="30" y="270"/>
                    </a:lnTo>
                    <a:lnTo>
                      <a:pt x="280" y="0"/>
                    </a:lnTo>
                    <a:lnTo>
                      <a:pt x="300" y="18"/>
                    </a:lnTo>
                    <a:lnTo>
                      <a:pt x="48" y="289"/>
                    </a:lnTo>
                    <a:close/>
                  </a:path>
                </a:pathLst>
              </a:custGeom>
              <a:solidFill>
                <a:srgbClr val="D5A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19" name="Freeform 188">
                <a:extLst>
                  <a:ext uri="{FF2B5EF4-FFF2-40B4-BE49-F238E27FC236}">
                    <a16:creationId xmlns:a16="http://schemas.microsoft.com/office/drawing/2014/main" id="{320A4945-3436-326B-0EA8-424B64980177}"/>
                  </a:ext>
                </a:extLst>
              </p:cNvPr>
              <p:cNvSpPr>
                <a:spLocks/>
              </p:cNvSpPr>
              <p:nvPr/>
            </p:nvSpPr>
            <p:spPr bwMode="auto">
              <a:xfrm>
                <a:off x="5954713" y="5557838"/>
                <a:ext cx="82550" cy="84138"/>
              </a:xfrm>
              <a:custGeom>
                <a:avLst/>
                <a:gdLst>
                  <a:gd name="T0" fmla="*/ 0 w 209"/>
                  <a:gd name="T1" fmla="*/ 209 h 209"/>
                  <a:gd name="T2" fmla="*/ 8 w 209"/>
                  <a:gd name="T3" fmla="*/ 194 h 209"/>
                  <a:gd name="T4" fmla="*/ 43 w 209"/>
                  <a:gd name="T5" fmla="*/ 171 h 209"/>
                  <a:gd name="T6" fmla="*/ 201 w 209"/>
                  <a:gd name="T7" fmla="*/ 0 h 209"/>
                  <a:gd name="T8" fmla="*/ 204 w 209"/>
                  <a:gd name="T9" fmla="*/ 3 h 209"/>
                  <a:gd name="T10" fmla="*/ 209 w 209"/>
                  <a:gd name="T11" fmla="*/ 4 h 209"/>
                  <a:gd name="T12" fmla="*/ 48 w 209"/>
                  <a:gd name="T13" fmla="*/ 176 h 209"/>
                  <a:gd name="T14" fmla="*/ 0 w 209"/>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209">
                    <a:moveTo>
                      <a:pt x="0" y="209"/>
                    </a:moveTo>
                    <a:lnTo>
                      <a:pt x="8" y="194"/>
                    </a:lnTo>
                    <a:lnTo>
                      <a:pt x="43" y="171"/>
                    </a:lnTo>
                    <a:lnTo>
                      <a:pt x="201" y="0"/>
                    </a:lnTo>
                    <a:lnTo>
                      <a:pt x="204" y="3"/>
                    </a:lnTo>
                    <a:lnTo>
                      <a:pt x="209" y="4"/>
                    </a:lnTo>
                    <a:lnTo>
                      <a:pt x="48" y="176"/>
                    </a:lnTo>
                    <a:lnTo>
                      <a:pt x="0" y="209"/>
                    </a:lnTo>
                    <a:close/>
                  </a:path>
                </a:pathLst>
              </a:custGeom>
              <a:solidFill>
                <a:srgbClr val="BE9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0" name="Freeform 189">
                <a:extLst>
                  <a:ext uri="{FF2B5EF4-FFF2-40B4-BE49-F238E27FC236}">
                    <a16:creationId xmlns:a16="http://schemas.microsoft.com/office/drawing/2014/main" id="{4B1C1C8E-240B-AF15-F5E4-9C33172BE400}"/>
                  </a:ext>
                </a:extLst>
              </p:cNvPr>
              <p:cNvSpPr>
                <a:spLocks/>
              </p:cNvSpPr>
              <p:nvPr/>
            </p:nvSpPr>
            <p:spPr bwMode="auto">
              <a:xfrm>
                <a:off x="6037263" y="5554663"/>
                <a:ext cx="4763" cy="4763"/>
              </a:xfrm>
              <a:custGeom>
                <a:avLst/>
                <a:gdLst>
                  <a:gd name="T0" fmla="*/ 0 w 12"/>
                  <a:gd name="T1" fmla="*/ 13 h 13"/>
                  <a:gd name="T2" fmla="*/ 0 w 12"/>
                  <a:gd name="T3" fmla="*/ 13 h 13"/>
                  <a:gd name="T4" fmla="*/ 12 w 12"/>
                  <a:gd name="T5" fmla="*/ 0 h 13"/>
                  <a:gd name="T6" fmla="*/ 12 w 12"/>
                  <a:gd name="T7" fmla="*/ 0 h 13"/>
                  <a:gd name="T8" fmla="*/ 0 w 12"/>
                  <a:gd name="T9" fmla="*/ 13 h 13"/>
                </a:gdLst>
                <a:ahLst/>
                <a:cxnLst>
                  <a:cxn ang="0">
                    <a:pos x="T0" y="T1"/>
                  </a:cxn>
                  <a:cxn ang="0">
                    <a:pos x="T2" y="T3"/>
                  </a:cxn>
                  <a:cxn ang="0">
                    <a:pos x="T4" y="T5"/>
                  </a:cxn>
                  <a:cxn ang="0">
                    <a:pos x="T6" y="T7"/>
                  </a:cxn>
                  <a:cxn ang="0">
                    <a:pos x="T8" y="T9"/>
                  </a:cxn>
                </a:cxnLst>
                <a:rect l="0" t="0" r="r" b="b"/>
                <a:pathLst>
                  <a:path w="12" h="13">
                    <a:moveTo>
                      <a:pt x="0" y="13"/>
                    </a:moveTo>
                    <a:lnTo>
                      <a:pt x="0" y="13"/>
                    </a:lnTo>
                    <a:lnTo>
                      <a:pt x="12" y="0"/>
                    </a:lnTo>
                    <a:lnTo>
                      <a:pt x="12" y="0"/>
                    </a:lnTo>
                    <a:lnTo>
                      <a:pt x="0" y="13"/>
                    </a:lnTo>
                    <a:close/>
                  </a:path>
                </a:pathLst>
              </a:custGeom>
              <a:solidFill>
                <a:srgbClr val="CDCC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1" name="Freeform 190">
                <a:extLst>
                  <a:ext uri="{FF2B5EF4-FFF2-40B4-BE49-F238E27FC236}">
                    <a16:creationId xmlns:a16="http://schemas.microsoft.com/office/drawing/2014/main" id="{FABBC9A0-FE37-2F2F-63AF-D4632941904F}"/>
                  </a:ext>
                </a:extLst>
              </p:cNvPr>
              <p:cNvSpPr>
                <a:spLocks/>
              </p:cNvSpPr>
              <p:nvPr/>
            </p:nvSpPr>
            <p:spPr bwMode="auto">
              <a:xfrm>
                <a:off x="6029325" y="5548313"/>
                <a:ext cx="9525" cy="9525"/>
              </a:xfrm>
              <a:custGeom>
                <a:avLst/>
                <a:gdLst>
                  <a:gd name="T0" fmla="*/ 11 w 24"/>
                  <a:gd name="T1" fmla="*/ 27 h 27"/>
                  <a:gd name="T2" fmla="*/ 2 w 24"/>
                  <a:gd name="T3" fmla="*/ 20 h 27"/>
                  <a:gd name="T4" fmla="*/ 0 w 24"/>
                  <a:gd name="T5" fmla="*/ 11 h 27"/>
                  <a:gd name="T6" fmla="*/ 11 w 24"/>
                  <a:gd name="T7" fmla="*/ 0 h 27"/>
                  <a:gd name="T8" fmla="*/ 15 w 24"/>
                  <a:gd name="T9" fmla="*/ 5 h 27"/>
                  <a:gd name="T10" fmla="*/ 20 w 24"/>
                  <a:gd name="T11" fmla="*/ 9 h 27"/>
                  <a:gd name="T12" fmla="*/ 22 w 24"/>
                  <a:gd name="T13" fmla="*/ 11 h 27"/>
                  <a:gd name="T14" fmla="*/ 24 w 24"/>
                  <a:gd name="T15" fmla="*/ 13 h 27"/>
                  <a:gd name="T16" fmla="*/ 11 w 2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7">
                    <a:moveTo>
                      <a:pt x="11" y="27"/>
                    </a:moveTo>
                    <a:lnTo>
                      <a:pt x="2" y="20"/>
                    </a:lnTo>
                    <a:lnTo>
                      <a:pt x="0" y="11"/>
                    </a:lnTo>
                    <a:lnTo>
                      <a:pt x="11" y="0"/>
                    </a:lnTo>
                    <a:lnTo>
                      <a:pt x="15" y="5"/>
                    </a:lnTo>
                    <a:lnTo>
                      <a:pt x="20" y="9"/>
                    </a:lnTo>
                    <a:lnTo>
                      <a:pt x="22" y="11"/>
                    </a:lnTo>
                    <a:lnTo>
                      <a:pt x="24" y="13"/>
                    </a:lnTo>
                    <a:lnTo>
                      <a:pt x="11" y="27"/>
                    </a:lnTo>
                    <a:close/>
                  </a:path>
                </a:pathLst>
              </a:custGeom>
              <a:solidFill>
                <a:srgbClr val="A882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2" name="Freeform 191">
                <a:extLst>
                  <a:ext uri="{FF2B5EF4-FFF2-40B4-BE49-F238E27FC236}">
                    <a16:creationId xmlns:a16="http://schemas.microsoft.com/office/drawing/2014/main" id="{5756170A-7FB9-202C-81BF-D7756A4CD5CC}"/>
                  </a:ext>
                </a:extLst>
              </p:cNvPr>
              <p:cNvSpPr>
                <a:spLocks/>
              </p:cNvSpPr>
              <p:nvPr/>
            </p:nvSpPr>
            <p:spPr bwMode="auto">
              <a:xfrm>
                <a:off x="6034088" y="5553075"/>
                <a:ext cx="7938" cy="6350"/>
              </a:xfrm>
              <a:custGeom>
                <a:avLst/>
                <a:gdLst>
                  <a:gd name="T0" fmla="*/ 8 w 20"/>
                  <a:gd name="T1" fmla="*/ 18 h 18"/>
                  <a:gd name="T2" fmla="*/ 3 w 20"/>
                  <a:gd name="T3" fmla="*/ 17 h 18"/>
                  <a:gd name="T4" fmla="*/ 0 w 20"/>
                  <a:gd name="T5" fmla="*/ 14 h 18"/>
                  <a:gd name="T6" fmla="*/ 13 w 20"/>
                  <a:gd name="T7" fmla="*/ 0 h 18"/>
                  <a:gd name="T8" fmla="*/ 17 w 20"/>
                  <a:gd name="T9" fmla="*/ 2 h 18"/>
                  <a:gd name="T10" fmla="*/ 20 w 20"/>
                  <a:gd name="T11" fmla="*/ 5 h 18"/>
                  <a:gd name="T12" fmla="*/ 8 w 2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0" h="18">
                    <a:moveTo>
                      <a:pt x="8" y="18"/>
                    </a:moveTo>
                    <a:lnTo>
                      <a:pt x="3" y="17"/>
                    </a:lnTo>
                    <a:lnTo>
                      <a:pt x="0" y="14"/>
                    </a:lnTo>
                    <a:lnTo>
                      <a:pt x="13" y="0"/>
                    </a:lnTo>
                    <a:lnTo>
                      <a:pt x="17" y="2"/>
                    </a:lnTo>
                    <a:lnTo>
                      <a:pt x="20" y="5"/>
                    </a:lnTo>
                    <a:lnTo>
                      <a:pt x="8" y="18"/>
                    </a:lnTo>
                    <a:close/>
                  </a:path>
                </a:pathLst>
              </a:custGeom>
              <a:solidFill>
                <a:srgbClr val="957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3" name="Freeform 192">
                <a:extLst>
                  <a:ext uri="{FF2B5EF4-FFF2-40B4-BE49-F238E27FC236}">
                    <a16:creationId xmlns:a16="http://schemas.microsoft.com/office/drawing/2014/main" id="{4BC5A114-98CF-F21E-15D9-F677FDABD901}"/>
                  </a:ext>
                </a:extLst>
              </p:cNvPr>
              <p:cNvSpPr>
                <a:spLocks/>
              </p:cNvSpPr>
              <p:nvPr/>
            </p:nvSpPr>
            <p:spPr bwMode="auto">
              <a:xfrm>
                <a:off x="6486525" y="4799013"/>
                <a:ext cx="355600" cy="274638"/>
              </a:xfrm>
              <a:custGeom>
                <a:avLst/>
                <a:gdLst>
                  <a:gd name="T0" fmla="*/ 591 w 893"/>
                  <a:gd name="T1" fmla="*/ 59 h 692"/>
                  <a:gd name="T2" fmla="*/ 616 w 893"/>
                  <a:gd name="T3" fmla="*/ 38 h 692"/>
                  <a:gd name="T4" fmla="*/ 665 w 893"/>
                  <a:gd name="T5" fmla="*/ 11 h 692"/>
                  <a:gd name="T6" fmla="*/ 713 w 893"/>
                  <a:gd name="T7" fmla="*/ 0 h 692"/>
                  <a:gd name="T8" fmla="*/ 757 w 893"/>
                  <a:gd name="T9" fmla="*/ 4 h 692"/>
                  <a:gd name="T10" fmla="*/ 796 w 893"/>
                  <a:gd name="T11" fmla="*/ 18 h 692"/>
                  <a:gd name="T12" fmla="*/ 831 w 893"/>
                  <a:gd name="T13" fmla="*/ 40 h 692"/>
                  <a:gd name="T14" fmla="*/ 858 w 893"/>
                  <a:gd name="T15" fmla="*/ 68 h 692"/>
                  <a:gd name="T16" fmla="*/ 878 w 893"/>
                  <a:gd name="T17" fmla="*/ 98 h 692"/>
                  <a:gd name="T18" fmla="*/ 884 w 893"/>
                  <a:gd name="T19" fmla="*/ 113 h 692"/>
                  <a:gd name="T20" fmla="*/ 893 w 893"/>
                  <a:gd name="T21" fmla="*/ 143 h 692"/>
                  <a:gd name="T22" fmla="*/ 893 w 893"/>
                  <a:gd name="T23" fmla="*/ 202 h 692"/>
                  <a:gd name="T24" fmla="*/ 876 w 893"/>
                  <a:gd name="T25" fmla="*/ 258 h 692"/>
                  <a:gd name="T26" fmla="*/ 852 w 893"/>
                  <a:gd name="T27" fmla="*/ 310 h 692"/>
                  <a:gd name="T28" fmla="*/ 839 w 893"/>
                  <a:gd name="T29" fmla="*/ 333 h 692"/>
                  <a:gd name="T30" fmla="*/ 819 w 893"/>
                  <a:gd name="T31" fmla="*/ 361 h 692"/>
                  <a:gd name="T32" fmla="*/ 774 w 893"/>
                  <a:gd name="T33" fmla="*/ 409 h 692"/>
                  <a:gd name="T34" fmla="*/ 692 w 893"/>
                  <a:gd name="T35" fmla="*/ 466 h 692"/>
                  <a:gd name="T36" fmla="*/ 635 w 893"/>
                  <a:gd name="T37" fmla="*/ 493 h 692"/>
                  <a:gd name="T38" fmla="*/ 579 w 893"/>
                  <a:gd name="T39" fmla="*/ 517 h 692"/>
                  <a:gd name="T40" fmla="*/ 420 w 893"/>
                  <a:gd name="T41" fmla="*/ 573 h 692"/>
                  <a:gd name="T42" fmla="*/ 143 w 893"/>
                  <a:gd name="T43" fmla="*/ 655 h 692"/>
                  <a:gd name="T44" fmla="*/ 0 w 893"/>
                  <a:gd name="T45" fmla="*/ 692 h 692"/>
                  <a:gd name="T46" fmla="*/ 591 w 893"/>
                  <a:gd name="T47" fmla="*/ 59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3" h="692">
                    <a:moveTo>
                      <a:pt x="591" y="59"/>
                    </a:moveTo>
                    <a:lnTo>
                      <a:pt x="616" y="38"/>
                    </a:lnTo>
                    <a:lnTo>
                      <a:pt x="665" y="11"/>
                    </a:lnTo>
                    <a:lnTo>
                      <a:pt x="713" y="0"/>
                    </a:lnTo>
                    <a:lnTo>
                      <a:pt x="757" y="4"/>
                    </a:lnTo>
                    <a:lnTo>
                      <a:pt x="796" y="18"/>
                    </a:lnTo>
                    <a:lnTo>
                      <a:pt x="831" y="40"/>
                    </a:lnTo>
                    <a:lnTo>
                      <a:pt x="858" y="68"/>
                    </a:lnTo>
                    <a:lnTo>
                      <a:pt x="878" y="98"/>
                    </a:lnTo>
                    <a:lnTo>
                      <a:pt x="884" y="113"/>
                    </a:lnTo>
                    <a:lnTo>
                      <a:pt x="893" y="143"/>
                    </a:lnTo>
                    <a:lnTo>
                      <a:pt x="893" y="202"/>
                    </a:lnTo>
                    <a:lnTo>
                      <a:pt x="876" y="258"/>
                    </a:lnTo>
                    <a:lnTo>
                      <a:pt x="852" y="310"/>
                    </a:lnTo>
                    <a:lnTo>
                      <a:pt x="839" y="333"/>
                    </a:lnTo>
                    <a:lnTo>
                      <a:pt x="819" y="361"/>
                    </a:lnTo>
                    <a:lnTo>
                      <a:pt x="774" y="409"/>
                    </a:lnTo>
                    <a:lnTo>
                      <a:pt x="692" y="466"/>
                    </a:lnTo>
                    <a:lnTo>
                      <a:pt x="635" y="493"/>
                    </a:lnTo>
                    <a:lnTo>
                      <a:pt x="579" y="517"/>
                    </a:lnTo>
                    <a:lnTo>
                      <a:pt x="420" y="573"/>
                    </a:lnTo>
                    <a:lnTo>
                      <a:pt x="143" y="655"/>
                    </a:lnTo>
                    <a:lnTo>
                      <a:pt x="0" y="692"/>
                    </a:lnTo>
                    <a:lnTo>
                      <a:pt x="591" y="59"/>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4" name="Freeform 193">
                <a:extLst>
                  <a:ext uri="{FF2B5EF4-FFF2-40B4-BE49-F238E27FC236}">
                    <a16:creationId xmlns:a16="http://schemas.microsoft.com/office/drawing/2014/main" id="{B4817CCB-0A8F-4927-FA6F-466E9ADCB5A7}"/>
                  </a:ext>
                </a:extLst>
              </p:cNvPr>
              <p:cNvSpPr>
                <a:spLocks/>
              </p:cNvSpPr>
              <p:nvPr/>
            </p:nvSpPr>
            <p:spPr bwMode="auto">
              <a:xfrm>
                <a:off x="6484875" y="4783331"/>
                <a:ext cx="320675" cy="284163"/>
              </a:xfrm>
              <a:custGeom>
                <a:avLst/>
                <a:gdLst>
                  <a:gd name="T0" fmla="*/ 591 w 809"/>
                  <a:gd name="T1" fmla="*/ 79 h 712"/>
                  <a:gd name="T2" fmla="*/ 614 w 809"/>
                  <a:gd name="T3" fmla="*/ 57 h 712"/>
                  <a:gd name="T4" fmla="*/ 658 w 809"/>
                  <a:gd name="T5" fmla="*/ 24 h 712"/>
                  <a:gd name="T6" fmla="*/ 697 w 809"/>
                  <a:gd name="T7" fmla="*/ 6 h 712"/>
                  <a:gd name="T8" fmla="*/ 731 w 809"/>
                  <a:gd name="T9" fmla="*/ 0 h 712"/>
                  <a:gd name="T10" fmla="*/ 760 w 809"/>
                  <a:gd name="T11" fmla="*/ 3 h 712"/>
                  <a:gd name="T12" fmla="*/ 782 w 809"/>
                  <a:gd name="T13" fmla="*/ 14 h 712"/>
                  <a:gd name="T14" fmla="*/ 797 w 809"/>
                  <a:gd name="T15" fmla="*/ 31 h 712"/>
                  <a:gd name="T16" fmla="*/ 806 w 809"/>
                  <a:gd name="T17" fmla="*/ 50 h 712"/>
                  <a:gd name="T18" fmla="*/ 808 w 809"/>
                  <a:gd name="T19" fmla="*/ 62 h 712"/>
                  <a:gd name="T20" fmla="*/ 809 w 809"/>
                  <a:gd name="T21" fmla="*/ 84 h 712"/>
                  <a:gd name="T22" fmla="*/ 796 w 809"/>
                  <a:gd name="T23" fmla="*/ 132 h 712"/>
                  <a:gd name="T24" fmla="*/ 758 w 809"/>
                  <a:gd name="T25" fmla="*/ 206 h 712"/>
                  <a:gd name="T26" fmla="*/ 727 w 809"/>
                  <a:gd name="T27" fmla="*/ 250 h 712"/>
                  <a:gd name="T28" fmla="*/ 706 w 809"/>
                  <a:gd name="T29" fmla="*/ 276 h 712"/>
                  <a:gd name="T30" fmla="*/ 661 w 809"/>
                  <a:gd name="T31" fmla="*/ 324 h 712"/>
                  <a:gd name="T32" fmla="*/ 586 w 809"/>
                  <a:gd name="T33" fmla="*/ 386 h 712"/>
                  <a:gd name="T34" fmla="*/ 535 w 809"/>
                  <a:gd name="T35" fmla="*/ 421 h 712"/>
                  <a:gd name="T36" fmla="*/ 487 w 809"/>
                  <a:gd name="T37" fmla="*/ 452 h 712"/>
                  <a:gd name="T38" fmla="*/ 353 w 809"/>
                  <a:gd name="T39" fmla="*/ 530 h 712"/>
                  <a:gd name="T40" fmla="*/ 119 w 809"/>
                  <a:gd name="T41" fmla="*/ 653 h 712"/>
                  <a:gd name="T42" fmla="*/ 0 w 809"/>
                  <a:gd name="T43" fmla="*/ 712 h 712"/>
                  <a:gd name="T44" fmla="*/ 591 w 809"/>
                  <a:gd name="T45" fmla="*/ 7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9" h="712">
                    <a:moveTo>
                      <a:pt x="591" y="79"/>
                    </a:moveTo>
                    <a:lnTo>
                      <a:pt x="614" y="57"/>
                    </a:lnTo>
                    <a:lnTo>
                      <a:pt x="658" y="24"/>
                    </a:lnTo>
                    <a:lnTo>
                      <a:pt x="697" y="6"/>
                    </a:lnTo>
                    <a:lnTo>
                      <a:pt x="731" y="0"/>
                    </a:lnTo>
                    <a:lnTo>
                      <a:pt x="760" y="3"/>
                    </a:lnTo>
                    <a:lnTo>
                      <a:pt x="782" y="14"/>
                    </a:lnTo>
                    <a:lnTo>
                      <a:pt x="797" y="31"/>
                    </a:lnTo>
                    <a:lnTo>
                      <a:pt x="806" y="50"/>
                    </a:lnTo>
                    <a:lnTo>
                      <a:pt x="808" y="62"/>
                    </a:lnTo>
                    <a:lnTo>
                      <a:pt x="809" y="84"/>
                    </a:lnTo>
                    <a:lnTo>
                      <a:pt x="796" y="132"/>
                    </a:lnTo>
                    <a:lnTo>
                      <a:pt x="758" y="206"/>
                    </a:lnTo>
                    <a:lnTo>
                      <a:pt x="727" y="250"/>
                    </a:lnTo>
                    <a:lnTo>
                      <a:pt x="706" y="276"/>
                    </a:lnTo>
                    <a:lnTo>
                      <a:pt x="661" y="324"/>
                    </a:lnTo>
                    <a:lnTo>
                      <a:pt x="586" y="386"/>
                    </a:lnTo>
                    <a:lnTo>
                      <a:pt x="535" y="421"/>
                    </a:lnTo>
                    <a:lnTo>
                      <a:pt x="487" y="452"/>
                    </a:lnTo>
                    <a:lnTo>
                      <a:pt x="353" y="530"/>
                    </a:lnTo>
                    <a:lnTo>
                      <a:pt x="119" y="653"/>
                    </a:lnTo>
                    <a:lnTo>
                      <a:pt x="0" y="712"/>
                    </a:lnTo>
                    <a:lnTo>
                      <a:pt x="59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5" name="Freeform 194">
                <a:extLst>
                  <a:ext uri="{FF2B5EF4-FFF2-40B4-BE49-F238E27FC236}">
                    <a16:creationId xmlns:a16="http://schemas.microsoft.com/office/drawing/2014/main" id="{D8EA5430-A17F-1F68-A215-520EB3120F35}"/>
                  </a:ext>
                </a:extLst>
              </p:cNvPr>
              <p:cNvSpPr>
                <a:spLocks/>
              </p:cNvSpPr>
              <p:nvPr/>
            </p:nvSpPr>
            <p:spPr bwMode="auto">
              <a:xfrm>
                <a:off x="6486525" y="4797425"/>
                <a:ext cx="320675" cy="276225"/>
              </a:xfrm>
              <a:custGeom>
                <a:avLst/>
                <a:gdLst>
                  <a:gd name="T0" fmla="*/ 727 w 809"/>
                  <a:gd name="T1" fmla="*/ 234 h 696"/>
                  <a:gd name="T2" fmla="*/ 758 w 809"/>
                  <a:gd name="T3" fmla="*/ 190 h 696"/>
                  <a:gd name="T4" fmla="*/ 796 w 809"/>
                  <a:gd name="T5" fmla="*/ 116 h 696"/>
                  <a:gd name="T6" fmla="*/ 809 w 809"/>
                  <a:gd name="T7" fmla="*/ 68 h 696"/>
                  <a:gd name="T8" fmla="*/ 808 w 809"/>
                  <a:gd name="T9" fmla="*/ 46 h 696"/>
                  <a:gd name="T10" fmla="*/ 805 w 809"/>
                  <a:gd name="T11" fmla="*/ 33 h 696"/>
                  <a:gd name="T12" fmla="*/ 793 w 809"/>
                  <a:gd name="T13" fmla="*/ 9 h 696"/>
                  <a:gd name="T14" fmla="*/ 783 w 809"/>
                  <a:gd name="T15" fmla="*/ 0 h 696"/>
                  <a:gd name="T16" fmla="*/ 791 w 809"/>
                  <a:gd name="T17" fmla="*/ 9 h 696"/>
                  <a:gd name="T18" fmla="*/ 800 w 809"/>
                  <a:gd name="T19" fmla="*/ 29 h 696"/>
                  <a:gd name="T20" fmla="*/ 801 w 809"/>
                  <a:gd name="T21" fmla="*/ 39 h 696"/>
                  <a:gd name="T22" fmla="*/ 802 w 809"/>
                  <a:gd name="T23" fmla="*/ 61 h 696"/>
                  <a:gd name="T24" fmla="*/ 789 w 809"/>
                  <a:gd name="T25" fmla="*/ 109 h 696"/>
                  <a:gd name="T26" fmla="*/ 752 w 809"/>
                  <a:gd name="T27" fmla="*/ 183 h 696"/>
                  <a:gd name="T28" fmla="*/ 719 w 809"/>
                  <a:gd name="T29" fmla="*/ 227 h 696"/>
                  <a:gd name="T30" fmla="*/ 700 w 809"/>
                  <a:gd name="T31" fmla="*/ 253 h 696"/>
                  <a:gd name="T32" fmla="*/ 655 w 809"/>
                  <a:gd name="T33" fmla="*/ 301 h 696"/>
                  <a:gd name="T34" fmla="*/ 579 w 809"/>
                  <a:gd name="T35" fmla="*/ 363 h 696"/>
                  <a:gd name="T36" fmla="*/ 529 w 809"/>
                  <a:gd name="T37" fmla="*/ 398 h 696"/>
                  <a:gd name="T38" fmla="*/ 429 w 809"/>
                  <a:gd name="T39" fmla="*/ 461 h 696"/>
                  <a:gd name="T40" fmla="*/ 139 w 809"/>
                  <a:gd name="T41" fmla="*/ 617 h 696"/>
                  <a:gd name="T42" fmla="*/ 17 w 809"/>
                  <a:gd name="T43" fmla="*/ 678 h 696"/>
                  <a:gd name="T44" fmla="*/ 0 w 809"/>
                  <a:gd name="T45" fmla="*/ 696 h 696"/>
                  <a:gd name="T46" fmla="*/ 119 w 809"/>
                  <a:gd name="T47" fmla="*/ 637 h 696"/>
                  <a:gd name="T48" fmla="*/ 351 w 809"/>
                  <a:gd name="T49" fmla="*/ 514 h 696"/>
                  <a:gd name="T50" fmla="*/ 487 w 809"/>
                  <a:gd name="T51" fmla="*/ 436 h 696"/>
                  <a:gd name="T52" fmla="*/ 535 w 809"/>
                  <a:gd name="T53" fmla="*/ 405 h 696"/>
                  <a:gd name="T54" fmla="*/ 586 w 809"/>
                  <a:gd name="T55" fmla="*/ 370 h 696"/>
                  <a:gd name="T56" fmla="*/ 661 w 809"/>
                  <a:gd name="T57" fmla="*/ 308 h 696"/>
                  <a:gd name="T58" fmla="*/ 706 w 809"/>
                  <a:gd name="T59" fmla="*/ 260 h 696"/>
                  <a:gd name="T60" fmla="*/ 727 w 809"/>
                  <a:gd name="T61" fmla="*/ 234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9" h="696">
                    <a:moveTo>
                      <a:pt x="727" y="234"/>
                    </a:moveTo>
                    <a:lnTo>
                      <a:pt x="758" y="190"/>
                    </a:lnTo>
                    <a:lnTo>
                      <a:pt x="796" y="116"/>
                    </a:lnTo>
                    <a:lnTo>
                      <a:pt x="809" y="68"/>
                    </a:lnTo>
                    <a:lnTo>
                      <a:pt x="808" y="46"/>
                    </a:lnTo>
                    <a:lnTo>
                      <a:pt x="805" y="33"/>
                    </a:lnTo>
                    <a:lnTo>
                      <a:pt x="793" y="9"/>
                    </a:lnTo>
                    <a:lnTo>
                      <a:pt x="783" y="0"/>
                    </a:lnTo>
                    <a:lnTo>
                      <a:pt x="791" y="9"/>
                    </a:lnTo>
                    <a:lnTo>
                      <a:pt x="800" y="29"/>
                    </a:lnTo>
                    <a:lnTo>
                      <a:pt x="801" y="39"/>
                    </a:lnTo>
                    <a:lnTo>
                      <a:pt x="802" y="61"/>
                    </a:lnTo>
                    <a:lnTo>
                      <a:pt x="789" y="109"/>
                    </a:lnTo>
                    <a:lnTo>
                      <a:pt x="752" y="183"/>
                    </a:lnTo>
                    <a:lnTo>
                      <a:pt x="719" y="227"/>
                    </a:lnTo>
                    <a:lnTo>
                      <a:pt x="700" y="253"/>
                    </a:lnTo>
                    <a:lnTo>
                      <a:pt x="655" y="301"/>
                    </a:lnTo>
                    <a:lnTo>
                      <a:pt x="579" y="363"/>
                    </a:lnTo>
                    <a:lnTo>
                      <a:pt x="529" y="398"/>
                    </a:lnTo>
                    <a:lnTo>
                      <a:pt x="429" y="461"/>
                    </a:lnTo>
                    <a:lnTo>
                      <a:pt x="139" y="617"/>
                    </a:lnTo>
                    <a:lnTo>
                      <a:pt x="17" y="678"/>
                    </a:lnTo>
                    <a:lnTo>
                      <a:pt x="0" y="696"/>
                    </a:lnTo>
                    <a:lnTo>
                      <a:pt x="119" y="637"/>
                    </a:lnTo>
                    <a:lnTo>
                      <a:pt x="351" y="514"/>
                    </a:lnTo>
                    <a:lnTo>
                      <a:pt x="487" y="436"/>
                    </a:lnTo>
                    <a:lnTo>
                      <a:pt x="535" y="405"/>
                    </a:lnTo>
                    <a:lnTo>
                      <a:pt x="586" y="370"/>
                    </a:lnTo>
                    <a:lnTo>
                      <a:pt x="661" y="308"/>
                    </a:lnTo>
                    <a:lnTo>
                      <a:pt x="706" y="260"/>
                    </a:lnTo>
                    <a:lnTo>
                      <a:pt x="727" y="234"/>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6" name="Freeform 195">
                <a:extLst>
                  <a:ext uri="{FF2B5EF4-FFF2-40B4-BE49-F238E27FC236}">
                    <a16:creationId xmlns:a16="http://schemas.microsoft.com/office/drawing/2014/main" id="{A4C8EDA1-6DF5-2AEC-E008-95E8C63D58B9}"/>
                  </a:ext>
                </a:extLst>
              </p:cNvPr>
              <p:cNvSpPr>
                <a:spLocks/>
              </p:cNvSpPr>
              <p:nvPr/>
            </p:nvSpPr>
            <p:spPr bwMode="auto">
              <a:xfrm>
                <a:off x="6486525" y="4727575"/>
                <a:ext cx="269875" cy="346075"/>
              </a:xfrm>
              <a:custGeom>
                <a:avLst/>
                <a:gdLst>
                  <a:gd name="T0" fmla="*/ 608 w 681"/>
                  <a:gd name="T1" fmla="*/ 219 h 872"/>
                  <a:gd name="T2" fmla="*/ 630 w 681"/>
                  <a:gd name="T3" fmla="*/ 193 h 872"/>
                  <a:gd name="T4" fmla="*/ 660 w 681"/>
                  <a:gd name="T5" fmla="*/ 145 h 872"/>
                  <a:gd name="T6" fmla="*/ 675 w 681"/>
                  <a:gd name="T7" fmla="*/ 105 h 872"/>
                  <a:gd name="T8" fmla="*/ 681 w 681"/>
                  <a:gd name="T9" fmla="*/ 71 h 872"/>
                  <a:gd name="T10" fmla="*/ 675 w 681"/>
                  <a:gd name="T11" fmla="*/ 43 h 872"/>
                  <a:gd name="T12" fmla="*/ 664 w 681"/>
                  <a:gd name="T13" fmla="*/ 22 h 872"/>
                  <a:gd name="T14" fmla="*/ 647 w 681"/>
                  <a:gd name="T15" fmla="*/ 8 h 872"/>
                  <a:gd name="T16" fmla="*/ 626 w 681"/>
                  <a:gd name="T17" fmla="*/ 1 h 872"/>
                  <a:gd name="T18" fmla="*/ 616 w 681"/>
                  <a:gd name="T19" fmla="*/ 0 h 872"/>
                  <a:gd name="T20" fmla="*/ 594 w 681"/>
                  <a:gd name="T21" fmla="*/ 1 h 872"/>
                  <a:gd name="T22" fmla="*/ 546 w 681"/>
                  <a:gd name="T23" fmla="*/ 20 h 872"/>
                  <a:gd name="T24" fmla="*/ 473 w 681"/>
                  <a:gd name="T25" fmla="*/ 65 h 872"/>
                  <a:gd name="T26" fmla="*/ 432 w 681"/>
                  <a:gd name="T27" fmla="*/ 100 h 872"/>
                  <a:gd name="T28" fmla="*/ 406 w 681"/>
                  <a:gd name="T29" fmla="*/ 123 h 872"/>
                  <a:gd name="T30" fmla="*/ 360 w 681"/>
                  <a:gd name="T31" fmla="*/ 173 h 872"/>
                  <a:gd name="T32" fmla="*/ 301 w 681"/>
                  <a:gd name="T33" fmla="*/ 254 h 872"/>
                  <a:gd name="T34" fmla="*/ 268 w 681"/>
                  <a:gd name="T35" fmla="*/ 307 h 872"/>
                  <a:gd name="T36" fmla="*/ 240 w 681"/>
                  <a:gd name="T37" fmla="*/ 359 h 872"/>
                  <a:gd name="T38" fmla="*/ 169 w 681"/>
                  <a:gd name="T39" fmla="*/ 503 h 872"/>
                  <a:gd name="T40" fmla="*/ 54 w 681"/>
                  <a:gd name="T41" fmla="*/ 748 h 872"/>
                  <a:gd name="T42" fmla="*/ 0 w 681"/>
                  <a:gd name="T43" fmla="*/ 872 h 872"/>
                  <a:gd name="T44" fmla="*/ 608 w 681"/>
                  <a:gd name="T45" fmla="*/ 219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1" h="872">
                    <a:moveTo>
                      <a:pt x="608" y="219"/>
                    </a:moveTo>
                    <a:lnTo>
                      <a:pt x="630" y="193"/>
                    </a:lnTo>
                    <a:lnTo>
                      <a:pt x="660" y="145"/>
                    </a:lnTo>
                    <a:lnTo>
                      <a:pt x="675" y="105"/>
                    </a:lnTo>
                    <a:lnTo>
                      <a:pt x="681" y="71"/>
                    </a:lnTo>
                    <a:lnTo>
                      <a:pt x="675" y="43"/>
                    </a:lnTo>
                    <a:lnTo>
                      <a:pt x="664" y="22"/>
                    </a:lnTo>
                    <a:lnTo>
                      <a:pt x="647" y="8"/>
                    </a:lnTo>
                    <a:lnTo>
                      <a:pt x="626" y="1"/>
                    </a:lnTo>
                    <a:lnTo>
                      <a:pt x="616" y="0"/>
                    </a:lnTo>
                    <a:lnTo>
                      <a:pt x="594" y="1"/>
                    </a:lnTo>
                    <a:lnTo>
                      <a:pt x="546" y="20"/>
                    </a:lnTo>
                    <a:lnTo>
                      <a:pt x="473" y="65"/>
                    </a:lnTo>
                    <a:lnTo>
                      <a:pt x="432" y="100"/>
                    </a:lnTo>
                    <a:lnTo>
                      <a:pt x="406" y="123"/>
                    </a:lnTo>
                    <a:lnTo>
                      <a:pt x="360" y="173"/>
                    </a:lnTo>
                    <a:lnTo>
                      <a:pt x="301" y="254"/>
                    </a:lnTo>
                    <a:lnTo>
                      <a:pt x="268" y="307"/>
                    </a:lnTo>
                    <a:lnTo>
                      <a:pt x="240" y="359"/>
                    </a:lnTo>
                    <a:lnTo>
                      <a:pt x="169" y="503"/>
                    </a:lnTo>
                    <a:lnTo>
                      <a:pt x="54" y="748"/>
                    </a:lnTo>
                    <a:lnTo>
                      <a:pt x="0" y="872"/>
                    </a:lnTo>
                    <a:lnTo>
                      <a:pt x="608" y="219"/>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7" name="Freeform 196">
                <a:extLst>
                  <a:ext uri="{FF2B5EF4-FFF2-40B4-BE49-F238E27FC236}">
                    <a16:creationId xmlns:a16="http://schemas.microsoft.com/office/drawing/2014/main" id="{A0F5CD92-56E9-9F5C-88A2-7D1E1F4405AA}"/>
                  </a:ext>
                </a:extLst>
              </p:cNvPr>
              <p:cNvSpPr>
                <a:spLocks/>
              </p:cNvSpPr>
              <p:nvPr/>
            </p:nvSpPr>
            <p:spPr bwMode="auto">
              <a:xfrm>
                <a:off x="6486525" y="4703763"/>
                <a:ext cx="254000" cy="369888"/>
              </a:xfrm>
              <a:custGeom>
                <a:avLst/>
                <a:gdLst>
                  <a:gd name="T0" fmla="*/ 591 w 639"/>
                  <a:gd name="T1" fmla="*/ 296 h 929"/>
                  <a:gd name="T2" fmla="*/ 609 w 639"/>
                  <a:gd name="T3" fmla="*/ 268 h 929"/>
                  <a:gd name="T4" fmla="*/ 633 w 639"/>
                  <a:gd name="T5" fmla="*/ 218 h 929"/>
                  <a:gd name="T6" fmla="*/ 639 w 639"/>
                  <a:gd name="T7" fmla="*/ 170 h 929"/>
                  <a:gd name="T8" fmla="*/ 633 w 639"/>
                  <a:gd name="T9" fmla="*/ 126 h 929"/>
                  <a:gd name="T10" fmla="*/ 616 w 639"/>
                  <a:gd name="T11" fmla="*/ 87 h 929"/>
                  <a:gd name="T12" fmla="*/ 591 w 639"/>
                  <a:gd name="T13" fmla="*/ 55 h 929"/>
                  <a:gd name="T14" fmla="*/ 563 w 639"/>
                  <a:gd name="T15" fmla="*/ 30 h 929"/>
                  <a:gd name="T16" fmla="*/ 531 w 639"/>
                  <a:gd name="T17" fmla="*/ 12 h 929"/>
                  <a:gd name="T18" fmla="*/ 516 w 639"/>
                  <a:gd name="T19" fmla="*/ 7 h 929"/>
                  <a:gd name="T20" fmla="*/ 485 w 639"/>
                  <a:gd name="T21" fmla="*/ 0 h 929"/>
                  <a:gd name="T22" fmla="*/ 426 w 639"/>
                  <a:gd name="T23" fmla="*/ 4 h 929"/>
                  <a:gd name="T24" fmla="*/ 371 w 639"/>
                  <a:gd name="T25" fmla="*/ 25 h 929"/>
                  <a:gd name="T26" fmla="*/ 320 w 639"/>
                  <a:gd name="T27" fmla="*/ 53 h 929"/>
                  <a:gd name="T28" fmla="*/ 298 w 639"/>
                  <a:gd name="T29" fmla="*/ 69 h 929"/>
                  <a:gd name="T30" fmla="*/ 272 w 639"/>
                  <a:gd name="T31" fmla="*/ 88 h 929"/>
                  <a:gd name="T32" fmla="*/ 228 w 639"/>
                  <a:gd name="T33" fmla="*/ 137 h 929"/>
                  <a:gd name="T34" fmla="*/ 178 w 639"/>
                  <a:gd name="T35" fmla="*/ 223 h 929"/>
                  <a:gd name="T36" fmla="*/ 154 w 639"/>
                  <a:gd name="T37" fmla="*/ 281 h 929"/>
                  <a:gd name="T38" fmla="*/ 134 w 639"/>
                  <a:gd name="T39" fmla="*/ 340 h 929"/>
                  <a:gd name="T40" fmla="*/ 89 w 639"/>
                  <a:gd name="T41" fmla="*/ 502 h 929"/>
                  <a:gd name="T42" fmla="*/ 27 w 639"/>
                  <a:gd name="T43" fmla="*/ 784 h 929"/>
                  <a:gd name="T44" fmla="*/ 0 w 639"/>
                  <a:gd name="T45" fmla="*/ 929 h 929"/>
                  <a:gd name="T46" fmla="*/ 591 w 639"/>
                  <a:gd name="T47" fmla="*/ 29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9" h="929">
                    <a:moveTo>
                      <a:pt x="591" y="296"/>
                    </a:moveTo>
                    <a:lnTo>
                      <a:pt x="609" y="268"/>
                    </a:lnTo>
                    <a:lnTo>
                      <a:pt x="633" y="218"/>
                    </a:lnTo>
                    <a:lnTo>
                      <a:pt x="639" y="170"/>
                    </a:lnTo>
                    <a:lnTo>
                      <a:pt x="633" y="126"/>
                    </a:lnTo>
                    <a:lnTo>
                      <a:pt x="616" y="87"/>
                    </a:lnTo>
                    <a:lnTo>
                      <a:pt x="591" y="55"/>
                    </a:lnTo>
                    <a:lnTo>
                      <a:pt x="563" y="30"/>
                    </a:lnTo>
                    <a:lnTo>
                      <a:pt x="531" y="12"/>
                    </a:lnTo>
                    <a:lnTo>
                      <a:pt x="516" y="7"/>
                    </a:lnTo>
                    <a:lnTo>
                      <a:pt x="485" y="0"/>
                    </a:lnTo>
                    <a:lnTo>
                      <a:pt x="426" y="4"/>
                    </a:lnTo>
                    <a:lnTo>
                      <a:pt x="371" y="25"/>
                    </a:lnTo>
                    <a:lnTo>
                      <a:pt x="320" y="53"/>
                    </a:lnTo>
                    <a:lnTo>
                      <a:pt x="298" y="69"/>
                    </a:lnTo>
                    <a:lnTo>
                      <a:pt x="272" y="88"/>
                    </a:lnTo>
                    <a:lnTo>
                      <a:pt x="228" y="137"/>
                    </a:lnTo>
                    <a:lnTo>
                      <a:pt x="178" y="223"/>
                    </a:lnTo>
                    <a:lnTo>
                      <a:pt x="154" y="281"/>
                    </a:lnTo>
                    <a:lnTo>
                      <a:pt x="134" y="340"/>
                    </a:lnTo>
                    <a:lnTo>
                      <a:pt x="89" y="502"/>
                    </a:lnTo>
                    <a:lnTo>
                      <a:pt x="27" y="784"/>
                    </a:lnTo>
                    <a:lnTo>
                      <a:pt x="0" y="929"/>
                    </a:lnTo>
                    <a:lnTo>
                      <a:pt x="591" y="296"/>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8" name="Freeform 197">
                <a:extLst>
                  <a:ext uri="{FF2B5EF4-FFF2-40B4-BE49-F238E27FC236}">
                    <a16:creationId xmlns:a16="http://schemas.microsoft.com/office/drawing/2014/main" id="{CC72DE36-EB20-8AAA-BE23-DDEEC1FC85C1}"/>
                  </a:ext>
                </a:extLst>
              </p:cNvPr>
              <p:cNvSpPr>
                <a:spLocks/>
              </p:cNvSpPr>
              <p:nvPr/>
            </p:nvSpPr>
            <p:spPr bwMode="auto">
              <a:xfrm>
                <a:off x="6043613" y="4816475"/>
                <a:ext cx="682625" cy="723900"/>
              </a:xfrm>
              <a:custGeom>
                <a:avLst/>
                <a:gdLst>
                  <a:gd name="T0" fmla="*/ 127 w 1717"/>
                  <a:gd name="T1" fmla="*/ 1825 h 1825"/>
                  <a:gd name="T2" fmla="*/ 0 w 1717"/>
                  <a:gd name="T3" fmla="*/ 1706 h 1825"/>
                  <a:gd name="T4" fmla="*/ 1717 w 1717"/>
                  <a:gd name="T5" fmla="*/ 0 h 1825"/>
                  <a:gd name="T6" fmla="*/ 127 w 1717"/>
                  <a:gd name="T7" fmla="*/ 1825 h 1825"/>
                </a:gdLst>
                <a:ahLst/>
                <a:cxnLst>
                  <a:cxn ang="0">
                    <a:pos x="T0" y="T1"/>
                  </a:cxn>
                  <a:cxn ang="0">
                    <a:pos x="T2" y="T3"/>
                  </a:cxn>
                  <a:cxn ang="0">
                    <a:pos x="T4" y="T5"/>
                  </a:cxn>
                  <a:cxn ang="0">
                    <a:pos x="T6" y="T7"/>
                  </a:cxn>
                </a:cxnLst>
                <a:rect l="0" t="0" r="r" b="b"/>
                <a:pathLst>
                  <a:path w="1717" h="1825">
                    <a:moveTo>
                      <a:pt x="127" y="1825"/>
                    </a:moveTo>
                    <a:lnTo>
                      <a:pt x="0" y="1706"/>
                    </a:lnTo>
                    <a:lnTo>
                      <a:pt x="1717" y="0"/>
                    </a:lnTo>
                    <a:lnTo>
                      <a:pt x="127" y="182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29" name="Freeform 198">
                <a:extLst>
                  <a:ext uri="{FF2B5EF4-FFF2-40B4-BE49-F238E27FC236}">
                    <a16:creationId xmlns:a16="http://schemas.microsoft.com/office/drawing/2014/main" id="{5ED4B375-4A61-D5FC-3599-24CCF33D2C2D}"/>
                  </a:ext>
                </a:extLst>
              </p:cNvPr>
              <p:cNvSpPr>
                <a:spLocks/>
              </p:cNvSpPr>
              <p:nvPr/>
            </p:nvSpPr>
            <p:spPr bwMode="auto">
              <a:xfrm>
                <a:off x="6030913" y="5473700"/>
                <a:ext cx="80963" cy="82550"/>
              </a:xfrm>
              <a:custGeom>
                <a:avLst/>
                <a:gdLst>
                  <a:gd name="T0" fmla="*/ 165 w 204"/>
                  <a:gd name="T1" fmla="*/ 162 h 208"/>
                  <a:gd name="T2" fmla="*/ 148 w 204"/>
                  <a:gd name="T3" fmla="*/ 179 h 208"/>
                  <a:gd name="T4" fmla="*/ 111 w 204"/>
                  <a:gd name="T5" fmla="*/ 201 h 208"/>
                  <a:gd name="T6" fmla="*/ 72 w 204"/>
                  <a:gd name="T7" fmla="*/ 208 h 208"/>
                  <a:gd name="T8" fmla="*/ 38 w 204"/>
                  <a:gd name="T9" fmla="*/ 200 h 208"/>
                  <a:gd name="T10" fmla="*/ 24 w 204"/>
                  <a:gd name="T11" fmla="*/ 188 h 208"/>
                  <a:gd name="T12" fmla="*/ 12 w 204"/>
                  <a:gd name="T13" fmla="*/ 175 h 208"/>
                  <a:gd name="T14" fmla="*/ 0 w 204"/>
                  <a:gd name="T15" fmla="*/ 142 h 208"/>
                  <a:gd name="T16" fmla="*/ 4 w 204"/>
                  <a:gd name="T17" fmla="*/ 103 h 208"/>
                  <a:gd name="T18" fmla="*/ 24 w 204"/>
                  <a:gd name="T19" fmla="*/ 63 h 208"/>
                  <a:gd name="T20" fmla="*/ 38 w 204"/>
                  <a:gd name="T21" fmla="*/ 44 h 208"/>
                  <a:gd name="T22" fmla="*/ 56 w 204"/>
                  <a:gd name="T23" fmla="*/ 29 h 208"/>
                  <a:gd name="T24" fmla="*/ 94 w 204"/>
                  <a:gd name="T25" fmla="*/ 7 h 208"/>
                  <a:gd name="T26" fmla="*/ 133 w 204"/>
                  <a:gd name="T27" fmla="*/ 0 h 208"/>
                  <a:gd name="T28" fmla="*/ 166 w 204"/>
                  <a:gd name="T29" fmla="*/ 8 h 208"/>
                  <a:gd name="T30" fmla="*/ 181 w 204"/>
                  <a:gd name="T31" fmla="*/ 20 h 208"/>
                  <a:gd name="T32" fmla="*/ 192 w 204"/>
                  <a:gd name="T33" fmla="*/ 33 h 208"/>
                  <a:gd name="T34" fmla="*/ 204 w 204"/>
                  <a:gd name="T35" fmla="*/ 67 h 208"/>
                  <a:gd name="T36" fmla="*/ 199 w 204"/>
                  <a:gd name="T37" fmla="*/ 105 h 208"/>
                  <a:gd name="T38" fmla="*/ 181 w 204"/>
                  <a:gd name="T39" fmla="*/ 146 h 208"/>
                  <a:gd name="T40" fmla="*/ 165 w 204"/>
                  <a:gd name="T41" fmla="*/ 16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208">
                    <a:moveTo>
                      <a:pt x="165" y="162"/>
                    </a:moveTo>
                    <a:lnTo>
                      <a:pt x="148" y="179"/>
                    </a:lnTo>
                    <a:lnTo>
                      <a:pt x="111" y="201"/>
                    </a:lnTo>
                    <a:lnTo>
                      <a:pt x="72" y="208"/>
                    </a:lnTo>
                    <a:lnTo>
                      <a:pt x="38" y="200"/>
                    </a:lnTo>
                    <a:lnTo>
                      <a:pt x="24" y="188"/>
                    </a:lnTo>
                    <a:lnTo>
                      <a:pt x="12" y="175"/>
                    </a:lnTo>
                    <a:lnTo>
                      <a:pt x="0" y="142"/>
                    </a:lnTo>
                    <a:lnTo>
                      <a:pt x="4" y="103"/>
                    </a:lnTo>
                    <a:lnTo>
                      <a:pt x="24" y="63"/>
                    </a:lnTo>
                    <a:lnTo>
                      <a:pt x="38" y="44"/>
                    </a:lnTo>
                    <a:lnTo>
                      <a:pt x="56" y="29"/>
                    </a:lnTo>
                    <a:lnTo>
                      <a:pt x="94" y="7"/>
                    </a:lnTo>
                    <a:lnTo>
                      <a:pt x="133" y="0"/>
                    </a:lnTo>
                    <a:lnTo>
                      <a:pt x="166" y="8"/>
                    </a:lnTo>
                    <a:lnTo>
                      <a:pt x="181" y="20"/>
                    </a:lnTo>
                    <a:lnTo>
                      <a:pt x="192" y="33"/>
                    </a:lnTo>
                    <a:lnTo>
                      <a:pt x="204" y="67"/>
                    </a:lnTo>
                    <a:lnTo>
                      <a:pt x="199" y="105"/>
                    </a:lnTo>
                    <a:lnTo>
                      <a:pt x="181" y="146"/>
                    </a:lnTo>
                    <a:lnTo>
                      <a:pt x="165" y="162"/>
                    </a:lnTo>
                    <a:close/>
                  </a:path>
                </a:pathLst>
              </a:custGeom>
              <a:solidFill>
                <a:srgbClr val="283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0" name="Freeform 199">
                <a:extLst>
                  <a:ext uri="{FF2B5EF4-FFF2-40B4-BE49-F238E27FC236}">
                    <a16:creationId xmlns:a16="http://schemas.microsoft.com/office/drawing/2014/main" id="{C26F16F2-8365-301F-5AE3-54E1A2C88257}"/>
                  </a:ext>
                </a:extLst>
              </p:cNvPr>
              <p:cNvSpPr>
                <a:spLocks/>
              </p:cNvSpPr>
              <p:nvPr/>
            </p:nvSpPr>
            <p:spPr bwMode="auto">
              <a:xfrm>
                <a:off x="6027738" y="5337175"/>
                <a:ext cx="214313" cy="222250"/>
              </a:xfrm>
              <a:custGeom>
                <a:avLst/>
                <a:gdLst>
                  <a:gd name="T0" fmla="*/ 461 w 540"/>
                  <a:gd name="T1" fmla="*/ 68 h 560"/>
                  <a:gd name="T2" fmla="*/ 448 w 540"/>
                  <a:gd name="T3" fmla="*/ 54 h 560"/>
                  <a:gd name="T4" fmla="*/ 434 w 540"/>
                  <a:gd name="T5" fmla="*/ 20 h 560"/>
                  <a:gd name="T6" fmla="*/ 434 w 540"/>
                  <a:gd name="T7" fmla="*/ 0 h 560"/>
                  <a:gd name="T8" fmla="*/ 48 w 540"/>
                  <a:gd name="T9" fmla="*/ 385 h 560"/>
                  <a:gd name="T10" fmla="*/ 43 w 540"/>
                  <a:gd name="T11" fmla="*/ 390 h 560"/>
                  <a:gd name="T12" fmla="*/ 39 w 540"/>
                  <a:gd name="T13" fmla="*/ 395 h 560"/>
                  <a:gd name="T14" fmla="*/ 36 w 540"/>
                  <a:gd name="T15" fmla="*/ 398 h 560"/>
                  <a:gd name="T16" fmla="*/ 34 w 540"/>
                  <a:gd name="T17" fmla="*/ 400 h 560"/>
                  <a:gd name="T18" fmla="*/ 34 w 540"/>
                  <a:gd name="T19" fmla="*/ 400 h 560"/>
                  <a:gd name="T20" fmla="*/ 19 w 540"/>
                  <a:gd name="T21" fmla="*/ 418 h 560"/>
                  <a:gd name="T22" fmla="*/ 4 w 540"/>
                  <a:gd name="T23" fmla="*/ 456 h 560"/>
                  <a:gd name="T24" fmla="*/ 0 w 540"/>
                  <a:gd name="T25" fmla="*/ 493 h 560"/>
                  <a:gd name="T26" fmla="*/ 12 w 540"/>
                  <a:gd name="T27" fmla="*/ 526 h 560"/>
                  <a:gd name="T28" fmla="*/ 23 w 540"/>
                  <a:gd name="T29" fmla="*/ 539 h 560"/>
                  <a:gd name="T30" fmla="*/ 36 w 540"/>
                  <a:gd name="T31" fmla="*/ 550 h 560"/>
                  <a:gd name="T32" fmla="*/ 69 w 540"/>
                  <a:gd name="T33" fmla="*/ 560 h 560"/>
                  <a:gd name="T34" fmla="*/ 105 w 540"/>
                  <a:gd name="T35" fmla="*/ 556 h 560"/>
                  <a:gd name="T36" fmla="*/ 141 w 540"/>
                  <a:gd name="T37" fmla="*/ 538 h 560"/>
                  <a:gd name="T38" fmla="*/ 158 w 540"/>
                  <a:gd name="T39" fmla="*/ 523 h 560"/>
                  <a:gd name="T40" fmla="*/ 162 w 540"/>
                  <a:gd name="T41" fmla="*/ 519 h 560"/>
                  <a:gd name="T42" fmla="*/ 540 w 540"/>
                  <a:gd name="T43" fmla="*/ 88 h 560"/>
                  <a:gd name="T44" fmla="*/ 529 w 540"/>
                  <a:gd name="T45" fmla="*/ 90 h 560"/>
                  <a:gd name="T46" fmla="*/ 508 w 540"/>
                  <a:gd name="T47" fmla="*/ 92 h 560"/>
                  <a:gd name="T48" fmla="*/ 478 w 540"/>
                  <a:gd name="T49" fmla="*/ 81 h 560"/>
                  <a:gd name="T50" fmla="*/ 461 w 540"/>
                  <a:gd name="T51" fmla="*/ 6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0" h="560">
                    <a:moveTo>
                      <a:pt x="461" y="68"/>
                    </a:moveTo>
                    <a:lnTo>
                      <a:pt x="448" y="54"/>
                    </a:lnTo>
                    <a:lnTo>
                      <a:pt x="434" y="20"/>
                    </a:lnTo>
                    <a:lnTo>
                      <a:pt x="434" y="0"/>
                    </a:lnTo>
                    <a:lnTo>
                      <a:pt x="48" y="385"/>
                    </a:lnTo>
                    <a:lnTo>
                      <a:pt x="43" y="390"/>
                    </a:lnTo>
                    <a:lnTo>
                      <a:pt x="39" y="395"/>
                    </a:lnTo>
                    <a:lnTo>
                      <a:pt x="36" y="398"/>
                    </a:lnTo>
                    <a:lnTo>
                      <a:pt x="34" y="400"/>
                    </a:lnTo>
                    <a:lnTo>
                      <a:pt x="34" y="400"/>
                    </a:lnTo>
                    <a:lnTo>
                      <a:pt x="19" y="418"/>
                    </a:lnTo>
                    <a:lnTo>
                      <a:pt x="4" y="456"/>
                    </a:lnTo>
                    <a:lnTo>
                      <a:pt x="0" y="493"/>
                    </a:lnTo>
                    <a:lnTo>
                      <a:pt x="12" y="526"/>
                    </a:lnTo>
                    <a:lnTo>
                      <a:pt x="23" y="539"/>
                    </a:lnTo>
                    <a:lnTo>
                      <a:pt x="36" y="550"/>
                    </a:lnTo>
                    <a:lnTo>
                      <a:pt x="69" y="560"/>
                    </a:lnTo>
                    <a:lnTo>
                      <a:pt x="105" y="556"/>
                    </a:lnTo>
                    <a:lnTo>
                      <a:pt x="141" y="538"/>
                    </a:lnTo>
                    <a:lnTo>
                      <a:pt x="158" y="523"/>
                    </a:lnTo>
                    <a:lnTo>
                      <a:pt x="162" y="519"/>
                    </a:lnTo>
                    <a:lnTo>
                      <a:pt x="540" y="88"/>
                    </a:lnTo>
                    <a:lnTo>
                      <a:pt x="529" y="90"/>
                    </a:lnTo>
                    <a:lnTo>
                      <a:pt x="508" y="92"/>
                    </a:lnTo>
                    <a:lnTo>
                      <a:pt x="478" y="81"/>
                    </a:lnTo>
                    <a:lnTo>
                      <a:pt x="461" y="68"/>
                    </a:lnTo>
                    <a:close/>
                  </a:path>
                </a:pathLst>
              </a:custGeom>
              <a:solidFill>
                <a:srgbClr val="E4AE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1" name="Freeform 200">
                <a:extLst>
                  <a:ext uri="{FF2B5EF4-FFF2-40B4-BE49-F238E27FC236}">
                    <a16:creationId xmlns:a16="http://schemas.microsoft.com/office/drawing/2014/main" id="{5A385A20-58B6-3EFA-51C1-69776BC90CEF}"/>
                  </a:ext>
                </a:extLst>
              </p:cNvPr>
              <p:cNvSpPr>
                <a:spLocks/>
              </p:cNvSpPr>
              <p:nvPr/>
            </p:nvSpPr>
            <p:spPr bwMode="auto">
              <a:xfrm>
                <a:off x="6200775" y="4826000"/>
                <a:ext cx="514350" cy="533400"/>
              </a:xfrm>
              <a:custGeom>
                <a:avLst/>
                <a:gdLst>
                  <a:gd name="T0" fmla="*/ 15 w 1298"/>
                  <a:gd name="T1" fmla="*/ 1342 h 1342"/>
                  <a:gd name="T2" fmla="*/ 6 w 1298"/>
                  <a:gd name="T3" fmla="*/ 1328 h 1342"/>
                  <a:gd name="T4" fmla="*/ 0 w 1298"/>
                  <a:gd name="T5" fmla="*/ 1310 h 1342"/>
                  <a:gd name="T6" fmla="*/ 1298 w 1298"/>
                  <a:gd name="T7" fmla="*/ 0 h 1342"/>
                  <a:gd name="T8" fmla="*/ 15 w 1298"/>
                  <a:gd name="T9" fmla="*/ 1342 h 1342"/>
                </a:gdLst>
                <a:ahLst/>
                <a:cxnLst>
                  <a:cxn ang="0">
                    <a:pos x="T0" y="T1"/>
                  </a:cxn>
                  <a:cxn ang="0">
                    <a:pos x="T2" y="T3"/>
                  </a:cxn>
                  <a:cxn ang="0">
                    <a:pos x="T4" y="T5"/>
                  </a:cxn>
                  <a:cxn ang="0">
                    <a:pos x="T6" y="T7"/>
                  </a:cxn>
                  <a:cxn ang="0">
                    <a:pos x="T8" y="T9"/>
                  </a:cxn>
                </a:cxnLst>
                <a:rect l="0" t="0" r="r" b="b"/>
                <a:pathLst>
                  <a:path w="1298" h="1342">
                    <a:moveTo>
                      <a:pt x="15" y="1342"/>
                    </a:moveTo>
                    <a:lnTo>
                      <a:pt x="6" y="1328"/>
                    </a:lnTo>
                    <a:lnTo>
                      <a:pt x="0" y="1310"/>
                    </a:lnTo>
                    <a:lnTo>
                      <a:pt x="1298" y="0"/>
                    </a:lnTo>
                    <a:lnTo>
                      <a:pt x="15" y="1342"/>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2" name="Freeform 201">
                <a:extLst>
                  <a:ext uri="{FF2B5EF4-FFF2-40B4-BE49-F238E27FC236}">
                    <a16:creationId xmlns:a16="http://schemas.microsoft.com/office/drawing/2014/main" id="{D3472D30-52DC-462C-6DDA-AC007411933F}"/>
                  </a:ext>
                </a:extLst>
              </p:cNvPr>
              <p:cNvSpPr>
                <a:spLocks/>
              </p:cNvSpPr>
              <p:nvPr/>
            </p:nvSpPr>
            <p:spPr bwMode="auto">
              <a:xfrm>
                <a:off x="6035675" y="5494338"/>
                <a:ext cx="26988" cy="42863"/>
              </a:xfrm>
              <a:custGeom>
                <a:avLst/>
                <a:gdLst>
                  <a:gd name="T0" fmla="*/ 2 w 67"/>
                  <a:gd name="T1" fmla="*/ 108 h 108"/>
                  <a:gd name="T2" fmla="*/ 0 w 67"/>
                  <a:gd name="T3" fmla="*/ 91 h 108"/>
                  <a:gd name="T4" fmla="*/ 2 w 67"/>
                  <a:gd name="T5" fmla="*/ 62 h 108"/>
                  <a:gd name="T6" fmla="*/ 15 w 67"/>
                  <a:gd name="T7" fmla="*/ 31 h 108"/>
                  <a:gd name="T8" fmla="*/ 18 w 67"/>
                  <a:gd name="T9" fmla="*/ 27 h 108"/>
                  <a:gd name="T10" fmla="*/ 46 w 67"/>
                  <a:gd name="T11" fmla="*/ 0 h 108"/>
                  <a:gd name="T12" fmla="*/ 53 w 67"/>
                  <a:gd name="T13" fmla="*/ 21 h 108"/>
                  <a:gd name="T14" fmla="*/ 67 w 67"/>
                  <a:gd name="T15" fmla="*/ 40 h 108"/>
                  <a:gd name="T16" fmla="*/ 2 w 67"/>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108">
                    <a:moveTo>
                      <a:pt x="2" y="108"/>
                    </a:moveTo>
                    <a:lnTo>
                      <a:pt x="0" y="91"/>
                    </a:lnTo>
                    <a:lnTo>
                      <a:pt x="2" y="62"/>
                    </a:lnTo>
                    <a:lnTo>
                      <a:pt x="15" y="31"/>
                    </a:lnTo>
                    <a:lnTo>
                      <a:pt x="18" y="27"/>
                    </a:lnTo>
                    <a:lnTo>
                      <a:pt x="46" y="0"/>
                    </a:lnTo>
                    <a:lnTo>
                      <a:pt x="53" y="21"/>
                    </a:lnTo>
                    <a:lnTo>
                      <a:pt x="67" y="40"/>
                    </a:lnTo>
                    <a:lnTo>
                      <a:pt x="2" y="108"/>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3" name="Freeform 202">
                <a:extLst>
                  <a:ext uri="{FF2B5EF4-FFF2-40B4-BE49-F238E27FC236}">
                    <a16:creationId xmlns:a16="http://schemas.microsoft.com/office/drawing/2014/main" id="{86828B68-985E-6D4A-1F47-89106F01AEF1}"/>
                  </a:ext>
                </a:extLst>
              </p:cNvPr>
              <p:cNvSpPr>
                <a:spLocks/>
              </p:cNvSpPr>
              <p:nvPr/>
            </p:nvSpPr>
            <p:spPr bwMode="auto">
              <a:xfrm>
                <a:off x="6056313" y="5484813"/>
                <a:ext cx="15875" cy="23813"/>
              </a:xfrm>
              <a:custGeom>
                <a:avLst/>
                <a:gdLst>
                  <a:gd name="T0" fmla="*/ 20 w 38"/>
                  <a:gd name="T1" fmla="*/ 58 h 58"/>
                  <a:gd name="T2" fmla="*/ 7 w 38"/>
                  <a:gd name="T3" fmla="*/ 39 h 58"/>
                  <a:gd name="T4" fmla="*/ 0 w 38"/>
                  <a:gd name="T5" fmla="*/ 16 h 58"/>
                  <a:gd name="T6" fmla="*/ 17 w 38"/>
                  <a:gd name="T7" fmla="*/ 0 h 58"/>
                  <a:gd name="T8" fmla="*/ 25 w 38"/>
                  <a:gd name="T9" fmla="*/ 20 h 58"/>
                  <a:gd name="T10" fmla="*/ 38 w 38"/>
                  <a:gd name="T11" fmla="*/ 39 h 58"/>
                  <a:gd name="T12" fmla="*/ 20 w 38"/>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38" h="58">
                    <a:moveTo>
                      <a:pt x="20" y="58"/>
                    </a:moveTo>
                    <a:lnTo>
                      <a:pt x="7" y="39"/>
                    </a:lnTo>
                    <a:lnTo>
                      <a:pt x="0" y="16"/>
                    </a:lnTo>
                    <a:lnTo>
                      <a:pt x="17" y="0"/>
                    </a:lnTo>
                    <a:lnTo>
                      <a:pt x="25" y="20"/>
                    </a:lnTo>
                    <a:lnTo>
                      <a:pt x="38" y="39"/>
                    </a:lnTo>
                    <a:lnTo>
                      <a:pt x="2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4" name="Freeform 203">
                <a:extLst>
                  <a:ext uri="{FF2B5EF4-FFF2-40B4-BE49-F238E27FC236}">
                    <a16:creationId xmlns:a16="http://schemas.microsoft.com/office/drawing/2014/main" id="{2611B5F2-68D1-2A58-2E26-547BDB7CEF10}"/>
                  </a:ext>
                </a:extLst>
              </p:cNvPr>
              <p:cNvSpPr>
                <a:spLocks/>
              </p:cNvSpPr>
              <p:nvPr/>
            </p:nvSpPr>
            <p:spPr bwMode="auto">
              <a:xfrm>
                <a:off x="6065838" y="5475288"/>
                <a:ext cx="15875" cy="23813"/>
              </a:xfrm>
              <a:custGeom>
                <a:avLst/>
                <a:gdLst>
                  <a:gd name="T0" fmla="*/ 19 w 39"/>
                  <a:gd name="T1" fmla="*/ 60 h 60"/>
                  <a:gd name="T2" fmla="*/ 6 w 39"/>
                  <a:gd name="T3" fmla="*/ 40 h 60"/>
                  <a:gd name="T4" fmla="*/ 0 w 39"/>
                  <a:gd name="T5" fmla="*/ 18 h 60"/>
                  <a:gd name="T6" fmla="*/ 17 w 39"/>
                  <a:gd name="T7" fmla="*/ 0 h 60"/>
                  <a:gd name="T8" fmla="*/ 26 w 39"/>
                  <a:gd name="T9" fmla="*/ 21 h 60"/>
                  <a:gd name="T10" fmla="*/ 39 w 39"/>
                  <a:gd name="T11" fmla="*/ 39 h 60"/>
                  <a:gd name="T12" fmla="*/ 19 w 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9" h="60">
                    <a:moveTo>
                      <a:pt x="19" y="60"/>
                    </a:moveTo>
                    <a:lnTo>
                      <a:pt x="6" y="40"/>
                    </a:lnTo>
                    <a:lnTo>
                      <a:pt x="0" y="18"/>
                    </a:lnTo>
                    <a:lnTo>
                      <a:pt x="17" y="0"/>
                    </a:lnTo>
                    <a:lnTo>
                      <a:pt x="26" y="21"/>
                    </a:lnTo>
                    <a:lnTo>
                      <a:pt x="39" y="39"/>
                    </a:lnTo>
                    <a:lnTo>
                      <a:pt x="19" y="60"/>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5" name="Freeform 204">
                <a:extLst>
                  <a:ext uri="{FF2B5EF4-FFF2-40B4-BE49-F238E27FC236}">
                    <a16:creationId xmlns:a16="http://schemas.microsoft.com/office/drawing/2014/main" id="{68BF0B26-AEF4-7DFB-5420-2231315A4E6B}"/>
                  </a:ext>
                </a:extLst>
              </p:cNvPr>
              <p:cNvSpPr>
                <a:spLocks/>
              </p:cNvSpPr>
              <p:nvPr/>
            </p:nvSpPr>
            <p:spPr bwMode="auto">
              <a:xfrm>
                <a:off x="6075363" y="5465763"/>
                <a:ext cx="15875" cy="22225"/>
              </a:xfrm>
              <a:custGeom>
                <a:avLst/>
                <a:gdLst>
                  <a:gd name="T0" fmla="*/ 21 w 39"/>
                  <a:gd name="T1" fmla="*/ 57 h 57"/>
                  <a:gd name="T2" fmla="*/ 8 w 39"/>
                  <a:gd name="T3" fmla="*/ 39 h 57"/>
                  <a:gd name="T4" fmla="*/ 0 w 39"/>
                  <a:gd name="T5" fmla="*/ 18 h 57"/>
                  <a:gd name="T6" fmla="*/ 17 w 39"/>
                  <a:gd name="T7" fmla="*/ 0 h 57"/>
                  <a:gd name="T8" fmla="*/ 26 w 39"/>
                  <a:gd name="T9" fmla="*/ 19 h 57"/>
                  <a:gd name="T10" fmla="*/ 39 w 39"/>
                  <a:gd name="T11" fmla="*/ 37 h 57"/>
                  <a:gd name="T12" fmla="*/ 21 w 39"/>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39" h="57">
                    <a:moveTo>
                      <a:pt x="21" y="57"/>
                    </a:moveTo>
                    <a:lnTo>
                      <a:pt x="8" y="39"/>
                    </a:lnTo>
                    <a:lnTo>
                      <a:pt x="0" y="18"/>
                    </a:lnTo>
                    <a:lnTo>
                      <a:pt x="17" y="0"/>
                    </a:lnTo>
                    <a:lnTo>
                      <a:pt x="26" y="19"/>
                    </a:lnTo>
                    <a:lnTo>
                      <a:pt x="39" y="37"/>
                    </a:lnTo>
                    <a:lnTo>
                      <a:pt x="21" y="57"/>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6" name="Freeform 206">
                <a:extLst>
                  <a:ext uri="{FF2B5EF4-FFF2-40B4-BE49-F238E27FC236}">
                    <a16:creationId xmlns:a16="http://schemas.microsoft.com/office/drawing/2014/main" id="{4DAA4CFB-5BB7-443B-B813-62B750CF4967}"/>
                  </a:ext>
                </a:extLst>
              </p:cNvPr>
              <p:cNvSpPr>
                <a:spLocks/>
              </p:cNvSpPr>
              <p:nvPr/>
            </p:nvSpPr>
            <p:spPr bwMode="auto">
              <a:xfrm>
                <a:off x="6084888" y="5391150"/>
                <a:ext cx="79375" cy="87313"/>
              </a:xfrm>
              <a:custGeom>
                <a:avLst/>
                <a:gdLst>
                  <a:gd name="T0" fmla="*/ 21 w 200"/>
                  <a:gd name="T1" fmla="*/ 220 h 220"/>
                  <a:gd name="T2" fmla="*/ 8 w 200"/>
                  <a:gd name="T3" fmla="*/ 202 h 220"/>
                  <a:gd name="T4" fmla="*/ 0 w 200"/>
                  <a:gd name="T5" fmla="*/ 182 h 220"/>
                  <a:gd name="T6" fmla="*/ 182 w 200"/>
                  <a:gd name="T7" fmla="*/ 0 h 220"/>
                  <a:gd name="T8" fmla="*/ 188 w 200"/>
                  <a:gd name="T9" fmla="*/ 17 h 220"/>
                  <a:gd name="T10" fmla="*/ 200 w 200"/>
                  <a:gd name="T11" fmla="*/ 32 h 220"/>
                  <a:gd name="T12" fmla="*/ 21 w 200"/>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200" h="220">
                    <a:moveTo>
                      <a:pt x="21" y="220"/>
                    </a:moveTo>
                    <a:lnTo>
                      <a:pt x="8" y="202"/>
                    </a:lnTo>
                    <a:lnTo>
                      <a:pt x="0" y="182"/>
                    </a:lnTo>
                    <a:lnTo>
                      <a:pt x="182" y="0"/>
                    </a:lnTo>
                    <a:lnTo>
                      <a:pt x="188" y="17"/>
                    </a:lnTo>
                    <a:lnTo>
                      <a:pt x="200" y="32"/>
                    </a:lnTo>
                    <a:lnTo>
                      <a:pt x="21" y="220"/>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7" name="Freeform 207">
                <a:extLst>
                  <a:ext uri="{FF2B5EF4-FFF2-40B4-BE49-F238E27FC236}">
                    <a16:creationId xmlns:a16="http://schemas.microsoft.com/office/drawing/2014/main" id="{20109E67-D20F-B90B-9AD2-94ACC81581F3}"/>
                  </a:ext>
                </a:extLst>
              </p:cNvPr>
              <p:cNvSpPr>
                <a:spLocks/>
              </p:cNvSpPr>
              <p:nvPr/>
            </p:nvSpPr>
            <p:spPr bwMode="auto">
              <a:xfrm>
                <a:off x="6159500" y="5381625"/>
                <a:ext cx="14288" cy="20638"/>
              </a:xfrm>
              <a:custGeom>
                <a:avLst/>
                <a:gdLst>
                  <a:gd name="T0" fmla="*/ 18 w 38"/>
                  <a:gd name="T1" fmla="*/ 52 h 52"/>
                  <a:gd name="T2" fmla="*/ 7 w 38"/>
                  <a:gd name="T3" fmla="*/ 36 h 52"/>
                  <a:gd name="T4" fmla="*/ 0 w 38"/>
                  <a:gd name="T5" fmla="*/ 18 h 52"/>
                  <a:gd name="T6" fmla="*/ 18 w 38"/>
                  <a:gd name="T7" fmla="*/ 0 h 52"/>
                  <a:gd name="T8" fmla="*/ 26 w 38"/>
                  <a:gd name="T9" fmla="*/ 17 h 52"/>
                  <a:gd name="T10" fmla="*/ 38 w 38"/>
                  <a:gd name="T11" fmla="*/ 33 h 52"/>
                  <a:gd name="T12" fmla="*/ 18 w 3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 h="52">
                    <a:moveTo>
                      <a:pt x="18" y="52"/>
                    </a:moveTo>
                    <a:lnTo>
                      <a:pt x="7" y="36"/>
                    </a:lnTo>
                    <a:lnTo>
                      <a:pt x="0" y="18"/>
                    </a:lnTo>
                    <a:lnTo>
                      <a:pt x="18" y="0"/>
                    </a:lnTo>
                    <a:lnTo>
                      <a:pt x="26" y="17"/>
                    </a:lnTo>
                    <a:lnTo>
                      <a:pt x="38" y="33"/>
                    </a:lnTo>
                    <a:lnTo>
                      <a:pt x="18" y="52"/>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8" name="Freeform 208">
                <a:extLst>
                  <a:ext uri="{FF2B5EF4-FFF2-40B4-BE49-F238E27FC236}">
                    <a16:creationId xmlns:a16="http://schemas.microsoft.com/office/drawing/2014/main" id="{06639099-F362-683B-0AAA-2779A4EDFF7F}"/>
                  </a:ext>
                </a:extLst>
              </p:cNvPr>
              <p:cNvSpPr>
                <a:spLocks/>
              </p:cNvSpPr>
              <p:nvPr/>
            </p:nvSpPr>
            <p:spPr bwMode="auto">
              <a:xfrm>
                <a:off x="6167438" y="5373688"/>
                <a:ext cx="14288" cy="19050"/>
              </a:xfrm>
              <a:custGeom>
                <a:avLst/>
                <a:gdLst>
                  <a:gd name="T0" fmla="*/ 19 w 35"/>
                  <a:gd name="T1" fmla="*/ 49 h 49"/>
                  <a:gd name="T2" fmla="*/ 7 w 35"/>
                  <a:gd name="T3" fmla="*/ 34 h 49"/>
                  <a:gd name="T4" fmla="*/ 0 w 35"/>
                  <a:gd name="T5" fmla="*/ 17 h 49"/>
                  <a:gd name="T6" fmla="*/ 17 w 35"/>
                  <a:gd name="T7" fmla="*/ 0 h 49"/>
                  <a:gd name="T8" fmla="*/ 24 w 35"/>
                  <a:gd name="T9" fmla="*/ 17 h 49"/>
                  <a:gd name="T10" fmla="*/ 35 w 35"/>
                  <a:gd name="T11" fmla="*/ 32 h 49"/>
                  <a:gd name="T12" fmla="*/ 19 w 35"/>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35" h="49">
                    <a:moveTo>
                      <a:pt x="19" y="49"/>
                    </a:moveTo>
                    <a:lnTo>
                      <a:pt x="7" y="34"/>
                    </a:lnTo>
                    <a:lnTo>
                      <a:pt x="0" y="17"/>
                    </a:lnTo>
                    <a:lnTo>
                      <a:pt x="17" y="0"/>
                    </a:lnTo>
                    <a:lnTo>
                      <a:pt x="24" y="17"/>
                    </a:lnTo>
                    <a:lnTo>
                      <a:pt x="35" y="32"/>
                    </a:lnTo>
                    <a:lnTo>
                      <a:pt x="19" y="49"/>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39" name="Freeform 209">
                <a:extLst>
                  <a:ext uri="{FF2B5EF4-FFF2-40B4-BE49-F238E27FC236}">
                    <a16:creationId xmlns:a16="http://schemas.microsoft.com/office/drawing/2014/main" id="{23E573ED-48C3-587F-E9DB-ACF1768CA672}"/>
                  </a:ext>
                </a:extLst>
              </p:cNvPr>
              <p:cNvSpPr>
                <a:spLocks/>
              </p:cNvSpPr>
              <p:nvPr/>
            </p:nvSpPr>
            <p:spPr bwMode="auto">
              <a:xfrm>
                <a:off x="6176963" y="5346700"/>
                <a:ext cx="30163" cy="36513"/>
              </a:xfrm>
              <a:custGeom>
                <a:avLst/>
                <a:gdLst>
                  <a:gd name="T0" fmla="*/ 19 w 76"/>
                  <a:gd name="T1" fmla="*/ 93 h 93"/>
                  <a:gd name="T2" fmla="*/ 7 w 76"/>
                  <a:gd name="T3" fmla="*/ 78 h 93"/>
                  <a:gd name="T4" fmla="*/ 0 w 76"/>
                  <a:gd name="T5" fmla="*/ 61 h 93"/>
                  <a:gd name="T6" fmla="*/ 61 w 76"/>
                  <a:gd name="T7" fmla="*/ 0 h 93"/>
                  <a:gd name="T8" fmla="*/ 67 w 76"/>
                  <a:gd name="T9" fmla="*/ 18 h 93"/>
                  <a:gd name="T10" fmla="*/ 76 w 76"/>
                  <a:gd name="T11" fmla="*/ 32 h 93"/>
                  <a:gd name="T12" fmla="*/ 19 w 7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76" h="93">
                    <a:moveTo>
                      <a:pt x="19" y="93"/>
                    </a:moveTo>
                    <a:lnTo>
                      <a:pt x="7" y="78"/>
                    </a:lnTo>
                    <a:lnTo>
                      <a:pt x="0" y="61"/>
                    </a:lnTo>
                    <a:lnTo>
                      <a:pt x="61" y="0"/>
                    </a:lnTo>
                    <a:lnTo>
                      <a:pt x="67" y="18"/>
                    </a:lnTo>
                    <a:lnTo>
                      <a:pt x="76" y="32"/>
                    </a:lnTo>
                    <a:lnTo>
                      <a:pt x="19" y="93"/>
                    </a:lnTo>
                    <a:close/>
                  </a:path>
                </a:pathLst>
              </a:custGeom>
              <a:solidFill>
                <a:srgbClr val="E9BE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0" name="Freeform 210">
                <a:extLst>
                  <a:ext uri="{FF2B5EF4-FFF2-40B4-BE49-F238E27FC236}">
                    <a16:creationId xmlns:a16="http://schemas.microsoft.com/office/drawing/2014/main" id="{53B10981-FDA8-33AB-A5CF-CDD6727E782D}"/>
                  </a:ext>
                </a:extLst>
              </p:cNvPr>
              <p:cNvSpPr>
                <a:spLocks/>
              </p:cNvSpPr>
              <p:nvPr/>
            </p:nvSpPr>
            <p:spPr bwMode="auto">
              <a:xfrm>
                <a:off x="6172200" y="5359400"/>
                <a:ext cx="50800" cy="42863"/>
              </a:xfrm>
              <a:custGeom>
                <a:avLst/>
                <a:gdLst>
                  <a:gd name="T0" fmla="*/ 1 w 128"/>
                  <a:gd name="T1" fmla="*/ 3 h 108"/>
                  <a:gd name="T2" fmla="*/ 0 w 128"/>
                  <a:gd name="T3" fmla="*/ 13 h 108"/>
                  <a:gd name="T4" fmla="*/ 4 w 128"/>
                  <a:gd name="T5" fmla="*/ 35 h 108"/>
                  <a:gd name="T6" fmla="*/ 22 w 128"/>
                  <a:gd name="T7" fmla="*/ 65 h 108"/>
                  <a:gd name="T8" fmla="*/ 61 w 128"/>
                  <a:gd name="T9" fmla="*/ 98 h 108"/>
                  <a:gd name="T10" fmla="*/ 93 w 128"/>
                  <a:gd name="T11" fmla="*/ 108 h 108"/>
                  <a:gd name="T12" fmla="*/ 115 w 128"/>
                  <a:gd name="T13" fmla="*/ 107 h 108"/>
                  <a:gd name="T14" fmla="*/ 126 w 128"/>
                  <a:gd name="T15" fmla="*/ 104 h 108"/>
                  <a:gd name="T16" fmla="*/ 128 w 128"/>
                  <a:gd name="T17" fmla="*/ 101 h 108"/>
                  <a:gd name="T18" fmla="*/ 127 w 128"/>
                  <a:gd name="T19" fmla="*/ 96 h 108"/>
                  <a:gd name="T20" fmla="*/ 123 w 128"/>
                  <a:gd name="T21" fmla="*/ 96 h 108"/>
                  <a:gd name="T22" fmla="*/ 114 w 128"/>
                  <a:gd name="T23" fmla="*/ 100 h 108"/>
                  <a:gd name="T24" fmla="*/ 95 w 128"/>
                  <a:gd name="T25" fmla="*/ 100 h 108"/>
                  <a:gd name="T26" fmla="*/ 64 w 128"/>
                  <a:gd name="T27" fmla="*/ 91 h 108"/>
                  <a:gd name="T28" fmla="*/ 27 w 128"/>
                  <a:gd name="T29" fmla="*/ 61 h 108"/>
                  <a:gd name="T30" fmla="*/ 12 w 128"/>
                  <a:gd name="T31" fmla="*/ 34 h 108"/>
                  <a:gd name="T32" fmla="*/ 8 w 128"/>
                  <a:gd name="T33" fmla="*/ 15 h 108"/>
                  <a:gd name="T34" fmla="*/ 8 w 128"/>
                  <a:gd name="T35" fmla="*/ 4 h 108"/>
                  <a:gd name="T36" fmla="*/ 8 w 128"/>
                  <a:gd name="T37" fmla="*/ 2 h 108"/>
                  <a:gd name="T38" fmla="*/ 3 w 128"/>
                  <a:gd name="T39" fmla="*/ 0 h 108"/>
                  <a:gd name="T40" fmla="*/ 1 w 128"/>
                  <a:gd name="T4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08">
                    <a:moveTo>
                      <a:pt x="1" y="3"/>
                    </a:moveTo>
                    <a:lnTo>
                      <a:pt x="0" y="13"/>
                    </a:lnTo>
                    <a:lnTo>
                      <a:pt x="4" y="35"/>
                    </a:lnTo>
                    <a:lnTo>
                      <a:pt x="22" y="65"/>
                    </a:lnTo>
                    <a:lnTo>
                      <a:pt x="61" y="98"/>
                    </a:lnTo>
                    <a:lnTo>
                      <a:pt x="93" y="108"/>
                    </a:lnTo>
                    <a:lnTo>
                      <a:pt x="115" y="107"/>
                    </a:lnTo>
                    <a:lnTo>
                      <a:pt x="126" y="104"/>
                    </a:lnTo>
                    <a:lnTo>
                      <a:pt x="128" y="101"/>
                    </a:lnTo>
                    <a:lnTo>
                      <a:pt x="127" y="96"/>
                    </a:lnTo>
                    <a:lnTo>
                      <a:pt x="123" y="96"/>
                    </a:lnTo>
                    <a:lnTo>
                      <a:pt x="114" y="100"/>
                    </a:lnTo>
                    <a:lnTo>
                      <a:pt x="95" y="100"/>
                    </a:lnTo>
                    <a:lnTo>
                      <a:pt x="64" y="91"/>
                    </a:lnTo>
                    <a:lnTo>
                      <a:pt x="27" y="61"/>
                    </a:lnTo>
                    <a:lnTo>
                      <a:pt x="12" y="34"/>
                    </a:lnTo>
                    <a:lnTo>
                      <a:pt x="8" y="15"/>
                    </a:lnTo>
                    <a:lnTo>
                      <a:pt x="8" y="4"/>
                    </a:lnTo>
                    <a:lnTo>
                      <a:pt x="8" y="2"/>
                    </a:lnTo>
                    <a:lnTo>
                      <a:pt x="3" y="0"/>
                    </a:lnTo>
                    <a:lnTo>
                      <a:pt x="1" y="3"/>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1" name="Freeform 211">
                <a:extLst>
                  <a:ext uri="{FF2B5EF4-FFF2-40B4-BE49-F238E27FC236}">
                    <a16:creationId xmlns:a16="http://schemas.microsoft.com/office/drawing/2014/main" id="{8E47A02F-5250-4EA7-B4E0-B25358B21098}"/>
                  </a:ext>
                </a:extLst>
              </p:cNvPr>
              <p:cNvSpPr>
                <a:spLocks/>
              </p:cNvSpPr>
              <p:nvPr/>
            </p:nvSpPr>
            <p:spPr bwMode="auto">
              <a:xfrm>
                <a:off x="6164263" y="5368925"/>
                <a:ext cx="50800" cy="41275"/>
              </a:xfrm>
              <a:custGeom>
                <a:avLst/>
                <a:gdLst>
                  <a:gd name="T0" fmla="*/ 2 w 127"/>
                  <a:gd name="T1" fmla="*/ 3 h 108"/>
                  <a:gd name="T2" fmla="*/ 0 w 127"/>
                  <a:gd name="T3" fmla="*/ 15 h 108"/>
                  <a:gd name="T4" fmla="*/ 4 w 127"/>
                  <a:gd name="T5" fmla="*/ 35 h 108"/>
                  <a:gd name="T6" fmla="*/ 22 w 127"/>
                  <a:gd name="T7" fmla="*/ 67 h 108"/>
                  <a:gd name="T8" fmla="*/ 60 w 127"/>
                  <a:gd name="T9" fmla="*/ 98 h 108"/>
                  <a:gd name="T10" fmla="*/ 94 w 127"/>
                  <a:gd name="T11" fmla="*/ 108 h 108"/>
                  <a:gd name="T12" fmla="*/ 116 w 127"/>
                  <a:gd name="T13" fmla="*/ 108 h 108"/>
                  <a:gd name="T14" fmla="*/ 126 w 127"/>
                  <a:gd name="T15" fmla="*/ 104 h 108"/>
                  <a:gd name="T16" fmla="*/ 127 w 127"/>
                  <a:gd name="T17" fmla="*/ 103 h 108"/>
                  <a:gd name="T18" fmla="*/ 126 w 127"/>
                  <a:gd name="T19" fmla="*/ 98 h 108"/>
                  <a:gd name="T20" fmla="*/ 124 w 127"/>
                  <a:gd name="T21" fmla="*/ 98 h 108"/>
                  <a:gd name="T22" fmla="*/ 114 w 127"/>
                  <a:gd name="T23" fmla="*/ 100 h 108"/>
                  <a:gd name="T24" fmla="*/ 95 w 127"/>
                  <a:gd name="T25" fmla="*/ 102 h 108"/>
                  <a:gd name="T26" fmla="*/ 64 w 127"/>
                  <a:gd name="T27" fmla="*/ 91 h 108"/>
                  <a:gd name="T28" fmla="*/ 28 w 127"/>
                  <a:gd name="T29" fmla="*/ 63 h 108"/>
                  <a:gd name="T30" fmla="*/ 11 w 127"/>
                  <a:gd name="T31" fmla="*/ 34 h 108"/>
                  <a:gd name="T32" fmla="*/ 7 w 127"/>
                  <a:gd name="T33" fmla="*/ 15 h 108"/>
                  <a:gd name="T34" fmla="*/ 8 w 127"/>
                  <a:gd name="T35" fmla="*/ 6 h 108"/>
                  <a:gd name="T36" fmla="*/ 8 w 127"/>
                  <a:gd name="T37" fmla="*/ 2 h 108"/>
                  <a:gd name="T38" fmla="*/ 3 w 127"/>
                  <a:gd name="T39" fmla="*/ 0 h 108"/>
                  <a:gd name="T40" fmla="*/ 2 w 127"/>
                  <a:gd name="T4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 h="108">
                    <a:moveTo>
                      <a:pt x="2" y="3"/>
                    </a:moveTo>
                    <a:lnTo>
                      <a:pt x="0" y="15"/>
                    </a:lnTo>
                    <a:lnTo>
                      <a:pt x="4" y="35"/>
                    </a:lnTo>
                    <a:lnTo>
                      <a:pt x="22" y="67"/>
                    </a:lnTo>
                    <a:lnTo>
                      <a:pt x="60" y="98"/>
                    </a:lnTo>
                    <a:lnTo>
                      <a:pt x="94" y="108"/>
                    </a:lnTo>
                    <a:lnTo>
                      <a:pt x="116" y="108"/>
                    </a:lnTo>
                    <a:lnTo>
                      <a:pt x="126" y="104"/>
                    </a:lnTo>
                    <a:lnTo>
                      <a:pt x="127" y="103"/>
                    </a:lnTo>
                    <a:lnTo>
                      <a:pt x="126" y="98"/>
                    </a:lnTo>
                    <a:lnTo>
                      <a:pt x="124" y="98"/>
                    </a:lnTo>
                    <a:lnTo>
                      <a:pt x="114" y="100"/>
                    </a:lnTo>
                    <a:lnTo>
                      <a:pt x="95" y="102"/>
                    </a:lnTo>
                    <a:lnTo>
                      <a:pt x="64" y="91"/>
                    </a:lnTo>
                    <a:lnTo>
                      <a:pt x="28" y="63"/>
                    </a:lnTo>
                    <a:lnTo>
                      <a:pt x="11" y="34"/>
                    </a:lnTo>
                    <a:lnTo>
                      <a:pt x="7" y="15"/>
                    </a:lnTo>
                    <a:lnTo>
                      <a:pt x="8" y="6"/>
                    </a:lnTo>
                    <a:lnTo>
                      <a:pt x="8" y="2"/>
                    </a:lnTo>
                    <a:lnTo>
                      <a:pt x="3" y="0"/>
                    </a:lnTo>
                    <a:lnTo>
                      <a:pt x="2" y="3"/>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2" name="Freeform 212">
                <a:extLst>
                  <a:ext uri="{FF2B5EF4-FFF2-40B4-BE49-F238E27FC236}">
                    <a16:creationId xmlns:a16="http://schemas.microsoft.com/office/drawing/2014/main" id="{4A713317-13E5-120C-F35F-D9DD72502D92}"/>
                  </a:ext>
                </a:extLst>
              </p:cNvPr>
              <p:cNvSpPr>
                <a:spLocks/>
              </p:cNvSpPr>
              <p:nvPr/>
            </p:nvSpPr>
            <p:spPr bwMode="auto">
              <a:xfrm>
                <a:off x="6154738" y="5378450"/>
                <a:ext cx="50800" cy="42863"/>
              </a:xfrm>
              <a:custGeom>
                <a:avLst/>
                <a:gdLst>
                  <a:gd name="T0" fmla="*/ 1 w 128"/>
                  <a:gd name="T1" fmla="*/ 2 h 106"/>
                  <a:gd name="T2" fmla="*/ 0 w 128"/>
                  <a:gd name="T3" fmla="*/ 11 h 106"/>
                  <a:gd name="T4" fmla="*/ 5 w 128"/>
                  <a:gd name="T5" fmla="*/ 33 h 106"/>
                  <a:gd name="T6" fmla="*/ 23 w 128"/>
                  <a:gd name="T7" fmla="*/ 63 h 106"/>
                  <a:gd name="T8" fmla="*/ 61 w 128"/>
                  <a:gd name="T9" fmla="*/ 96 h 106"/>
                  <a:gd name="T10" fmla="*/ 94 w 128"/>
                  <a:gd name="T11" fmla="*/ 106 h 106"/>
                  <a:gd name="T12" fmla="*/ 115 w 128"/>
                  <a:gd name="T13" fmla="*/ 106 h 106"/>
                  <a:gd name="T14" fmla="*/ 125 w 128"/>
                  <a:gd name="T15" fmla="*/ 102 h 106"/>
                  <a:gd name="T16" fmla="*/ 128 w 128"/>
                  <a:gd name="T17" fmla="*/ 101 h 106"/>
                  <a:gd name="T18" fmla="*/ 127 w 128"/>
                  <a:gd name="T19" fmla="*/ 96 h 106"/>
                  <a:gd name="T20" fmla="*/ 123 w 128"/>
                  <a:gd name="T21" fmla="*/ 96 h 106"/>
                  <a:gd name="T22" fmla="*/ 115 w 128"/>
                  <a:gd name="T23" fmla="*/ 98 h 106"/>
                  <a:gd name="T24" fmla="*/ 96 w 128"/>
                  <a:gd name="T25" fmla="*/ 99 h 106"/>
                  <a:gd name="T26" fmla="*/ 65 w 128"/>
                  <a:gd name="T27" fmla="*/ 89 h 106"/>
                  <a:gd name="T28" fmla="*/ 28 w 128"/>
                  <a:gd name="T29" fmla="*/ 59 h 106"/>
                  <a:gd name="T30" fmla="*/ 11 w 128"/>
                  <a:gd name="T31" fmla="*/ 32 h 106"/>
                  <a:gd name="T32" fmla="*/ 8 w 128"/>
                  <a:gd name="T33" fmla="*/ 13 h 106"/>
                  <a:gd name="T34" fmla="*/ 8 w 128"/>
                  <a:gd name="T35" fmla="*/ 4 h 106"/>
                  <a:gd name="T36" fmla="*/ 8 w 128"/>
                  <a:gd name="T37" fmla="*/ 0 h 106"/>
                  <a:gd name="T38" fmla="*/ 2 w 128"/>
                  <a:gd name="T39" fmla="*/ 0 h 106"/>
                  <a:gd name="T40" fmla="*/ 1 w 128"/>
                  <a:gd name="T41" fmla="*/ 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06">
                    <a:moveTo>
                      <a:pt x="1" y="2"/>
                    </a:moveTo>
                    <a:lnTo>
                      <a:pt x="0" y="11"/>
                    </a:lnTo>
                    <a:lnTo>
                      <a:pt x="5" y="33"/>
                    </a:lnTo>
                    <a:lnTo>
                      <a:pt x="23" y="63"/>
                    </a:lnTo>
                    <a:lnTo>
                      <a:pt x="61" y="96"/>
                    </a:lnTo>
                    <a:lnTo>
                      <a:pt x="94" y="106"/>
                    </a:lnTo>
                    <a:lnTo>
                      <a:pt x="115" y="106"/>
                    </a:lnTo>
                    <a:lnTo>
                      <a:pt x="125" y="102"/>
                    </a:lnTo>
                    <a:lnTo>
                      <a:pt x="128" y="101"/>
                    </a:lnTo>
                    <a:lnTo>
                      <a:pt x="127" y="96"/>
                    </a:lnTo>
                    <a:lnTo>
                      <a:pt x="123" y="96"/>
                    </a:lnTo>
                    <a:lnTo>
                      <a:pt x="115" y="98"/>
                    </a:lnTo>
                    <a:lnTo>
                      <a:pt x="96" y="99"/>
                    </a:lnTo>
                    <a:lnTo>
                      <a:pt x="65" y="89"/>
                    </a:lnTo>
                    <a:lnTo>
                      <a:pt x="28" y="59"/>
                    </a:lnTo>
                    <a:lnTo>
                      <a:pt x="11" y="32"/>
                    </a:lnTo>
                    <a:lnTo>
                      <a:pt x="8" y="13"/>
                    </a:lnTo>
                    <a:lnTo>
                      <a:pt x="8" y="4"/>
                    </a:lnTo>
                    <a:lnTo>
                      <a:pt x="8" y="0"/>
                    </a:lnTo>
                    <a:lnTo>
                      <a:pt x="2" y="0"/>
                    </a:lnTo>
                    <a:lnTo>
                      <a:pt x="1" y="2"/>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3" name="Freeform 213">
                <a:extLst>
                  <a:ext uri="{FF2B5EF4-FFF2-40B4-BE49-F238E27FC236}">
                    <a16:creationId xmlns:a16="http://schemas.microsoft.com/office/drawing/2014/main" id="{94039098-C730-4AC2-81F8-DF104B1767CF}"/>
                  </a:ext>
                </a:extLst>
              </p:cNvPr>
              <p:cNvSpPr>
                <a:spLocks/>
              </p:cNvSpPr>
              <p:nvPr/>
            </p:nvSpPr>
            <p:spPr bwMode="auto">
              <a:xfrm>
                <a:off x="6080125" y="5446713"/>
                <a:ext cx="61913" cy="53975"/>
              </a:xfrm>
              <a:custGeom>
                <a:avLst/>
                <a:gdLst>
                  <a:gd name="T0" fmla="*/ 2 w 154"/>
                  <a:gd name="T1" fmla="*/ 3 h 137"/>
                  <a:gd name="T2" fmla="*/ 0 w 154"/>
                  <a:gd name="T3" fmla="*/ 16 h 137"/>
                  <a:gd name="T4" fmla="*/ 4 w 154"/>
                  <a:gd name="T5" fmla="*/ 43 h 137"/>
                  <a:gd name="T6" fmla="*/ 15 w 154"/>
                  <a:gd name="T7" fmla="*/ 70 h 137"/>
                  <a:gd name="T8" fmla="*/ 34 w 154"/>
                  <a:gd name="T9" fmla="*/ 94 h 137"/>
                  <a:gd name="T10" fmla="*/ 57 w 154"/>
                  <a:gd name="T11" fmla="*/ 114 h 137"/>
                  <a:gd name="T12" fmla="*/ 83 w 154"/>
                  <a:gd name="T13" fmla="*/ 129 h 137"/>
                  <a:gd name="T14" fmla="*/ 111 w 154"/>
                  <a:gd name="T15" fmla="*/ 137 h 137"/>
                  <a:gd name="T16" fmla="*/ 139 w 154"/>
                  <a:gd name="T17" fmla="*/ 135 h 137"/>
                  <a:gd name="T18" fmla="*/ 151 w 154"/>
                  <a:gd name="T19" fmla="*/ 131 h 137"/>
                  <a:gd name="T20" fmla="*/ 154 w 154"/>
                  <a:gd name="T21" fmla="*/ 129 h 137"/>
                  <a:gd name="T22" fmla="*/ 153 w 154"/>
                  <a:gd name="T23" fmla="*/ 124 h 137"/>
                  <a:gd name="T24" fmla="*/ 149 w 154"/>
                  <a:gd name="T25" fmla="*/ 125 h 137"/>
                  <a:gd name="T26" fmla="*/ 137 w 154"/>
                  <a:gd name="T27" fmla="*/ 129 h 137"/>
                  <a:gd name="T28" fmla="*/ 111 w 154"/>
                  <a:gd name="T29" fmla="*/ 129 h 137"/>
                  <a:gd name="T30" fmla="*/ 85 w 154"/>
                  <a:gd name="T31" fmla="*/ 122 h 137"/>
                  <a:gd name="T32" fmla="*/ 61 w 154"/>
                  <a:gd name="T33" fmla="*/ 108 h 137"/>
                  <a:gd name="T34" fmla="*/ 39 w 154"/>
                  <a:gd name="T35" fmla="*/ 90 h 137"/>
                  <a:gd name="T36" fmla="*/ 21 w 154"/>
                  <a:gd name="T37" fmla="*/ 67 h 137"/>
                  <a:gd name="T38" fmla="*/ 10 w 154"/>
                  <a:gd name="T39" fmla="*/ 42 h 137"/>
                  <a:gd name="T40" fmla="*/ 8 w 154"/>
                  <a:gd name="T41" fmla="*/ 17 h 137"/>
                  <a:gd name="T42" fmla="*/ 10 w 154"/>
                  <a:gd name="T43" fmla="*/ 4 h 137"/>
                  <a:gd name="T44" fmla="*/ 9 w 154"/>
                  <a:gd name="T45" fmla="*/ 2 h 137"/>
                  <a:gd name="T46" fmla="*/ 4 w 154"/>
                  <a:gd name="T47" fmla="*/ 0 h 137"/>
                  <a:gd name="T48" fmla="*/ 2 w 154"/>
                  <a:gd name="T49" fmla="*/ 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37">
                    <a:moveTo>
                      <a:pt x="2" y="3"/>
                    </a:moveTo>
                    <a:lnTo>
                      <a:pt x="0" y="16"/>
                    </a:lnTo>
                    <a:lnTo>
                      <a:pt x="4" y="43"/>
                    </a:lnTo>
                    <a:lnTo>
                      <a:pt x="15" y="70"/>
                    </a:lnTo>
                    <a:lnTo>
                      <a:pt x="34" y="94"/>
                    </a:lnTo>
                    <a:lnTo>
                      <a:pt x="57" y="114"/>
                    </a:lnTo>
                    <a:lnTo>
                      <a:pt x="83" y="129"/>
                    </a:lnTo>
                    <a:lnTo>
                      <a:pt x="111" y="137"/>
                    </a:lnTo>
                    <a:lnTo>
                      <a:pt x="139" y="135"/>
                    </a:lnTo>
                    <a:lnTo>
                      <a:pt x="151" y="131"/>
                    </a:lnTo>
                    <a:lnTo>
                      <a:pt x="154" y="129"/>
                    </a:lnTo>
                    <a:lnTo>
                      <a:pt x="153" y="124"/>
                    </a:lnTo>
                    <a:lnTo>
                      <a:pt x="149" y="125"/>
                    </a:lnTo>
                    <a:lnTo>
                      <a:pt x="137" y="129"/>
                    </a:lnTo>
                    <a:lnTo>
                      <a:pt x="111" y="129"/>
                    </a:lnTo>
                    <a:lnTo>
                      <a:pt x="85" y="122"/>
                    </a:lnTo>
                    <a:lnTo>
                      <a:pt x="61" y="108"/>
                    </a:lnTo>
                    <a:lnTo>
                      <a:pt x="39" y="90"/>
                    </a:lnTo>
                    <a:lnTo>
                      <a:pt x="21" y="67"/>
                    </a:lnTo>
                    <a:lnTo>
                      <a:pt x="10" y="42"/>
                    </a:lnTo>
                    <a:lnTo>
                      <a:pt x="8" y="17"/>
                    </a:lnTo>
                    <a:lnTo>
                      <a:pt x="10" y="4"/>
                    </a:lnTo>
                    <a:lnTo>
                      <a:pt x="9" y="2"/>
                    </a:lnTo>
                    <a:lnTo>
                      <a:pt x="4" y="0"/>
                    </a:lnTo>
                    <a:lnTo>
                      <a:pt x="2" y="3"/>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4" name="Freeform 214">
                <a:extLst>
                  <a:ext uri="{FF2B5EF4-FFF2-40B4-BE49-F238E27FC236}">
                    <a16:creationId xmlns:a16="http://schemas.microsoft.com/office/drawing/2014/main" id="{50E25D61-43F0-9748-A7A6-54577BE2C946}"/>
                  </a:ext>
                </a:extLst>
              </p:cNvPr>
              <p:cNvSpPr>
                <a:spLocks/>
              </p:cNvSpPr>
              <p:nvPr/>
            </p:nvSpPr>
            <p:spPr bwMode="auto">
              <a:xfrm>
                <a:off x="6070600" y="5456238"/>
                <a:ext cx="61913" cy="53975"/>
              </a:xfrm>
              <a:custGeom>
                <a:avLst/>
                <a:gdLst>
                  <a:gd name="T0" fmla="*/ 2 w 153"/>
                  <a:gd name="T1" fmla="*/ 2 h 137"/>
                  <a:gd name="T2" fmla="*/ 0 w 153"/>
                  <a:gd name="T3" fmla="*/ 17 h 137"/>
                  <a:gd name="T4" fmla="*/ 2 w 153"/>
                  <a:gd name="T5" fmla="*/ 44 h 137"/>
                  <a:gd name="T6" fmla="*/ 14 w 153"/>
                  <a:gd name="T7" fmla="*/ 71 h 137"/>
                  <a:gd name="T8" fmla="*/ 32 w 153"/>
                  <a:gd name="T9" fmla="*/ 96 h 137"/>
                  <a:gd name="T10" fmla="*/ 56 w 153"/>
                  <a:gd name="T11" fmla="*/ 115 h 137"/>
                  <a:gd name="T12" fmla="*/ 81 w 153"/>
                  <a:gd name="T13" fmla="*/ 129 h 137"/>
                  <a:gd name="T14" fmla="*/ 110 w 153"/>
                  <a:gd name="T15" fmla="*/ 137 h 137"/>
                  <a:gd name="T16" fmla="*/ 137 w 153"/>
                  <a:gd name="T17" fmla="*/ 136 h 137"/>
                  <a:gd name="T18" fmla="*/ 151 w 153"/>
                  <a:gd name="T19" fmla="*/ 131 h 137"/>
                  <a:gd name="T20" fmla="*/ 153 w 153"/>
                  <a:gd name="T21" fmla="*/ 129 h 137"/>
                  <a:gd name="T22" fmla="*/ 151 w 153"/>
                  <a:gd name="T23" fmla="*/ 124 h 137"/>
                  <a:gd name="T24" fmla="*/ 149 w 153"/>
                  <a:gd name="T25" fmla="*/ 124 h 137"/>
                  <a:gd name="T26" fmla="*/ 137 w 153"/>
                  <a:gd name="T27" fmla="*/ 129 h 137"/>
                  <a:gd name="T28" fmla="*/ 110 w 153"/>
                  <a:gd name="T29" fmla="*/ 129 h 137"/>
                  <a:gd name="T30" fmla="*/ 84 w 153"/>
                  <a:gd name="T31" fmla="*/ 123 h 137"/>
                  <a:gd name="T32" fmla="*/ 59 w 153"/>
                  <a:gd name="T33" fmla="*/ 110 h 137"/>
                  <a:gd name="T34" fmla="*/ 37 w 153"/>
                  <a:gd name="T35" fmla="*/ 90 h 137"/>
                  <a:gd name="T36" fmla="*/ 21 w 153"/>
                  <a:gd name="T37" fmla="*/ 68 h 137"/>
                  <a:gd name="T38" fmla="*/ 9 w 153"/>
                  <a:gd name="T39" fmla="*/ 43 h 137"/>
                  <a:gd name="T40" fmla="*/ 6 w 153"/>
                  <a:gd name="T41" fmla="*/ 17 h 137"/>
                  <a:gd name="T42" fmla="*/ 9 w 153"/>
                  <a:gd name="T43" fmla="*/ 4 h 137"/>
                  <a:gd name="T44" fmla="*/ 9 w 153"/>
                  <a:gd name="T45" fmla="*/ 1 h 137"/>
                  <a:gd name="T46" fmla="*/ 4 w 153"/>
                  <a:gd name="T47" fmla="*/ 0 h 137"/>
                  <a:gd name="T48" fmla="*/ 2 w 153"/>
                  <a:gd name="T49"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37">
                    <a:moveTo>
                      <a:pt x="2" y="2"/>
                    </a:moveTo>
                    <a:lnTo>
                      <a:pt x="0" y="17"/>
                    </a:lnTo>
                    <a:lnTo>
                      <a:pt x="2" y="44"/>
                    </a:lnTo>
                    <a:lnTo>
                      <a:pt x="14" y="71"/>
                    </a:lnTo>
                    <a:lnTo>
                      <a:pt x="32" y="96"/>
                    </a:lnTo>
                    <a:lnTo>
                      <a:pt x="56" y="115"/>
                    </a:lnTo>
                    <a:lnTo>
                      <a:pt x="81" y="129"/>
                    </a:lnTo>
                    <a:lnTo>
                      <a:pt x="110" y="137"/>
                    </a:lnTo>
                    <a:lnTo>
                      <a:pt x="137" y="136"/>
                    </a:lnTo>
                    <a:lnTo>
                      <a:pt x="151" y="131"/>
                    </a:lnTo>
                    <a:lnTo>
                      <a:pt x="153" y="129"/>
                    </a:lnTo>
                    <a:lnTo>
                      <a:pt x="151" y="124"/>
                    </a:lnTo>
                    <a:lnTo>
                      <a:pt x="149" y="124"/>
                    </a:lnTo>
                    <a:lnTo>
                      <a:pt x="137" y="129"/>
                    </a:lnTo>
                    <a:lnTo>
                      <a:pt x="110" y="129"/>
                    </a:lnTo>
                    <a:lnTo>
                      <a:pt x="84" y="123"/>
                    </a:lnTo>
                    <a:lnTo>
                      <a:pt x="59" y="110"/>
                    </a:lnTo>
                    <a:lnTo>
                      <a:pt x="37" y="90"/>
                    </a:lnTo>
                    <a:lnTo>
                      <a:pt x="21" y="68"/>
                    </a:lnTo>
                    <a:lnTo>
                      <a:pt x="9" y="43"/>
                    </a:lnTo>
                    <a:lnTo>
                      <a:pt x="6" y="17"/>
                    </a:lnTo>
                    <a:lnTo>
                      <a:pt x="9" y="4"/>
                    </a:lnTo>
                    <a:lnTo>
                      <a:pt x="9" y="1"/>
                    </a:lnTo>
                    <a:lnTo>
                      <a:pt x="4" y="0"/>
                    </a:lnTo>
                    <a:lnTo>
                      <a:pt x="2" y="2"/>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5" name="Freeform 215">
                <a:extLst>
                  <a:ext uri="{FF2B5EF4-FFF2-40B4-BE49-F238E27FC236}">
                    <a16:creationId xmlns:a16="http://schemas.microsoft.com/office/drawing/2014/main" id="{5976B92B-702E-CD79-0752-BF5195E45992}"/>
                  </a:ext>
                </a:extLst>
              </p:cNvPr>
              <p:cNvSpPr>
                <a:spLocks/>
              </p:cNvSpPr>
              <p:nvPr/>
            </p:nvSpPr>
            <p:spPr bwMode="auto">
              <a:xfrm>
                <a:off x="6062663" y="5465763"/>
                <a:ext cx="60325" cy="53975"/>
              </a:xfrm>
              <a:custGeom>
                <a:avLst/>
                <a:gdLst>
                  <a:gd name="T0" fmla="*/ 4 w 155"/>
                  <a:gd name="T1" fmla="*/ 3 h 138"/>
                  <a:gd name="T2" fmla="*/ 0 w 155"/>
                  <a:gd name="T3" fmla="*/ 17 h 138"/>
                  <a:gd name="T4" fmla="*/ 3 w 155"/>
                  <a:gd name="T5" fmla="*/ 46 h 138"/>
                  <a:gd name="T6" fmla="*/ 15 w 155"/>
                  <a:gd name="T7" fmla="*/ 73 h 138"/>
                  <a:gd name="T8" fmla="*/ 33 w 155"/>
                  <a:gd name="T9" fmla="*/ 98 h 138"/>
                  <a:gd name="T10" fmla="*/ 55 w 155"/>
                  <a:gd name="T11" fmla="*/ 117 h 138"/>
                  <a:gd name="T12" fmla="*/ 82 w 155"/>
                  <a:gd name="T13" fmla="*/ 131 h 138"/>
                  <a:gd name="T14" fmla="*/ 111 w 155"/>
                  <a:gd name="T15" fmla="*/ 138 h 138"/>
                  <a:gd name="T16" fmla="*/ 139 w 155"/>
                  <a:gd name="T17" fmla="*/ 136 h 138"/>
                  <a:gd name="T18" fmla="*/ 152 w 155"/>
                  <a:gd name="T19" fmla="*/ 131 h 138"/>
                  <a:gd name="T20" fmla="*/ 155 w 155"/>
                  <a:gd name="T21" fmla="*/ 129 h 138"/>
                  <a:gd name="T22" fmla="*/ 153 w 155"/>
                  <a:gd name="T23" fmla="*/ 124 h 138"/>
                  <a:gd name="T24" fmla="*/ 151 w 155"/>
                  <a:gd name="T25" fmla="*/ 125 h 138"/>
                  <a:gd name="T26" fmla="*/ 138 w 155"/>
                  <a:gd name="T27" fmla="*/ 129 h 138"/>
                  <a:gd name="T28" fmla="*/ 111 w 155"/>
                  <a:gd name="T29" fmla="*/ 131 h 138"/>
                  <a:gd name="T30" fmla="*/ 85 w 155"/>
                  <a:gd name="T31" fmla="*/ 125 h 138"/>
                  <a:gd name="T32" fmla="*/ 60 w 155"/>
                  <a:gd name="T33" fmla="*/ 112 h 138"/>
                  <a:gd name="T34" fmla="*/ 38 w 155"/>
                  <a:gd name="T35" fmla="*/ 92 h 138"/>
                  <a:gd name="T36" fmla="*/ 21 w 155"/>
                  <a:gd name="T37" fmla="*/ 70 h 138"/>
                  <a:gd name="T38" fmla="*/ 11 w 155"/>
                  <a:gd name="T39" fmla="*/ 44 h 138"/>
                  <a:gd name="T40" fmla="*/ 8 w 155"/>
                  <a:gd name="T41" fmla="*/ 17 h 138"/>
                  <a:gd name="T42" fmla="*/ 11 w 155"/>
                  <a:gd name="T43" fmla="*/ 4 h 138"/>
                  <a:gd name="T44" fmla="*/ 11 w 155"/>
                  <a:gd name="T45" fmla="*/ 2 h 138"/>
                  <a:gd name="T46" fmla="*/ 6 w 155"/>
                  <a:gd name="T47" fmla="*/ 0 h 138"/>
                  <a:gd name="T48" fmla="*/ 4 w 155"/>
                  <a:gd name="T49"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5" h="138">
                    <a:moveTo>
                      <a:pt x="4" y="3"/>
                    </a:moveTo>
                    <a:lnTo>
                      <a:pt x="0" y="17"/>
                    </a:lnTo>
                    <a:lnTo>
                      <a:pt x="3" y="46"/>
                    </a:lnTo>
                    <a:lnTo>
                      <a:pt x="15" y="73"/>
                    </a:lnTo>
                    <a:lnTo>
                      <a:pt x="33" y="98"/>
                    </a:lnTo>
                    <a:lnTo>
                      <a:pt x="55" y="117"/>
                    </a:lnTo>
                    <a:lnTo>
                      <a:pt x="82" y="131"/>
                    </a:lnTo>
                    <a:lnTo>
                      <a:pt x="111" y="138"/>
                    </a:lnTo>
                    <a:lnTo>
                      <a:pt x="139" y="136"/>
                    </a:lnTo>
                    <a:lnTo>
                      <a:pt x="152" y="131"/>
                    </a:lnTo>
                    <a:lnTo>
                      <a:pt x="155" y="129"/>
                    </a:lnTo>
                    <a:lnTo>
                      <a:pt x="153" y="124"/>
                    </a:lnTo>
                    <a:lnTo>
                      <a:pt x="151" y="125"/>
                    </a:lnTo>
                    <a:lnTo>
                      <a:pt x="138" y="129"/>
                    </a:lnTo>
                    <a:lnTo>
                      <a:pt x="111" y="131"/>
                    </a:lnTo>
                    <a:lnTo>
                      <a:pt x="85" y="125"/>
                    </a:lnTo>
                    <a:lnTo>
                      <a:pt x="60" y="112"/>
                    </a:lnTo>
                    <a:lnTo>
                      <a:pt x="38" y="92"/>
                    </a:lnTo>
                    <a:lnTo>
                      <a:pt x="21" y="70"/>
                    </a:lnTo>
                    <a:lnTo>
                      <a:pt x="11" y="44"/>
                    </a:lnTo>
                    <a:lnTo>
                      <a:pt x="8" y="17"/>
                    </a:lnTo>
                    <a:lnTo>
                      <a:pt x="11" y="4"/>
                    </a:lnTo>
                    <a:lnTo>
                      <a:pt x="11" y="2"/>
                    </a:lnTo>
                    <a:lnTo>
                      <a:pt x="6" y="0"/>
                    </a:lnTo>
                    <a:lnTo>
                      <a:pt x="4" y="3"/>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6" name="Freeform 216">
                <a:extLst>
                  <a:ext uri="{FF2B5EF4-FFF2-40B4-BE49-F238E27FC236}">
                    <a16:creationId xmlns:a16="http://schemas.microsoft.com/office/drawing/2014/main" id="{5555646B-6E8F-3BED-B202-AF8B5AA38A67}"/>
                  </a:ext>
                </a:extLst>
              </p:cNvPr>
              <p:cNvSpPr>
                <a:spLocks/>
              </p:cNvSpPr>
              <p:nvPr/>
            </p:nvSpPr>
            <p:spPr bwMode="auto">
              <a:xfrm>
                <a:off x="6053138" y="5475288"/>
                <a:ext cx="61913" cy="53975"/>
              </a:xfrm>
              <a:custGeom>
                <a:avLst/>
                <a:gdLst>
                  <a:gd name="T0" fmla="*/ 4 w 155"/>
                  <a:gd name="T1" fmla="*/ 2 h 138"/>
                  <a:gd name="T2" fmla="*/ 0 w 155"/>
                  <a:gd name="T3" fmla="*/ 17 h 138"/>
                  <a:gd name="T4" fmla="*/ 3 w 155"/>
                  <a:gd name="T5" fmla="*/ 46 h 138"/>
                  <a:gd name="T6" fmla="*/ 13 w 155"/>
                  <a:gd name="T7" fmla="*/ 74 h 138"/>
                  <a:gd name="T8" fmla="*/ 32 w 155"/>
                  <a:gd name="T9" fmla="*/ 98 h 138"/>
                  <a:gd name="T10" fmla="*/ 54 w 155"/>
                  <a:gd name="T11" fmla="*/ 118 h 138"/>
                  <a:gd name="T12" fmla="*/ 81 w 155"/>
                  <a:gd name="T13" fmla="*/ 132 h 138"/>
                  <a:gd name="T14" fmla="*/ 109 w 155"/>
                  <a:gd name="T15" fmla="*/ 138 h 138"/>
                  <a:gd name="T16" fmla="*/ 138 w 155"/>
                  <a:gd name="T17" fmla="*/ 137 h 138"/>
                  <a:gd name="T18" fmla="*/ 152 w 155"/>
                  <a:gd name="T19" fmla="*/ 132 h 138"/>
                  <a:gd name="T20" fmla="*/ 155 w 155"/>
                  <a:gd name="T21" fmla="*/ 129 h 138"/>
                  <a:gd name="T22" fmla="*/ 153 w 155"/>
                  <a:gd name="T23" fmla="*/ 124 h 138"/>
                  <a:gd name="T24" fmla="*/ 149 w 155"/>
                  <a:gd name="T25" fmla="*/ 124 h 138"/>
                  <a:gd name="T26" fmla="*/ 137 w 155"/>
                  <a:gd name="T27" fmla="*/ 129 h 138"/>
                  <a:gd name="T28" fmla="*/ 109 w 155"/>
                  <a:gd name="T29" fmla="*/ 131 h 138"/>
                  <a:gd name="T30" fmla="*/ 83 w 155"/>
                  <a:gd name="T31" fmla="*/ 125 h 138"/>
                  <a:gd name="T32" fmla="*/ 57 w 155"/>
                  <a:gd name="T33" fmla="*/ 111 h 138"/>
                  <a:gd name="T34" fmla="*/ 37 w 155"/>
                  <a:gd name="T35" fmla="*/ 93 h 138"/>
                  <a:gd name="T36" fmla="*/ 20 w 155"/>
                  <a:gd name="T37" fmla="*/ 70 h 138"/>
                  <a:gd name="T38" fmla="*/ 9 w 155"/>
                  <a:gd name="T39" fmla="*/ 45 h 138"/>
                  <a:gd name="T40" fmla="*/ 8 w 155"/>
                  <a:gd name="T41" fmla="*/ 18 h 138"/>
                  <a:gd name="T42" fmla="*/ 11 w 155"/>
                  <a:gd name="T43" fmla="*/ 4 h 138"/>
                  <a:gd name="T44" fmla="*/ 11 w 155"/>
                  <a:gd name="T45" fmla="*/ 1 h 138"/>
                  <a:gd name="T46" fmla="*/ 6 w 155"/>
                  <a:gd name="T47" fmla="*/ 0 h 138"/>
                  <a:gd name="T48" fmla="*/ 4 w 155"/>
                  <a:gd name="T49"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5" h="138">
                    <a:moveTo>
                      <a:pt x="4" y="2"/>
                    </a:moveTo>
                    <a:lnTo>
                      <a:pt x="0" y="17"/>
                    </a:lnTo>
                    <a:lnTo>
                      <a:pt x="3" y="46"/>
                    </a:lnTo>
                    <a:lnTo>
                      <a:pt x="13" y="74"/>
                    </a:lnTo>
                    <a:lnTo>
                      <a:pt x="32" y="98"/>
                    </a:lnTo>
                    <a:lnTo>
                      <a:pt x="54" y="118"/>
                    </a:lnTo>
                    <a:lnTo>
                      <a:pt x="81" y="132"/>
                    </a:lnTo>
                    <a:lnTo>
                      <a:pt x="109" y="138"/>
                    </a:lnTo>
                    <a:lnTo>
                      <a:pt x="138" y="137"/>
                    </a:lnTo>
                    <a:lnTo>
                      <a:pt x="152" y="132"/>
                    </a:lnTo>
                    <a:lnTo>
                      <a:pt x="155" y="129"/>
                    </a:lnTo>
                    <a:lnTo>
                      <a:pt x="153" y="124"/>
                    </a:lnTo>
                    <a:lnTo>
                      <a:pt x="149" y="124"/>
                    </a:lnTo>
                    <a:lnTo>
                      <a:pt x="137" y="129"/>
                    </a:lnTo>
                    <a:lnTo>
                      <a:pt x="109" y="131"/>
                    </a:lnTo>
                    <a:lnTo>
                      <a:pt x="83" y="125"/>
                    </a:lnTo>
                    <a:lnTo>
                      <a:pt x="57" y="111"/>
                    </a:lnTo>
                    <a:lnTo>
                      <a:pt x="37" y="93"/>
                    </a:lnTo>
                    <a:lnTo>
                      <a:pt x="20" y="70"/>
                    </a:lnTo>
                    <a:lnTo>
                      <a:pt x="9" y="45"/>
                    </a:lnTo>
                    <a:lnTo>
                      <a:pt x="8" y="18"/>
                    </a:lnTo>
                    <a:lnTo>
                      <a:pt x="11" y="4"/>
                    </a:lnTo>
                    <a:lnTo>
                      <a:pt x="11" y="1"/>
                    </a:lnTo>
                    <a:lnTo>
                      <a:pt x="6" y="0"/>
                    </a:lnTo>
                    <a:lnTo>
                      <a:pt x="4" y="2"/>
                    </a:lnTo>
                    <a:close/>
                  </a:path>
                </a:pathLst>
              </a:custGeom>
              <a:solidFill>
                <a:srgbClr val="987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7" name="Freeform 217">
                <a:extLst>
                  <a:ext uri="{FF2B5EF4-FFF2-40B4-BE49-F238E27FC236}">
                    <a16:creationId xmlns:a16="http://schemas.microsoft.com/office/drawing/2014/main" id="{4B11CE24-6B9A-8D98-C1BA-C1E8FCA5CDE2}"/>
                  </a:ext>
                </a:extLst>
              </p:cNvPr>
              <p:cNvSpPr>
                <a:spLocks/>
              </p:cNvSpPr>
              <p:nvPr/>
            </p:nvSpPr>
            <p:spPr bwMode="auto">
              <a:xfrm>
                <a:off x="6213528" y="4825378"/>
                <a:ext cx="506413" cy="550863"/>
              </a:xfrm>
              <a:custGeom>
                <a:avLst/>
                <a:gdLst>
                  <a:gd name="T0" fmla="*/ 45 w 1274"/>
                  <a:gd name="T1" fmla="*/ 1387 h 1387"/>
                  <a:gd name="T2" fmla="*/ 34 w 1274"/>
                  <a:gd name="T3" fmla="*/ 1385 h 1387"/>
                  <a:gd name="T4" fmla="*/ 10 w 1274"/>
                  <a:gd name="T5" fmla="*/ 1376 h 1387"/>
                  <a:gd name="T6" fmla="*/ 0 w 1274"/>
                  <a:gd name="T7" fmla="*/ 1369 h 1387"/>
                  <a:gd name="T8" fmla="*/ 1274 w 1274"/>
                  <a:gd name="T9" fmla="*/ 0 h 1387"/>
                  <a:gd name="T10" fmla="*/ 901 w 1274"/>
                  <a:gd name="T11" fmla="*/ 424 h 1387"/>
                  <a:gd name="T12" fmla="*/ 45 w 1274"/>
                  <a:gd name="T13" fmla="*/ 1387 h 1387"/>
                </a:gdLst>
                <a:ahLst/>
                <a:cxnLst>
                  <a:cxn ang="0">
                    <a:pos x="T0" y="T1"/>
                  </a:cxn>
                  <a:cxn ang="0">
                    <a:pos x="T2" y="T3"/>
                  </a:cxn>
                  <a:cxn ang="0">
                    <a:pos x="T4" y="T5"/>
                  </a:cxn>
                  <a:cxn ang="0">
                    <a:pos x="T6" y="T7"/>
                  </a:cxn>
                  <a:cxn ang="0">
                    <a:pos x="T8" y="T9"/>
                  </a:cxn>
                  <a:cxn ang="0">
                    <a:pos x="T10" y="T11"/>
                  </a:cxn>
                  <a:cxn ang="0">
                    <a:pos x="T12" y="T13"/>
                  </a:cxn>
                </a:cxnLst>
                <a:rect l="0" t="0" r="r" b="b"/>
                <a:pathLst>
                  <a:path w="1274" h="1387">
                    <a:moveTo>
                      <a:pt x="45" y="1387"/>
                    </a:moveTo>
                    <a:lnTo>
                      <a:pt x="34" y="1385"/>
                    </a:lnTo>
                    <a:lnTo>
                      <a:pt x="10" y="1376"/>
                    </a:lnTo>
                    <a:lnTo>
                      <a:pt x="0" y="1369"/>
                    </a:lnTo>
                    <a:lnTo>
                      <a:pt x="1274" y="0"/>
                    </a:lnTo>
                    <a:lnTo>
                      <a:pt x="901" y="424"/>
                    </a:lnTo>
                    <a:lnTo>
                      <a:pt x="45" y="1387"/>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8" name="Freeform 218">
                <a:extLst>
                  <a:ext uri="{FF2B5EF4-FFF2-40B4-BE49-F238E27FC236}">
                    <a16:creationId xmlns:a16="http://schemas.microsoft.com/office/drawing/2014/main" id="{1C6B6940-6221-C327-C098-ECB311F91F5A}"/>
                  </a:ext>
                </a:extLst>
              </p:cNvPr>
              <p:cNvSpPr>
                <a:spLocks/>
              </p:cNvSpPr>
              <p:nvPr/>
            </p:nvSpPr>
            <p:spPr bwMode="auto">
              <a:xfrm>
                <a:off x="6045200" y="5519738"/>
                <a:ext cx="47625" cy="33338"/>
              </a:xfrm>
              <a:custGeom>
                <a:avLst/>
                <a:gdLst>
                  <a:gd name="T0" fmla="*/ 35 w 118"/>
                  <a:gd name="T1" fmla="*/ 87 h 87"/>
                  <a:gd name="T2" fmla="*/ 19 w 118"/>
                  <a:gd name="T3" fmla="*/ 86 h 87"/>
                  <a:gd name="T4" fmla="*/ 1 w 118"/>
                  <a:gd name="T5" fmla="*/ 74 h 87"/>
                  <a:gd name="T6" fmla="*/ 0 w 118"/>
                  <a:gd name="T7" fmla="*/ 71 h 87"/>
                  <a:gd name="T8" fmla="*/ 66 w 118"/>
                  <a:gd name="T9" fmla="*/ 0 h 87"/>
                  <a:gd name="T10" fmla="*/ 78 w 118"/>
                  <a:gd name="T11" fmla="*/ 9 h 87"/>
                  <a:gd name="T12" fmla="*/ 104 w 118"/>
                  <a:gd name="T13" fmla="*/ 22 h 87"/>
                  <a:gd name="T14" fmla="*/ 118 w 118"/>
                  <a:gd name="T15" fmla="*/ 26 h 87"/>
                  <a:gd name="T16" fmla="*/ 86 w 118"/>
                  <a:gd name="T17" fmla="*/ 60 h 87"/>
                  <a:gd name="T18" fmla="*/ 74 w 118"/>
                  <a:gd name="T19" fmla="*/ 71 h 87"/>
                  <a:gd name="T20" fmla="*/ 63 w 118"/>
                  <a:gd name="T21" fmla="*/ 79 h 87"/>
                  <a:gd name="T22" fmla="*/ 43 w 118"/>
                  <a:gd name="T23" fmla="*/ 87 h 87"/>
                  <a:gd name="T24" fmla="*/ 35 w 118"/>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87">
                    <a:moveTo>
                      <a:pt x="35" y="87"/>
                    </a:moveTo>
                    <a:lnTo>
                      <a:pt x="19" y="86"/>
                    </a:lnTo>
                    <a:lnTo>
                      <a:pt x="1" y="74"/>
                    </a:lnTo>
                    <a:lnTo>
                      <a:pt x="0" y="71"/>
                    </a:lnTo>
                    <a:lnTo>
                      <a:pt x="66" y="0"/>
                    </a:lnTo>
                    <a:lnTo>
                      <a:pt x="78" y="9"/>
                    </a:lnTo>
                    <a:lnTo>
                      <a:pt x="104" y="22"/>
                    </a:lnTo>
                    <a:lnTo>
                      <a:pt x="118" y="26"/>
                    </a:lnTo>
                    <a:lnTo>
                      <a:pt x="86" y="60"/>
                    </a:lnTo>
                    <a:lnTo>
                      <a:pt x="74" y="71"/>
                    </a:lnTo>
                    <a:lnTo>
                      <a:pt x="63" y="79"/>
                    </a:lnTo>
                    <a:lnTo>
                      <a:pt x="43" y="87"/>
                    </a:lnTo>
                    <a:lnTo>
                      <a:pt x="35" y="87"/>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49" name="Freeform 219">
                <a:extLst>
                  <a:ext uri="{FF2B5EF4-FFF2-40B4-BE49-F238E27FC236}">
                    <a16:creationId xmlns:a16="http://schemas.microsoft.com/office/drawing/2014/main" id="{6D1A8019-22C4-B7A3-BDFD-5366D6F165F1}"/>
                  </a:ext>
                </a:extLst>
              </p:cNvPr>
              <p:cNvSpPr>
                <a:spLocks/>
              </p:cNvSpPr>
              <p:nvPr/>
            </p:nvSpPr>
            <p:spPr bwMode="auto">
              <a:xfrm>
                <a:off x="6073775" y="5508625"/>
                <a:ext cx="26988" cy="17463"/>
              </a:xfrm>
              <a:custGeom>
                <a:avLst/>
                <a:gdLst>
                  <a:gd name="T0" fmla="*/ 53 w 70"/>
                  <a:gd name="T1" fmla="*/ 44 h 44"/>
                  <a:gd name="T2" fmla="*/ 39 w 70"/>
                  <a:gd name="T3" fmla="*/ 41 h 44"/>
                  <a:gd name="T4" fmla="*/ 13 w 70"/>
                  <a:gd name="T5" fmla="*/ 28 h 44"/>
                  <a:gd name="T6" fmla="*/ 0 w 70"/>
                  <a:gd name="T7" fmla="*/ 20 h 44"/>
                  <a:gd name="T8" fmla="*/ 18 w 70"/>
                  <a:gd name="T9" fmla="*/ 0 h 44"/>
                  <a:gd name="T10" fmla="*/ 31 w 70"/>
                  <a:gd name="T11" fmla="*/ 9 h 44"/>
                  <a:gd name="T12" fmla="*/ 57 w 70"/>
                  <a:gd name="T13" fmla="*/ 22 h 44"/>
                  <a:gd name="T14" fmla="*/ 70 w 70"/>
                  <a:gd name="T15" fmla="*/ 25 h 44"/>
                  <a:gd name="T16" fmla="*/ 62 w 70"/>
                  <a:gd name="T17" fmla="*/ 35 h 44"/>
                  <a:gd name="T18" fmla="*/ 53 w 70"/>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53" y="44"/>
                    </a:moveTo>
                    <a:lnTo>
                      <a:pt x="39" y="41"/>
                    </a:lnTo>
                    <a:lnTo>
                      <a:pt x="13" y="28"/>
                    </a:lnTo>
                    <a:lnTo>
                      <a:pt x="0" y="20"/>
                    </a:lnTo>
                    <a:lnTo>
                      <a:pt x="18" y="0"/>
                    </a:lnTo>
                    <a:lnTo>
                      <a:pt x="31" y="9"/>
                    </a:lnTo>
                    <a:lnTo>
                      <a:pt x="57" y="22"/>
                    </a:lnTo>
                    <a:lnTo>
                      <a:pt x="70" y="25"/>
                    </a:lnTo>
                    <a:lnTo>
                      <a:pt x="62" y="35"/>
                    </a:lnTo>
                    <a:lnTo>
                      <a:pt x="53" y="44"/>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0" name="Freeform 220">
                <a:extLst>
                  <a:ext uri="{FF2B5EF4-FFF2-40B4-BE49-F238E27FC236}">
                    <a16:creationId xmlns:a16="http://schemas.microsoft.com/office/drawing/2014/main" id="{123B4C38-8080-9B2B-9575-90A4A07114A0}"/>
                  </a:ext>
                </a:extLst>
              </p:cNvPr>
              <p:cNvSpPr>
                <a:spLocks/>
              </p:cNvSpPr>
              <p:nvPr/>
            </p:nvSpPr>
            <p:spPr bwMode="auto">
              <a:xfrm>
                <a:off x="6083300" y="5499100"/>
                <a:ext cx="26988" cy="17463"/>
              </a:xfrm>
              <a:custGeom>
                <a:avLst/>
                <a:gdLst>
                  <a:gd name="T0" fmla="*/ 53 w 70"/>
                  <a:gd name="T1" fmla="*/ 44 h 44"/>
                  <a:gd name="T2" fmla="*/ 39 w 70"/>
                  <a:gd name="T3" fmla="*/ 40 h 44"/>
                  <a:gd name="T4" fmla="*/ 13 w 70"/>
                  <a:gd name="T5" fmla="*/ 28 h 44"/>
                  <a:gd name="T6" fmla="*/ 0 w 70"/>
                  <a:gd name="T7" fmla="*/ 19 h 44"/>
                  <a:gd name="T8" fmla="*/ 20 w 70"/>
                  <a:gd name="T9" fmla="*/ 0 h 44"/>
                  <a:gd name="T10" fmla="*/ 31 w 70"/>
                  <a:gd name="T11" fmla="*/ 8 h 44"/>
                  <a:gd name="T12" fmla="*/ 57 w 70"/>
                  <a:gd name="T13" fmla="*/ 21 h 44"/>
                  <a:gd name="T14" fmla="*/ 70 w 70"/>
                  <a:gd name="T15" fmla="*/ 25 h 44"/>
                  <a:gd name="T16" fmla="*/ 61 w 70"/>
                  <a:gd name="T17" fmla="*/ 35 h 44"/>
                  <a:gd name="T18" fmla="*/ 53 w 70"/>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53" y="44"/>
                    </a:moveTo>
                    <a:lnTo>
                      <a:pt x="39" y="40"/>
                    </a:lnTo>
                    <a:lnTo>
                      <a:pt x="13" y="28"/>
                    </a:lnTo>
                    <a:lnTo>
                      <a:pt x="0" y="19"/>
                    </a:lnTo>
                    <a:lnTo>
                      <a:pt x="20" y="0"/>
                    </a:lnTo>
                    <a:lnTo>
                      <a:pt x="31" y="8"/>
                    </a:lnTo>
                    <a:lnTo>
                      <a:pt x="57" y="21"/>
                    </a:lnTo>
                    <a:lnTo>
                      <a:pt x="70" y="25"/>
                    </a:lnTo>
                    <a:lnTo>
                      <a:pt x="61" y="35"/>
                    </a:lnTo>
                    <a:lnTo>
                      <a:pt x="53" y="44"/>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1" name="Freeform 221">
                <a:extLst>
                  <a:ext uri="{FF2B5EF4-FFF2-40B4-BE49-F238E27FC236}">
                    <a16:creationId xmlns:a16="http://schemas.microsoft.com/office/drawing/2014/main" id="{2BD325AF-0432-4351-0ACB-9E8DDA919991}"/>
                  </a:ext>
                </a:extLst>
              </p:cNvPr>
              <p:cNvSpPr>
                <a:spLocks/>
              </p:cNvSpPr>
              <p:nvPr/>
            </p:nvSpPr>
            <p:spPr bwMode="auto">
              <a:xfrm>
                <a:off x="6092825" y="5489575"/>
                <a:ext cx="26988" cy="17463"/>
              </a:xfrm>
              <a:custGeom>
                <a:avLst/>
                <a:gdLst>
                  <a:gd name="T0" fmla="*/ 50 w 69"/>
                  <a:gd name="T1" fmla="*/ 44 h 44"/>
                  <a:gd name="T2" fmla="*/ 38 w 69"/>
                  <a:gd name="T3" fmla="*/ 41 h 44"/>
                  <a:gd name="T4" fmla="*/ 12 w 69"/>
                  <a:gd name="T5" fmla="*/ 29 h 44"/>
                  <a:gd name="T6" fmla="*/ 0 w 69"/>
                  <a:gd name="T7" fmla="*/ 21 h 44"/>
                  <a:gd name="T8" fmla="*/ 18 w 69"/>
                  <a:gd name="T9" fmla="*/ 0 h 44"/>
                  <a:gd name="T10" fmla="*/ 41 w 69"/>
                  <a:gd name="T11" fmla="*/ 17 h 44"/>
                  <a:gd name="T12" fmla="*/ 69 w 69"/>
                  <a:gd name="T13" fmla="*/ 26 h 44"/>
                  <a:gd name="T14" fmla="*/ 60 w 69"/>
                  <a:gd name="T15" fmla="*/ 35 h 44"/>
                  <a:gd name="T16" fmla="*/ 50 w 6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44">
                    <a:moveTo>
                      <a:pt x="50" y="44"/>
                    </a:moveTo>
                    <a:lnTo>
                      <a:pt x="38" y="41"/>
                    </a:lnTo>
                    <a:lnTo>
                      <a:pt x="12" y="29"/>
                    </a:lnTo>
                    <a:lnTo>
                      <a:pt x="0" y="21"/>
                    </a:lnTo>
                    <a:lnTo>
                      <a:pt x="18" y="0"/>
                    </a:lnTo>
                    <a:lnTo>
                      <a:pt x="41" y="17"/>
                    </a:lnTo>
                    <a:lnTo>
                      <a:pt x="69" y="26"/>
                    </a:lnTo>
                    <a:lnTo>
                      <a:pt x="60" y="35"/>
                    </a:lnTo>
                    <a:lnTo>
                      <a:pt x="50"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2" name="Freeform 222">
                <a:extLst>
                  <a:ext uri="{FF2B5EF4-FFF2-40B4-BE49-F238E27FC236}">
                    <a16:creationId xmlns:a16="http://schemas.microsoft.com/office/drawing/2014/main" id="{0964EB40-9785-2ECF-DF8D-DE979F5B0BC4}"/>
                  </a:ext>
                </a:extLst>
              </p:cNvPr>
              <p:cNvSpPr>
                <a:spLocks/>
              </p:cNvSpPr>
              <p:nvPr/>
            </p:nvSpPr>
            <p:spPr bwMode="auto">
              <a:xfrm>
                <a:off x="6102350" y="5411788"/>
                <a:ext cx="87313" cy="85725"/>
              </a:xfrm>
              <a:custGeom>
                <a:avLst/>
                <a:gdLst>
                  <a:gd name="T0" fmla="*/ 51 w 223"/>
                  <a:gd name="T1" fmla="*/ 215 h 215"/>
                  <a:gd name="T2" fmla="*/ 38 w 223"/>
                  <a:gd name="T3" fmla="*/ 213 h 215"/>
                  <a:gd name="T4" fmla="*/ 12 w 223"/>
                  <a:gd name="T5" fmla="*/ 200 h 215"/>
                  <a:gd name="T6" fmla="*/ 0 w 223"/>
                  <a:gd name="T7" fmla="*/ 191 h 215"/>
                  <a:gd name="T8" fmla="*/ 177 w 223"/>
                  <a:gd name="T9" fmla="*/ 0 h 215"/>
                  <a:gd name="T10" fmla="*/ 199 w 223"/>
                  <a:gd name="T11" fmla="*/ 16 h 215"/>
                  <a:gd name="T12" fmla="*/ 223 w 223"/>
                  <a:gd name="T13" fmla="*/ 24 h 215"/>
                  <a:gd name="T14" fmla="*/ 127 w 223"/>
                  <a:gd name="T15" fmla="*/ 131 h 215"/>
                  <a:gd name="T16" fmla="*/ 51 w 223"/>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215">
                    <a:moveTo>
                      <a:pt x="51" y="215"/>
                    </a:moveTo>
                    <a:lnTo>
                      <a:pt x="38" y="213"/>
                    </a:lnTo>
                    <a:lnTo>
                      <a:pt x="12" y="200"/>
                    </a:lnTo>
                    <a:lnTo>
                      <a:pt x="0" y="191"/>
                    </a:lnTo>
                    <a:lnTo>
                      <a:pt x="177" y="0"/>
                    </a:lnTo>
                    <a:lnTo>
                      <a:pt x="199" y="16"/>
                    </a:lnTo>
                    <a:lnTo>
                      <a:pt x="223" y="24"/>
                    </a:lnTo>
                    <a:lnTo>
                      <a:pt x="127" y="131"/>
                    </a:lnTo>
                    <a:lnTo>
                      <a:pt x="51" y="215"/>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3" name="Freeform 223">
                <a:extLst>
                  <a:ext uri="{FF2B5EF4-FFF2-40B4-BE49-F238E27FC236}">
                    <a16:creationId xmlns:a16="http://schemas.microsoft.com/office/drawing/2014/main" id="{0307FF5C-FD52-DB77-3F36-07F28CFA1A56}"/>
                  </a:ext>
                </a:extLst>
              </p:cNvPr>
              <p:cNvSpPr>
                <a:spLocks/>
              </p:cNvSpPr>
              <p:nvPr/>
            </p:nvSpPr>
            <p:spPr bwMode="auto">
              <a:xfrm>
                <a:off x="6173788" y="5402263"/>
                <a:ext cx="25400" cy="15875"/>
              </a:xfrm>
              <a:custGeom>
                <a:avLst/>
                <a:gdLst>
                  <a:gd name="T0" fmla="*/ 46 w 65"/>
                  <a:gd name="T1" fmla="*/ 41 h 41"/>
                  <a:gd name="T2" fmla="*/ 35 w 65"/>
                  <a:gd name="T3" fmla="*/ 39 h 41"/>
                  <a:gd name="T4" fmla="*/ 11 w 65"/>
                  <a:gd name="T5" fmla="*/ 28 h 41"/>
                  <a:gd name="T6" fmla="*/ 0 w 65"/>
                  <a:gd name="T7" fmla="*/ 19 h 41"/>
                  <a:gd name="T8" fmla="*/ 18 w 65"/>
                  <a:gd name="T9" fmla="*/ 0 h 41"/>
                  <a:gd name="T10" fmla="*/ 40 w 65"/>
                  <a:gd name="T11" fmla="*/ 15 h 41"/>
                  <a:gd name="T12" fmla="*/ 65 w 65"/>
                  <a:gd name="T13" fmla="*/ 22 h 41"/>
                  <a:gd name="T14" fmla="*/ 55 w 65"/>
                  <a:gd name="T15" fmla="*/ 32 h 41"/>
                  <a:gd name="T16" fmla="*/ 46 w 65"/>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1">
                    <a:moveTo>
                      <a:pt x="46" y="41"/>
                    </a:moveTo>
                    <a:lnTo>
                      <a:pt x="35" y="39"/>
                    </a:lnTo>
                    <a:lnTo>
                      <a:pt x="11" y="28"/>
                    </a:lnTo>
                    <a:lnTo>
                      <a:pt x="0" y="19"/>
                    </a:lnTo>
                    <a:lnTo>
                      <a:pt x="18" y="0"/>
                    </a:lnTo>
                    <a:lnTo>
                      <a:pt x="40" y="15"/>
                    </a:lnTo>
                    <a:lnTo>
                      <a:pt x="65" y="22"/>
                    </a:lnTo>
                    <a:lnTo>
                      <a:pt x="55" y="32"/>
                    </a:lnTo>
                    <a:lnTo>
                      <a:pt x="46" y="41"/>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4" name="Freeform 224">
                <a:extLst>
                  <a:ext uri="{FF2B5EF4-FFF2-40B4-BE49-F238E27FC236}">
                    <a16:creationId xmlns:a16="http://schemas.microsoft.com/office/drawing/2014/main" id="{559C3D55-F29D-785B-B7AA-5609CA0170B4}"/>
                  </a:ext>
                </a:extLst>
              </p:cNvPr>
              <p:cNvSpPr>
                <a:spLocks/>
              </p:cNvSpPr>
              <p:nvPr/>
            </p:nvSpPr>
            <p:spPr bwMode="auto">
              <a:xfrm>
                <a:off x="6183313" y="5392738"/>
                <a:ext cx="23813" cy="15875"/>
              </a:xfrm>
              <a:custGeom>
                <a:avLst/>
                <a:gdLst>
                  <a:gd name="T0" fmla="*/ 47 w 61"/>
                  <a:gd name="T1" fmla="*/ 37 h 37"/>
                  <a:gd name="T2" fmla="*/ 35 w 61"/>
                  <a:gd name="T3" fmla="*/ 36 h 37"/>
                  <a:gd name="T4" fmla="*/ 10 w 61"/>
                  <a:gd name="T5" fmla="*/ 24 h 37"/>
                  <a:gd name="T6" fmla="*/ 0 w 61"/>
                  <a:gd name="T7" fmla="*/ 16 h 37"/>
                  <a:gd name="T8" fmla="*/ 17 w 61"/>
                  <a:gd name="T9" fmla="*/ 0 h 37"/>
                  <a:gd name="T10" fmla="*/ 38 w 61"/>
                  <a:gd name="T11" fmla="*/ 14 h 37"/>
                  <a:gd name="T12" fmla="*/ 61 w 61"/>
                  <a:gd name="T13" fmla="*/ 22 h 37"/>
                  <a:gd name="T14" fmla="*/ 54 w 61"/>
                  <a:gd name="T15" fmla="*/ 29 h 37"/>
                  <a:gd name="T16" fmla="*/ 47 w 61"/>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7">
                    <a:moveTo>
                      <a:pt x="47" y="37"/>
                    </a:moveTo>
                    <a:lnTo>
                      <a:pt x="35" y="36"/>
                    </a:lnTo>
                    <a:lnTo>
                      <a:pt x="10" y="24"/>
                    </a:lnTo>
                    <a:lnTo>
                      <a:pt x="0" y="16"/>
                    </a:lnTo>
                    <a:lnTo>
                      <a:pt x="17" y="0"/>
                    </a:lnTo>
                    <a:lnTo>
                      <a:pt x="38" y="14"/>
                    </a:lnTo>
                    <a:lnTo>
                      <a:pt x="61" y="22"/>
                    </a:lnTo>
                    <a:lnTo>
                      <a:pt x="54" y="29"/>
                    </a:lnTo>
                    <a:lnTo>
                      <a:pt x="47" y="37"/>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5" name="Freeform 225">
                <a:extLst>
                  <a:ext uri="{FF2B5EF4-FFF2-40B4-BE49-F238E27FC236}">
                    <a16:creationId xmlns:a16="http://schemas.microsoft.com/office/drawing/2014/main" id="{1F338E1C-1DDD-70A2-C141-8CAD974D7314}"/>
                  </a:ext>
                </a:extLst>
              </p:cNvPr>
              <p:cNvSpPr>
                <a:spLocks/>
              </p:cNvSpPr>
              <p:nvPr/>
            </p:nvSpPr>
            <p:spPr bwMode="auto">
              <a:xfrm>
                <a:off x="6191250" y="5367338"/>
                <a:ext cx="41275" cy="31750"/>
              </a:xfrm>
              <a:custGeom>
                <a:avLst/>
                <a:gdLst>
                  <a:gd name="T0" fmla="*/ 46 w 102"/>
                  <a:gd name="T1" fmla="*/ 81 h 81"/>
                  <a:gd name="T2" fmla="*/ 35 w 102"/>
                  <a:gd name="T3" fmla="*/ 79 h 81"/>
                  <a:gd name="T4" fmla="*/ 11 w 102"/>
                  <a:gd name="T5" fmla="*/ 68 h 81"/>
                  <a:gd name="T6" fmla="*/ 0 w 102"/>
                  <a:gd name="T7" fmla="*/ 60 h 81"/>
                  <a:gd name="T8" fmla="*/ 57 w 102"/>
                  <a:gd name="T9" fmla="*/ 0 h 81"/>
                  <a:gd name="T10" fmla="*/ 67 w 102"/>
                  <a:gd name="T11" fmla="*/ 7 h 81"/>
                  <a:gd name="T12" fmla="*/ 91 w 102"/>
                  <a:gd name="T13" fmla="*/ 16 h 81"/>
                  <a:gd name="T14" fmla="*/ 102 w 102"/>
                  <a:gd name="T15" fmla="*/ 18 h 81"/>
                  <a:gd name="T16" fmla="*/ 74 w 102"/>
                  <a:gd name="T17" fmla="*/ 50 h 81"/>
                  <a:gd name="T18" fmla="*/ 46 w 10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81">
                    <a:moveTo>
                      <a:pt x="46" y="81"/>
                    </a:moveTo>
                    <a:lnTo>
                      <a:pt x="35" y="79"/>
                    </a:lnTo>
                    <a:lnTo>
                      <a:pt x="11" y="68"/>
                    </a:lnTo>
                    <a:lnTo>
                      <a:pt x="0" y="60"/>
                    </a:lnTo>
                    <a:lnTo>
                      <a:pt x="57" y="0"/>
                    </a:lnTo>
                    <a:lnTo>
                      <a:pt x="67" y="7"/>
                    </a:lnTo>
                    <a:lnTo>
                      <a:pt x="91" y="16"/>
                    </a:lnTo>
                    <a:lnTo>
                      <a:pt x="102" y="18"/>
                    </a:lnTo>
                    <a:lnTo>
                      <a:pt x="74" y="50"/>
                    </a:lnTo>
                    <a:lnTo>
                      <a:pt x="46" y="81"/>
                    </a:lnTo>
                    <a:close/>
                  </a:path>
                </a:pathLst>
              </a:custGeom>
              <a:solidFill>
                <a:srgbClr val="B48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6" name="Freeform 226">
                <a:extLst>
                  <a:ext uri="{FF2B5EF4-FFF2-40B4-BE49-F238E27FC236}">
                    <a16:creationId xmlns:a16="http://schemas.microsoft.com/office/drawing/2014/main" id="{35B429E1-9793-5489-C924-5230D01CF547}"/>
                  </a:ext>
                </a:extLst>
              </p:cNvPr>
              <p:cNvSpPr>
                <a:spLocks/>
              </p:cNvSpPr>
              <p:nvPr/>
            </p:nvSpPr>
            <p:spPr bwMode="auto">
              <a:xfrm>
                <a:off x="6189663" y="5391150"/>
                <a:ext cx="20638" cy="11113"/>
              </a:xfrm>
              <a:custGeom>
                <a:avLst/>
                <a:gdLst>
                  <a:gd name="T0" fmla="*/ 44 w 50"/>
                  <a:gd name="T1" fmla="*/ 28 h 28"/>
                  <a:gd name="T2" fmla="*/ 21 w 50"/>
                  <a:gd name="T3" fmla="*/ 20 h 28"/>
                  <a:gd name="T4" fmla="*/ 0 w 50"/>
                  <a:gd name="T5" fmla="*/ 6 h 28"/>
                  <a:gd name="T6" fmla="*/ 4 w 50"/>
                  <a:gd name="T7" fmla="*/ 0 h 28"/>
                  <a:gd name="T8" fmla="*/ 15 w 50"/>
                  <a:gd name="T9" fmla="*/ 8 h 28"/>
                  <a:gd name="T10" fmla="*/ 39 w 50"/>
                  <a:gd name="T11" fmla="*/ 19 h 28"/>
                  <a:gd name="T12" fmla="*/ 50 w 50"/>
                  <a:gd name="T13" fmla="*/ 21 h 28"/>
                  <a:gd name="T14" fmla="*/ 48 w 50"/>
                  <a:gd name="T15" fmla="*/ 24 h 28"/>
                  <a:gd name="T16" fmla="*/ 44 w 50"/>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8">
                    <a:moveTo>
                      <a:pt x="44" y="28"/>
                    </a:moveTo>
                    <a:lnTo>
                      <a:pt x="21" y="20"/>
                    </a:lnTo>
                    <a:lnTo>
                      <a:pt x="0" y="6"/>
                    </a:lnTo>
                    <a:lnTo>
                      <a:pt x="4" y="0"/>
                    </a:lnTo>
                    <a:lnTo>
                      <a:pt x="15" y="8"/>
                    </a:lnTo>
                    <a:lnTo>
                      <a:pt x="39" y="19"/>
                    </a:lnTo>
                    <a:lnTo>
                      <a:pt x="50" y="21"/>
                    </a:lnTo>
                    <a:lnTo>
                      <a:pt x="48" y="24"/>
                    </a:lnTo>
                    <a:lnTo>
                      <a:pt x="44" y="28"/>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7" name="Freeform 227">
                <a:extLst>
                  <a:ext uri="{FF2B5EF4-FFF2-40B4-BE49-F238E27FC236}">
                    <a16:creationId xmlns:a16="http://schemas.microsoft.com/office/drawing/2014/main" id="{380A3CD3-C950-23B1-4C46-E3A5EBCE8245}"/>
                  </a:ext>
                </a:extLst>
              </p:cNvPr>
              <p:cNvSpPr>
                <a:spLocks/>
              </p:cNvSpPr>
              <p:nvPr/>
            </p:nvSpPr>
            <p:spPr bwMode="auto">
              <a:xfrm>
                <a:off x="6180138" y="5399088"/>
                <a:ext cx="20638" cy="11113"/>
              </a:xfrm>
              <a:custGeom>
                <a:avLst/>
                <a:gdLst>
                  <a:gd name="T0" fmla="*/ 47 w 52"/>
                  <a:gd name="T1" fmla="*/ 28 h 28"/>
                  <a:gd name="T2" fmla="*/ 22 w 52"/>
                  <a:gd name="T3" fmla="*/ 21 h 28"/>
                  <a:gd name="T4" fmla="*/ 0 w 52"/>
                  <a:gd name="T5" fmla="*/ 6 h 28"/>
                  <a:gd name="T6" fmla="*/ 5 w 52"/>
                  <a:gd name="T7" fmla="*/ 0 h 28"/>
                  <a:gd name="T8" fmla="*/ 15 w 52"/>
                  <a:gd name="T9" fmla="*/ 8 h 28"/>
                  <a:gd name="T10" fmla="*/ 40 w 52"/>
                  <a:gd name="T11" fmla="*/ 20 h 28"/>
                  <a:gd name="T12" fmla="*/ 52 w 52"/>
                  <a:gd name="T13" fmla="*/ 21 h 28"/>
                  <a:gd name="T14" fmla="*/ 49 w 52"/>
                  <a:gd name="T15" fmla="*/ 25 h 28"/>
                  <a:gd name="T16" fmla="*/ 47 w 52"/>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28">
                    <a:moveTo>
                      <a:pt x="47" y="28"/>
                    </a:moveTo>
                    <a:lnTo>
                      <a:pt x="22" y="21"/>
                    </a:lnTo>
                    <a:lnTo>
                      <a:pt x="0" y="6"/>
                    </a:lnTo>
                    <a:lnTo>
                      <a:pt x="5" y="0"/>
                    </a:lnTo>
                    <a:lnTo>
                      <a:pt x="15" y="8"/>
                    </a:lnTo>
                    <a:lnTo>
                      <a:pt x="40" y="20"/>
                    </a:lnTo>
                    <a:lnTo>
                      <a:pt x="52" y="21"/>
                    </a:lnTo>
                    <a:lnTo>
                      <a:pt x="49" y="25"/>
                    </a:lnTo>
                    <a:lnTo>
                      <a:pt x="47" y="28"/>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8" name="Freeform 228">
                <a:extLst>
                  <a:ext uri="{FF2B5EF4-FFF2-40B4-BE49-F238E27FC236}">
                    <a16:creationId xmlns:a16="http://schemas.microsoft.com/office/drawing/2014/main" id="{644F1873-21F8-8223-31E8-D1FCF4DA4168}"/>
                  </a:ext>
                </a:extLst>
              </p:cNvPr>
              <p:cNvSpPr>
                <a:spLocks/>
              </p:cNvSpPr>
              <p:nvPr/>
            </p:nvSpPr>
            <p:spPr bwMode="auto">
              <a:xfrm>
                <a:off x="6172200" y="5410200"/>
                <a:ext cx="20638" cy="11113"/>
              </a:xfrm>
              <a:custGeom>
                <a:avLst/>
                <a:gdLst>
                  <a:gd name="T0" fmla="*/ 46 w 51"/>
                  <a:gd name="T1" fmla="*/ 29 h 29"/>
                  <a:gd name="T2" fmla="*/ 22 w 51"/>
                  <a:gd name="T3" fmla="*/ 21 h 29"/>
                  <a:gd name="T4" fmla="*/ 0 w 51"/>
                  <a:gd name="T5" fmla="*/ 5 h 29"/>
                  <a:gd name="T6" fmla="*/ 5 w 51"/>
                  <a:gd name="T7" fmla="*/ 0 h 29"/>
                  <a:gd name="T8" fmla="*/ 16 w 51"/>
                  <a:gd name="T9" fmla="*/ 9 h 29"/>
                  <a:gd name="T10" fmla="*/ 40 w 51"/>
                  <a:gd name="T11" fmla="*/ 20 h 29"/>
                  <a:gd name="T12" fmla="*/ 51 w 51"/>
                  <a:gd name="T13" fmla="*/ 22 h 29"/>
                  <a:gd name="T14" fmla="*/ 49 w 51"/>
                  <a:gd name="T15" fmla="*/ 26 h 29"/>
                  <a:gd name="T16" fmla="*/ 46 w 5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9">
                    <a:moveTo>
                      <a:pt x="46" y="29"/>
                    </a:moveTo>
                    <a:lnTo>
                      <a:pt x="22" y="21"/>
                    </a:lnTo>
                    <a:lnTo>
                      <a:pt x="0" y="5"/>
                    </a:lnTo>
                    <a:lnTo>
                      <a:pt x="5" y="0"/>
                    </a:lnTo>
                    <a:lnTo>
                      <a:pt x="16" y="9"/>
                    </a:lnTo>
                    <a:lnTo>
                      <a:pt x="40" y="20"/>
                    </a:lnTo>
                    <a:lnTo>
                      <a:pt x="51" y="22"/>
                    </a:lnTo>
                    <a:lnTo>
                      <a:pt x="49" y="26"/>
                    </a:lnTo>
                    <a:lnTo>
                      <a:pt x="46" y="29"/>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59" name="Freeform 229">
                <a:extLst>
                  <a:ext uri="{FF2B5EF4-FFF2-40B4-BE49-F238E27FC236}">
                    <a16:creationId xmlns:a16="http://schemas.microsoft.com/office/drawing/2014/main" id="{F57FE718-25C2-2847-C38E-E6332FDCD450}"/>
                  </a:ext>
                </a:extLst>
              </p:cNvPr>
              <p:cNvSpPr>
                <a:spLocks/>
              </p:cNvSpPr>
              <p:nvPr/>
            </p:nvSpPr>
            <p:spPr bwMode="auto">
              <a:xfrm>
                <a:off x="6099175" y="5486400"/>
                <a:ext cx="22225" cy="12700"/>
              </a:xfrm>
              <a:custGeom>
                <a:avLst/>
                <a:gdLst>
                  <a:gd name="T0" fmla="*/ 51 w 56"/>
                  <a:gd name="T1" fmla="*/ 31 h 31"/>
                  <a:gd name="T2" fmla="*/ 23 w 56"/>
                  <a:gd name="T3" fmla="*/ 22 h 31"/>
                  <a:gd name="T4" fmla="*/ 0 w 56"/>
                  <a:gd name="T5" fmla="*/ 5 h 31"/>
                  <a:gd name="T6" fmla="*/ 5 w 56"/>
                  <a:gd name="T7" fmla="*/ 0 h 31"/>
                  <a:gd name="T8" fmla="*/ 17 w 56"/>
                  <a:gd name="T9" fmla="*/ 9 h 31"/>
                  <a:gd name="T10" fmla="*/ 43 w 56"/>
                  <a:gd name="T11" fmla="*/ 22 h 31"/>
                  <a:gd name="T12" fmla="*/ 56 w 56"/>
                  <a:gd name="T13" fmla="*/ 24 h 31"/>
                  <a:gd name="T14" fmla="*/ 53 w 56"/>
                  <a:gd name="T15" fmla="*/ 28 h 31"/>
                  <a:gd name="T16" fmla="*/ 51 w 56"/>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1">
                    <a:moveTo>
                      <a:pt x="51" y="31"/>
                    </a:moveTo>
                    <a:lnTo>
                      <a:pt x="23" y="22"/>
                    </a:lnTo>
                    <a:lnTo>
                      <a:pt x="0" y="5"/>
                    </a:lnTo>
                    <a:lnTo>
                      <a:pt x="5" y="0"/>
                    </a:lnTo>
                    <a:lnTo>
                      <a:pt x="17" y="9"/>
                    </a:lnTo>
                    <a:lnTo>
                      <a:pt x="43" y="22"/>
                    </a:lnTo>
                    <a:lnTo>
                      <a:pt x="56" y="24"/>
                    </a:lnTo>
                    <a:lnTo>
                      <a:pt x="53" y="28"/>
                    </a:lnTo>
                    <a:lnTo>
                      <a:pt x="51" y="31"/>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0" name="Freeform 230">
                <a:extLst>
                  <a:ext uri="{FF2B5EF4-FFF2-40B4-BE49-F238E27FC236}">
                    <a16:creationId xmlns:a16="http://schemas.microsoft.com/office/drawing/2014/main" id="{CF19BC89-6AF9-DEA9-7970-F3F5BCC487AD}"/>
                  </a:ext>
                </a:extLst>
              </p:cNvPr>
              <p:cNvSpPr>
                <a:spLocks/>
              </p:cNvSpPr>
              <p:nvPr/>
            </p:nvSpPr>
            <p:spPr bwMode="auto">
              <a:xfrm>
                <a:off x="6089650" y="5497513"/>
                <a:ext cx="22225" cy="11113"/>
              </a:xfrm>
              <a:custGeom>
                <a:avLst/>
                <a:gdLst>
                  <a:gd name="T0" fmla="*/ 50 w 55"/>
                  <a:gd name="T1" fmla="*/ 30 h 30"/>
                  <a:gd name="T2" fmla="*/ 37 w 55"/>
                  <a:gd name="T3" fmla="*/ 26 h 30"/>
                  <a:gd name="T4" fmla="*/ 11 w 55"/>
                  <a:gd name="T5" fmla="*/ 13 h 30"/>
                  <a:gd name="T6" fmla="*/ 0 w 55"/>
                  <a:gd name="T7" fmla="*/ 5 h 30"/>
                  <a:gd name="T8" fmla="*/ 5 w 55"/>
                  <a:gd name="T9" fmla="*/ 0 h 30"/>
                  <a:gd name="T10" fmla="*/ 17 w 55"/>
                  <a:gd name="T11" fmla="*/ 8 h 30"/>
                  <a:gd name="T12" fmla="*/ 43 w 55"/>
                  <a:gd name="T13" fmla="*/ 20 h 30"/>
                  <a:gd name="T14" fmla="*/ 55 w 55"/>
                  <a:gd name="T15" fmla="*/ 23 h 30"/>
                  <a:gd name="T16" fmla="*/ 53 w 55"/>
                  <a:gd name="T17" fmla="*/ 27 h 30"/>
                  <a:gd name="T18" fmla="*/ 50 w 55"/>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0">
                    <a:moveTo>
                      <a:pt x="50" y="30"/>
                    </a:moveTo>
                    <a:lnTo>
                      <a:pt x="37" y="26"/>
                    </a:lnTo>
                    <a:lnTo>
                      <a:pt x="11" y="13"/>
                    </a:lnTo>
                    <a:lnTo>
                      <a:pt x="0" y="5"/>
                    </a:lnTo>
                    <a:lnTo>
                      <a:pt x="5" y="0"/>
                    </a:lnTo>
                    <a:lnTo>
                      <a:pt x="17" y="8"/>
                    </a:lnTo>
                    <a:lnTo>
                      <a:pt x="43" y="20"/>
                    </a:lnTo>
                    <a:lnTo>
                      <a:pt x="55" y="23"/>
                    </a:lnTo>
                    <a:lnTo>
                      <a:pt x="53" y="27"/>
                    </a:lnTo>
                    <a:lnTo>
                      <a:pt x="50" y="30"/>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1" name="Freeform 231">
                <a:extLst>
                  <a:ext uri="{FF2B5EF4-FFF2-40B4-BE49-F238E27FC236}">
                    <a16:creationId xmlns:a16="http://schemas.microsoft.com/office/drawing/2014/main" id="{C878DDF6-4123-713C-426E-EE99B4FD6432}"/>
                  </a:ext>
                </a:extLst>
              </p:cNvPr>
              <p:cNvSpPr>
                <a:spLocks/>
              </p:cNvSpPr>
              <p:nvPr/>
            </p:nvSpPr>
            <p:spPr bwMode="auto">
              <a:xfrm>
                <a:off x="6080125" y="5507038"/>
                <a:ext cx="23813" cy="12700"/>
              </a:xfrm>
              <a:custGeom>
                <a:avLst/>
                <a:gdLst>
                  <a:gd name="T0" fmla="*/ 52 w 58"/>
                  <a:gd name="T1" fmla="*/ 31 h 31"/>
                  <a:gd name="T2" fmla="*/ 39 w 58"/>
                  <a:gd name="T3" fmla="*/ 28 h 31"/>
                  <a:gd name="T4" fmla="*/ 13 w 58"/>
                  <a:gd name="T5" fmla="*/ 15 h 31"/>
                  <a:gd name="T6" fmla="*/ 0 w 58"/>
                  <a:gd name="T7" fmla="*/ 6 h 31"/>
                  <a:gd name="T8" fmla="*/ 5 w 58"/>
                  <a:gd name="T9" fmla="*/ 0 h 31"/>
                  <a:gd name="T10" fmla="*/ 18 w 58"/>
                  <a:gd name="T11" fmla="*/ 9 h 31"/>
                  <a:gd name="T12" fmla="*/ 44 w 58"/>
                  <a:gd name="T13" fmla="*/ 21 h 31"/>
                  <a:gd name="T14" fmla="*/ 58 w 58"/>
                  <a:gd name="T15" fmla="*/ 25 h 31"/>
                  <a:gd name="T16" fmla="*/ 56 w 58"/>
                  <a:gd name="T17" fmla="*/ 28 h 31"/>
                  <a:gd name="T18" fmla="*/ 52 w 58"/>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1">
                    <a:moveTo>
                      <a:pt x="52" y="31"/>
                    </a:moveTo>
                    <a:lnTo>
                      <a:pt x="39" y="28"/>
                    </a:lnTo>
                    <a:lnTo>
                      <a:pt x="13" y="15"/>
                    </a:lnTo>
                    <a:lnTo>
                      <a:pt x="0" y="6"/>
                    </a:lnTo>
                    <a:lnTo>
                      <a:pt x="5" y="0"/>
                    </a:lnTo>
                    <a:lnTo>
                      <a:pt x="18" y="9"/>
                    </a:lnTo>
                    <a:lnTo>
                      <a:pt x="44" y="21"/>
                    </a:lnTo>
                    <a:lnTo>
                      <a:pt x="58" y="25"/>
                    </a:lnTo>
                    <a:lnTo>
                      <a:pt x="56" y="28"/>
                    </a:lnTo>
                    <a:lnTo>
                      <a:pt x="52" y="31"/>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2" name="Freeform 232">
                <a:extLst>
                  <a:ext uri="{FF2B5EF4-FFF2-40B4-BE49-F238E27FC236}">
                    <a16:creationId xmlns:a16="http://schemas.microsoft.com/office/drawing/2014/main" id="{F639C80E-4558-031D-3528-7B611CE897AD}"/>
                  </a:ext>
                </a:extLst>
              </p:cNvPr>
              <p:cNvSpPr>
                <a:spLocks/>
              </p:cNvSpPr>
              <p:nvPr/>
            </p:nvSpPr>
            <p:spPr bwMode="auto">
              <a:xfrm>
                <a:off x="6072188" y="5518150"/>
                <a:ext cx="22225" cy="11113"/>
              </a:xfrm>
              <a:custGeom>
                <a:avLst/>
                <a:gdLst>
                  <a:gd name="T0" fmla="*/ 52 w 57"/>
                  <a:gd name="T1" fmla="*/ 30 h 30"/>
                  <a:gd name="T2" fmla="*/ 38 w 57"/>
                  <a:gd name="T3" fmla="*/ 26 h 30"/>
                  <a:gd name="T4" fmla="*/ 12 w 57"/>
                  <a:gd name="T5" fmla="*/ 13 h 30"/>
                  <a:gd name="T6" fmla="*/ 0 w 57"/>
                  <a:gd name="T7" fmla="*/ 4 h 30"/>
                  <a:gd name="T8" fmla="*/ 4 w 57"/>
                  <a:gd name="T9" fmla="*/ 0 h 30"/>
                  <a:gd name="T10" fmla="*/ 17 w 57"/>
                  <a:gd name="T11" fmla="*/ 8 h 30"/>
                  <a:gd name="T12" fmla="*/ 43 w 57"/>
                  <a:gd name="T13" fmla="*/ 21 h 30"/>
                  <a:gd name="T14" fmla="*/ 57 w 57"/>
                  <a:gd name="T15" fmla="*/ 24 h 30"/>
                  <a:gd name="T16" fmla="*/ 55 w 57"/>
                  <a:gd name="T17" fmla="*/ 26 h 30"/>
                  <a:gd name="T18" fmla="*/ 52 w 57"/>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30">
                    <a:moveTo>
                      <a:pt x="52" y="30"/>
                    </a:moveTo>
                    <a:lnTo>
                      <a:pt x="38" y="26"/>
                    </a:lnTo>
                    <a:lnTo>
                      <a:pt x="12" y="13"/>
                    </a:lnTo>
                    <a:lnTo>
                      <a:pt x="0" y="4"/>
                    </a:lnTo>
                    <a:lnTo>
                      <a:pt x="4" y="0"/>
                    </a:lnTo>
                    <a:lnTo>
                      <a:pt x="17" y="8"/>
                    </a:lnTo>
                    <a:lnTo>
                      <a:pt x="43" y="21"/>
                    </a:lnTo>
                    <a:lnTo>
                      <a:pt x="57" y="24"/>
                    </a:lnTo>
                    <a:lnTo>
                      <a:pt x="55" y="26"/>
                    </a:lnTo>
                    <a:lnTo>
                      <a:pt x="52" y="30"/>
                    </a:lnTo>
                    <a:close/>
                  </a:path>
                </a:pathLst>
              </a:custGeom>
              <a:solidFill>
                <a:srgbClr val="775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3" name="Rectangle 233">
                <a:extLst>
                  <a:ext uri="{FF2B5EF4-FFF2-40B4-BE49-F238E27FC236}">
                    <a16:creationId xmlns:a16="http://schemas.microsoft.com/office/drawing/2014/main" id="{073A0EC1-EEB4-C3B3-89C9-4DF0EBB928F3}"/>
                  </a:ext>
                </a:extLst>
              </p:cNvPr>
              <p:cNvSpPr>
                <a:spLocks noChangeArrowheads="1"/>
              </p:cNvSpPr>
              <p:nvPr/>
            </p:nvSpPr>
            <p:spPr bwMode="auto">
              <a:xfrm>
                <a:off x="6496050" y="5024438"/>
                <a:ext cx="1588" cy="1588"/>
              </a:xfrm>
              <a:prstGeom prst="rect">
                <a:avLst/>
              </a:prstGeom>
              <a:solidFill>
                <a:srgbClr val="C2C0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4" name="Rectangle 234">
                <a:extLst>
                  <a:ext uri="{FF2B5EF4-FFF2-40B4-BE49-F238E27FC236}">
                    <a16:creationId xmlns:a16="http://schemas.microsoft.com/office/drawing/2014/main" id="{F478BF01-6D73-2BA2-0B63-6FECB85463B2}"/>
                  </a:ext>
                </a:extLst>
              </p:cNvPr>
              <p:cNvSpPr>
                <a:spLocks noChangeArrowheads="1"/>
              </p:cNvSpPr>
              <p:nvPr/>
            </p:nvSpPr>
            <p:spPr bwMode="auto">
              <a:xfrm>
                <a:off x="6723063" y="4819650"/>
                <a:ext cx="1588" cy="1588"/>
              </a:xfrm>
              <a:prstGeom prst="rect">
                <a:avLst/>
              </a:prstGeom>
              <a:solidFill>
                <a:srgbClr val="364D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sp>
            <p:nvSpPr>
              <p:cNvPr id="65" name="Freeform 235">
                <a:extLst>
                  <a:ext uri="{FF2B5EF4-FFF2-40B4-BE49-F238E27FC236}">
                    <a16:creationId xmlns:a16="http://schemas.microsoft.com/office/drawing/2014/main" id="{AC374F63-AB6D-B2EF-CEC4-069A6FDA64AB}"/>
                  </a:ext>
                </a:extLst>
              </p:cNvPr>
              <p:cNvSpPr>
                <a:spLocks/>
              </p:cNvSpPr>
              <p:nvPr/>
            </p:nvSpPr>
            <p:spPr bwMode="auto">
              <a:xfrm>
                <a:off x="6491288" y="4819650"/>
                <a:ext cx="231775" cy="230188"/>
              </a:xfrm>
              <a:custGeom>
                <a:avLst/>
                <a:gdLst>
                  <a:gd name="T0" fmla="*/ 0 w 583"/>
                  <a:gd name="T1" fmla="*/ 580 h 580"/>
                  <a:gd name="T2" fmla="*/ 11 w 583"/>
                  <a:gd name="T3" fmla="*/ 518 h 580"/>
                  <a:gd name="T4" fmla="*/ 11 w 583"/>
                  <a:gd name="T5" fmla="*/ 518 h 580"/>
                  <a:gd name="T6" fmla="*/ 11 w 583"/>
                  <a:gd name="T7" fmla="*/ 518 h 580"/>
                  <a:gd name="T8" fmla="*/ 583 w 583"/>
                  <a:gd name="T9" fmla="*/ 0 h 580"/>
                  <a:gd name="T10" fmla="*/ 583 w 583"/>
                  <a:gd name="T11" fmla="*/ 0 h 580"/>
                  <a:gd name="T12" fmla="*/ 583 w 583"/>
                  <a:gd name="T13" fmla="*/ 0 h 580"/>
                  <a:gd name="T14" fmla="*/ 0 w 583"/>
                  <a:gd name="T15" fmla="*/ 580 h 5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3" h="580">
                    <a:moveTo>
                      <a:pt x="0" y="580"/>
                    </a:moveTo>
                    <a:lnTo>
                      <a:pt x="11" y="518"/>
                    </a:lnTo>
                    <a:lnTo>
                      <a:pt x="11" y="518"/>
                    </a:lnTo>
                    <a:lnTo>
                      <a:pt x="11" y="518"/>
                    </a:lnTo>
                    <a:lnTo>
                      <a:pt x="583" y="0"/>
                    </a:lnTo>
                    <a:lnTo>
                      <a:pt x="583" y="0"/>
                    </a:lnTo>
                    <a:lnTo>
                      <a:pt x="583" y="0"/>
                    </a:lnTo>
                    <a:lnTo>
                      <a:pt x="0" y="58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lnSpc>
                    <a:spcPct val="100000"/>
                  </a:lnSpc>
                </a:pPr>
                <a:endParaRPr lang="en-US" sz="4050">
                  <a:latin typeface="Arial" panose="020B0604020202020204" pitchFamily="34" charset="0"/>
                  <a:cs typeface="Arial" panose="020B0604020202020204" pitchFamily="34" charset="0"/>
                </a:endParaRPr>
              </a:p>
            </p:txBody>
          </p:sp>
        </p:grpSp>
      </p:grpSp>
      <p:sp>
        <p:nvSpPr>
          <p:cNvPr id="78" name="Segnaposto testo 4">
            <a:extLst>
              <a:ext uri="{FF2B5EF4-FFF2-40B4-BE49-F238E27FC236}">
                <a16:creationId xmlns:a16="http://schemas.microsoft.com/office/drawing/2014/main" id="{679EDF70-D685-CE6F-4066-6CA57339D68C}"/>
              </a:ext>
            </a:extLst>
          </p:cNvPr>
          <p:cNvSpPr>
            <a:spLocks noGrp="1"/>
          </p:cNvSpPr>
          <p:nvPr>
            <p:ph type="body" sz="quarter" idx="29" hasCustomPrompt="1"/>
          </p:nvPr>
        </p:nvSpPr>
        <p:spPr>
          <a:xfrm>
            <a:off x="8063449" y="945009"/>
            <a:ext cx="1488561" cy="432523"/>
          </a:xfrm>
        </p:spPr>
        <p:txBody>
          <a:bodyPr numCol="1" spcCol="360000" anchor="ctr">
            <a:noAutofit/>
          </a:bodyPr>
          <a:lstStyle>
            <a:lvl1pPr marL="0" indent="0" algn="l">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1 </a:t>
            </a:r>
          </a:p>
        </p:txBody>
      </p:sp>
      <p:sp>
        <p:nvSpPr>
          <p:cNvPr id="79" name="Segnaposto testo 4">
            <a:extLst>
              <a:ext uri="{FF2B5EF4-FFF2-40B4-BE49-F238E27FC236}">
                <a16:creationId xmlns:a16="http://schemas.microsoft.com/office/drawing/2014/main" id="{84D3CD28-746D-0067-E946-6726C0228A67}"/>
              </a:ext>
            </a:extLst>
          </p:cNvPr>
          <p:cNvSpPr>
            <a:spLocks noGrp="1"/>
          </p:cNvSpPr>
          <p:nvPr>
            <p:ph type="body" sz="quarter" idx="30" hasCustomPrompt="1"/>
          </p:nvPr>
        </p:nvSpPr>
        <p:spPr>
          <a:xfrm>
            <a:off x="8444666" y="3429000"/>
            <a:ext cx="1488561" cy="432523"/>
          </a:xfrm>
        </p:spPr>
        <p:txBody>
          <a:bodyPr numCol="1" spcCol="360000" anchor="ctr">
            <a:noAutofit/>
          </a:bodyPr>
          <a:lstStyle>
            <a:lvl1pPr marL="0" indent="0" algn="l">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2</a:t>
            </a:r>
          </a:p>
        </p:txBody>
      </p:sp>
      <p:sp>
        <p:nvSpPr>
          <p:cNvPr id="81" name="Segnaposto testo 4">
            <a:extLst>
              <a:ext uri="{FF2B5EF4-FFF2-40B4-BE49-F238E27FC236}">
                <a16:creationId xmlns:a16="http://schemas.microsoft.com/office/drawing/2014/main" id="{22BDE6D2-22E5-F2A5-B54D-6E11D0324553}"/>
              </a:ext>
            </a:extLst>
          </p:cNvPr>
          <p:cNvSpPr>
            <a:spLocks noGrp="1"/>
          </p:cNvSpPr>
          <p:nvPr>
            <p:ph type="body" sz="quarter" idx="31" hasCustomPrompt="1"/>
          </p:nvPr>
        </p:nvSpPr>
        <p:spPr>
          <a:xfrm>
            <a:off x="6425031" y="5536332"/>
            <a:ext cx="1488561" cy="432523"/>
          </a:xfrm>
        </p:spPr>
        <p:txBody>
          <a:bodyPr numCol="1" spcCol="360000" anchor="ctr">
            <a:noAutofit/>
          </a:bodyPr>
          <a:lstStyle>
            <a:lvl1pPr marL="0" indent="0" algn="l">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3</a:t>
            </a:r>
          </a:p>
        </p:txBody>
      </p:sp>
      <p:sp>
        <p:nvSpPr>
          <p:cNvPr id="83" name="Segnaposto testo 4">
            <a:extLst>
              <a:ext uri="{FF2B5EF4-FFF2-40B4-BE49-F238E27FC236}">
                <a16:creationId xmlns:a16="http://schemas.microsoft.com/office/drawing/2014/main" id="{7460E0ED-B753-419C-3BBF-FB4E9900B0D6}"/>
              </a:ext>
            </a:extLst>
          </p:cNvPr>
          <p:cNvSpPr>
            <a:spLocks noGrp="1"/>
          </p:cNvSpPr>
          <p:nvPr>
            <p:ph type="body" sz="quarter" idx="32" hasCustomPrompt="1"/>
          </p:nvPr>
        </p:nvSpPr>
        <p:spPr>
          <a:xfrm>
            <a:off x="4007195" y="3547715"/>
            <a:ext cx="1488561"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4</a:t>
            </a:r>
          </a:p>
        </p:txBody>
      </p:sp>
      <p:sp>
        <p:nvSpPr>
          <p:cNvPr id="84" name="Segnaposto testo 4">
            <a:extLst>
              <a:ext uri="{FF2B5EF4-FFF2-40B4-BE49-F238E27FC236}">
                <a16:creationId xmlns:a16="http://schemas.microsoft.com/office/drawing/2014/main" id="{55A40BAE-B871-4671-9270-4A353EE0BA5A}"/>
              </a:ext>
            </a:extLst>
          </p:cNvPr>
          <p:cNvSpPr>
            <a:spLocks noGrp="1"/>
          </p:cNvSpPr>
          <p:nvPr>
            <p:ph type="body" sz="quarter" idx="33" hasCustomPrompt="1"/>
          </p:nvPr>
        </p:nvSpPr>
        <p:spPr>
          <a:xfrm>
            <a:off x="4759497" y="941779"/>
            <a:ext cx="1488561"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4</a:t>
            </a:r>
          </a:p>
        </p:txBody>
      </p:sp>
      <p:sp>
        <p:nvSpPr>
          <p:cNvPr id="90" name="Segnaposto testo 4">
            <a:extLst>
              <a:ext uri="{FF2B5EF4-FFF2-40B4-BE49-F238E27FC236}">
                <a16:creationId xmlns:a16="http://schemas.microsoft.com/office/drawing/2014/main" id="{14842AFC-14D1-B359-ED5C-4D76420F5D5E}"/>
              </a:ext>
            </a:extLst>
          </p:cNvPr>
          <p:cNvSpPr>
            <a:spLocks noGrp="1"/>
          </p:cNvSpPr>
          <p:nvPr>
            <p:ph type="body" sz="quarter" idx="15" hasCustomPrompt="1"/>
          </p:nvPr>
        </p:nvSpPr>
        <p:spPr>
          <a:xfrm>
            <a:off x="3984394" y="1486383"/>
            <a:ext cx="2593804"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91" name="Segnaposto testo 4">
            <a:extLst>
              <a:ext uri="{FF2B5EF4-FFF2-40B4-BE49-F238E27FC236}">
                <a16:creationId xmlns:a16="http://schemas.microsoft.com/office/drawing/2014/main" id="{C2647BF8-6F70-B39E-DC81-343FFE98EABE}"/>
              </a:ext>
            </a:extLst>
          </p:cNvPr>
          <p:cNvSpPr>
            <a:spLocks noGrp="1"/>
          </p:cNvSpPr>
          <p:nvPr>
            <p:ph type="body" sz="quarter" idx="34" hasCustomPrompt="1"/>
          </p:nvPr>
        </p:nvSpPr>
        <p:spPr>
          <a:xfrm>
            <a:off x="3135315" y="4001628"/>
            <a:ext cx="2619808"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92" name="Segnaposto testo 4">
            <a:extLst>
              <a:ext uri="{FF2B5EF4-FFF2-40B4-BE49-F238E27FC236}">
                <a16:creationId xmlns:a16="http://schemas.microsoft.com/office/drawing/2014/main" id="{A5D3508C-5527-3DFE-DB65-A11FAB11B4AC}"/>
              </a:ext>
            </a:extLst>
          </p:cNvPr>
          <p:cNvSpPr>
            <a:spLocks noGrp="1"/>
          </p:cNvSpPr>
          <p:nvPr>
            <p:ph type="body" sz="quarter" idx="35" hasCustomPrompt="1"/>
          </p:nvPr>
        </p:nvSpPr>
        <p:spPr>
          <a:xfrm>
            <a:off x="5973775" y="6025690"/>
            <a:ext cx="2619808"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93" name="Segnaposto testo 4">
            <a:extLst>
              <a:ext uri="{FF2B5EF4-FFF2-40B4-BE49-F238E27FC236}">
                <a16:creationId xmlns:a16="http://schemas.microsoft.com/office/drawing/2014/main" id="{05B3D22E-314A-2D07-D311-19802D130B18}"/>
              </a:ext>
            </a:extLst>
          </p:cNvPr>
          <p:cNvSpPr>
            <a:spLocks noGrp="1"/>
          </p:cNvSpPr>
          <p:nvPr>
            <p:ph type="body" sz="quarter" idx="36" hasCustomPrompt="1"/>
          </p:nvPr>
        </p:nvSpPr>
        <p:spPr>
          <a:xfrm>
            <a:off x="8454555" y="3967725"/>
            <a:ext cx="2619808"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94" name="Segnaposto testo 4">
            <a:extLst>
              <a:ext uri="{FF2B5EF4-FFF2-40B4-BE49-F238E27FC236}">
                <a16:creationId xmlns:a16="http://schemas.microsoft.com/office/drawing/2014/main" id="{E9BBFC97-E343-D6A9-1EBE-5C3AF5D06171}"/>
              </a:ext>
            </a:extLst>
          </p:cNvPr>
          <p:cNvSpPr>
            <a:spLocks noGrp="1"/>
          </p:cNvSpPr>
          <p:nvPr>
            <p:ph type="body" sz="quarter" idx="37" hasCustomPrompt="1"/>
          </p:nvPr>
        </p:nvSpPr>
        <p:spPr>
          <a:xfrm>
            <a:off x="8058641" y="1420317"/>
            <a:ext cx="2619808"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Tree>
    <p:extLst>
      <p:ext uri="{BB962C8B-B14F-4D97-AF65-F5344CB8AC3E}">
        <p14:creationId xmlns:p14="http://schemas.microsoft.com/office/powerpoint/2010/main" val="4839013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numCol="1" rtlCol="0" anchor="b"/>
          <a:lstStyle>
            <a:lvl1pPr algn="r">
              <a:lnSpc>
                <a:spcPct val="100000"/>
              </a:lnSpc>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numCol="1" rtlCol="0" anchor="ctr"/>
          <a:lstStyle>
            <a:lvl1pPr algn="r">
              <a:lnSpc>
                <a:spcPct val="100000"/>
              </a:lnSpc>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grpSp>
        <p:nvGrpSpPr>
          <p:cNvPr id="18" name="Groep 17">
            <a:extLst>
              <a:ext uri="{FF2B5EF4-FFF2-40B4-BE49-F238E27FC236}">
                <a16:creationId xmlns:a16="http://schemas.microsoft.com/office/drawing/2014/main" id="{478505E9-F9FC-815B-A7AB-D964EEF3A68E}"/>
              </a:ext>
            </a:extLst>
          </p:cNvPr>
          <p:cNvGrpSpPr>
            <a:grpSpLocks noChangeAspect="1"/>
          </p:cNvGrpSpPr>
          <p:nvPr userDrawn="1"/>
        </p:nvGrpSpPr>
        <p:grpSpPr>
          <a:xfrm>
            <a:off x="2071885" y="644972"/>
            <a:ext cx="8162744" cy="3836157"/>
            <a:chOff x="3098156" y="1332274"/>
            <a:chExt cx="12333071" cy="5796040"/>
          </a:xfrm>
        </p:grpSpPr>
        <p:sp>
          <p:nvSpPr>
            <p:cNvPr id="2" name="Isosceles Triangle 6">
              <a:extLst>
                <a:ext uri="{FF2B5EF4-FFF2-40B4-BE49-F238E27FC236}">
                  <a16:creationId xmlns:a16="http://schemas.microsoft.com/office/drawing/2014/main" id="{099CB42B-F27D-64DC-22A4-34DD51476248}"/>
                </a:ext>
              </a:extLst>
            </p:cNvPr>
            <p:cNvSpPr/>
            <p:nvPr userDrawn="1"/>
          </p:nvSpPr>
          <p:spPr>
            <a:xfrm>
              <a:off x="5185338" y="1332274"/>
              <a:ext cx="6723405" cy="5796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0" name="Isosceles Triangle 25">
              <a:extLst>
                <a:ext uri="{FF2B5EF4-FFF2-40B4-BE49-F238E27FC236}">
                  <a16:creationId xmlns:a16="http://schemas.microsoft.com/office/drawing/2014/main" id="{49A76160-A541-AF28-883D-0D719633E5DF}"/>
                </a:ext>
              </a:extLst>
            </p:cNvPr>
            <p:cNvSpPr/>
            <p:nvPr userDrawn="1"/>
          </p:nvSpPr>
          <p:spPr>
            <a:xfrm>
              <a:off x="9947032" y="2400555"/>
              <a:ext cx="5484195" cy="4727756"/>
            </a:xfrm>
            <a:prstGeom prst="triangle">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1" name="Isosceles Triangle 5">
              <a:extLst>
                <a:ext uri="{FF2B5EF4-FFF2-40B4-BE49-F238E27FC236}">
                  <a16:creationId xmlns:a16="http://schemas.microsoft.com/office/drawing/2014/main" id="{89842607-651D-149B-74FC-E583EE5E7BAA}"/>
                </a:ext>
              </a:extLst>
            </p:cNvPr>
            <p:cNvSpPr/>
            <p:nvPr userDrawn="1"/>
          </p:nvSpPr>
          <p:spPr>
            <a:xfrm>
              <a:off x="3098156" y="3920225"/>
              <a:ext cx="3721379" cy="3208086"/>
            </a:xfrm>
            <a:prstGeom prst="triangle">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5" name="AutoShape 124">
              <a:extLst>
                <a:ext uri="{FF2B5EF4-FFF2-40B4-BE49-F238E27FC236}">
                  <a16:creationId xmlns:a16="http://schemas.microsoft.com/office/drawing/2014/main" id="{34A67DE3-6A8C-6C6F-267E-59B1233146E8}"/>
                </a:ext>
              </a:extLst>
            </p:cNvPr>
            <p:cNvSpPr>
              <a:spLocks/>
            </p:cNvSpPr>
            <p:nvPr userDrawn="1"/>
          </p:nvSpPr>
          <p:spPr bwMode="auto">
            <a:xfrm>
              <a:off x="4570090" y="5439542"/>
              <a:ext cx="467939" cy="39919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84" y="0"/>
                  </a:moveTo>
                  <a:cubicBezTo>
                    <a:pt x="20941" y="0"/>
                    <a:pt x="21159" y="103"/>
                    <a:pt x="21335" y="310"/>
                  </a:cubicBezTo>
                  <a:cubicBezTo>
                    <a:pt x="21511" y="518"/>
                    <a:pt x="21599" y="760"/>
                    <a:pt x="21599" y="1048"/>
                  </a:cubicBezTo>
                  <a:lnTo>
                    <a:pt x="21599" y="16238"/>
                  </a:lnTo>
                  <a:cubicBezTo>
                    <a:pt x="21599" y="16523"/>
                    <a:pt x="21511" y="16767"/>
                    <a:pt x="21335" y="16969"/>
                  </a:cubicBezTo>
                  <a:cubicBezTo>
                    <a:pt x="21161" y="17173"/>
                    <a:pt x="20943" y="17274"/>
                    <a:pt x="20684" y="17274"/>
                  </a:cubicBezTo>
                  <a:lnTo>
                    <a:pt x="19807" y="17274"/>
                  </a:lnTo>
                  <a:lnTo>
                    <a:pt x="19807" y="17369"/>
                  </a:lnTo>
                  <a:cubicBezTo>
                    <a:pt x="19807" y="17948"/>
                    <a:pt x="19709" y="18498"/>
                    <a:pt x="19513" y="19017"/>
                  </a:cubicBezTo>
                  <a:cubicBezTo>
                    <a:pt x="19317" y="19535"/>
                    <a:pt x="19060" y="19984"/>
                    <a:pt x="18746" y="20361"/>
                  </a:cubicBezTo>
                  <a:cubicBezTo>
                    <a:pt x="18433" y="20738"/>
                    <a:pt x="18051" y="21038"/>
                    <a:pt x="17608" y="21263"/>
                  </a:cubicBezTo>
                  <a:cubicBezTo>
                    <a:pt x="17167" y="21487"/>
                    <a:pt x="16697" y="21599"/>
                    <a:pt x="16197" y="21599"/>
                  </a:cubicBezTo>
                  <a:cubicBezTo>
                    <a:pt x="15705" y="21599"/>
                    <a:pt x="15237" y="21487"/>
                    <a:pt x="14796" y="21263"/>
                  </a:cubicBezTo>
                  <a:cubicBezTo>
                    <a:pt x="14353" y="21038"/>
                    <a:pt x="13973" y="20738"/>
                    <a:pt x="13653" y="20361"/>
                  </a:cubicBezTo>
                  <a:cubicBezTo>
                    <a:pt x="13332" y="19984"/>
                    <a:pt x="13077" y="19535"/>
                    <a:pt x="12886" y="19017"/>
                  </a:cubicBezTo>
                  <a:cubicBezTo>
                    <a:pt x="12695" y="18498"/>
                    <a:pt x="12600" y="17948"/>
                    <a:pt x="12600" y="17369"/>
                  </a:cubicBezTo>
                  <a:lnTo>
                    <a:pt x="12600" y="17274"/>
                  </a:lnTo>
                  <a:lnTo>
                    <a:pt x="9000" y="17274"/>
                  </a:lnTo>
                  <a:lnTo>
                    <a:pt x="9000" y="17369"/>
                  </a:lnTo>
                  <a:cubicBezTo>
                    <a:pt x="9000" y="17948"/>
                    <a:pt x="8904" y="18498"/>
                    <a:pt x="8713" y="19017"/>
                  </a:cubicBezTo>
                  <a:cubicBezTo>
                    <a:pt x="8522" y="19535"/>
                    <a:pt x="8265" y="19984"/>
                    <a:pt x="7946" y="20361"/>
                  </a:cubicBezTo>
                  <a:cubicBezTo>
                    <a:pt x="7628" y="20738"/>
                    <a:pt x="7244" y="21038"/>
                    <a:pt x="6803" y="21263"/>
                  </a:cubicBezTo>
                  <a:cubicBezTo>
                    <a:pt x="6360" y="21487"/>
                    <a:pt x="5894" y="21599"/>
                    <a:pt x="5402" y="21599"/>
                  </a:cubicBezTo>
                  <a:cubicBezTo>
                    <a:pt x="4910" y="21599"/>
                    <a:pt x="4442" y="21487"/>
                    <a:pt x="4004" y="21263"/>
                  </a:cubicBezTo>
                  <a:cubicBezTo>
                    <a:pt x="3558" y="21038"/>
                    <a:pt x="3178" y="20738"/>
                    <a:pt x="2857" y="20361"/>
                  </a:cubicBezTo>
                  <a:cubicBezTo>
                    <a:pt x="2537" y="19984"/>
                    <a:pt x="2282" y="19535"/>
                    <a:pt x="2091" y="19017"/>
                  </a:cubicBezTo>
                  <a:cubicBezTo>
                    <a:pt x="1900" y="18498"/>
                    <a:pt x="1804" y="17948"/>
                    <a:pt x="1804" y="17369"/>
                  </a:cubicBezTo>
                  <a:lnTo>
                    <a:pt x="1804" y="17274"/>
                  </a:lnTo>
                  <a:lnTo>
                    <a:pt x="891" y="17274"/>
                  </a:lnTo>
                  <a:cubicBezTo>
                    <a:pt x="646" y="17274"/>
                    <a:pt x="438" y="17168"/>
                    <a:pt x="262" y="16960"/>
                  </a:cubicBezTo>
                  <a:cubicBezTo>
                    <a:pt x="88" y="16756"/>
                    <a:pt x="0" y="16514"/>
                    <a:pt x="0" y="16238"/>
                  </a:cubicBezTo>
                  <a:lnTo>
                    <a:pt x="0" y="10668"/>
                  </a:lnTo>
                  <a:cubicBezTo>
                    <a:pt x="0" y="10441"/>
                    <a:pt x="26" y="10205"/>
                    <a:pt x="68" y="9960"/>
                  </a:cubicBezTo>
                  <a:cubicBezTo>
                    <a:pt x="117" y="9715"/>
                    <a:pt x="186" y="9474"/>
                    <a:pt x="274" y="9229"/>
                  </a:cubicBezTo>
                  <a:cubicBezTo>
                    <a:pt x="364" y="8984"/>
                    <a:pt x="470" y="8751"/>
                    <a:pt x="592" y="8526"/>
                  </a:cubicBezTo>
                  <a:cubicBezTo>
                    <a:pt x="712" y="8301"/>
                    <a:pt x="837" y="8114"/>
                    <a:pt x="959" y="7964"/>
                  </a:cubicBezTo>
                  <a:lnTo>
                    <a:pt x="3573" y="4906"/>
                  </a:lnTo>
                  <a:cubicBezTo>
                    <a:pt x="3697" y="4759"/>
                    <a:pt x="3857" y="4613"/>
                    <a:pt x="4053" y="4474"/>
                  </a:cubicBezTo>
                  <a:cubicBezTo>
                    <a:pt x="4248" y="4330"/>
                    <a:pt x="4449" y="4209"/>
                    <a:pt x="4657" y="4109"/>
                  </a:cubicBezTo>
                  <a:cubicBezTo>
                    <a:pt x="4863" y="4005"/>
                    <a:pt x="5071" y="3927"/>
                    <a:pt x="5277" y="3867"/>
                  </a:cubicBezTo>
                  <a:cubicBezTo>
                    <a:pt x="5485" y="3806"/>
                    <a:pt x="5686" y="3775"/>
                    <a:pt x="5882" y="3775"/>
                  </a:cubicBezTo>
                  <a:lnTo>
                    <a:pt x="6820" y="3775"/>
                  </a:lnTo>
                  <a:lnTo>
                    <a:pt x="6820" y="1048"/>
                  </a:lnTo>
                  <a:cubicBezTo>
                    <a:pt x="6820" y="760"/>
                    <a:pt x="6908" y="518"/>
                    <a:pt x="7082" y="310"/>
                  </a:cubicBezTo>
                  <a:cubicBezTo>
                    <a:pt x="7258" y="103"/>
                    <a:pt x="7464" y="0"/>
                    <a:pt x="7699" y="0"/>
                  </a:cubicBezTo>
                  <a:lnTo>
                    <a:pt x="20684" y="0"/>
                  </a:lnTo>
                  <a:close/>
                  <a:moveTo>
                    <a:pt x="6791" y="6438"/>
                  </a:moveTo>
                  <a:lnTo>
                    <a:pt x="5877" y="6438"/>
                  </a:lnTo>
                  <a:cubicBezTo>
                    <a:pt x="5799" y="6438"/>
                    <a:pt x="5676" y="6478"/>
                    <a:pt x="5510" y="6550"/>
                  </a:cubicBezTo>
                  <a:cubicBezTo>
                    <a:pt x="5341" y="6625"/>
                    <a:pt x="5223" y="6703"/>
                    <a:pt x="5152" y="6784"/>
                  </a:cubicBezTo>
                  <a:lnTo>
                    <a:pt x="2539" y="9830"/>
                  </a:lnTo>
                  <a:cubicBezTo>
                    <a:pt x="2478" y="9902"/>
                    <a:pt x="2412" y="10040"/>
                    <a:pt x="2351" y="10239"/>
                  </a:cubicBezTo>
                  <a:cubicBezTo>
                    <a:pt x="2289" y="10435"/>
                    <a:pt x="2257" y="10579"/>
                    <a:pt x="2257" y="10671"/>
                  </a:cubicBezTo>
                  <a:lnTo>
                    <a:pt x="2257" y="11527"/>
                  </a:lnTo>
                  <a:lnTo>
                    <a:pt x="6795" y="11527"/>
                  </a:lnTo>
                  <a:lnTo>
                    <a:pt x="6795" y="6438"/>
                  </a:lnTo>
                  <a:close/>
                  <a:moveTo>
                    <a:pt x="5395" y="18942"/>
                  </a:moveTo>
                  <a:cubicBezTo>
                    <a:pt x="5760" y="18942"/>
                    <a:pt x="6075" y="18789"/>
                    <a:pt x="6340" y="18481"/>
                  </a:cubicBezTo>
                  <a:cubicBezTo>
                    <a:pt x="6600" y="18173"/>
                    <a:pt x="6732" y="17804"/>
                    <a:pt x="6732" y="17372"/>
                  </a:cubicBezTo>
                  <a:cubicBezTo>
                    <a:pt x="6732" y="16940"/>
                    <a:pt x="6600" y="16569"/>
                    <a:pt x="6340" y="16252"/>
                  </a:cubicBezTo>
                  <a:cubicBezTo>
                    <a:pt x="6078" y="15944"/>
                    <a:pt x="5762" y="15786"/>
                    <a:pt x="5395" y="15786"/>
                  </a:cubicBezTo>
                  <a:cubicBezTo>
                    <a:pt x="5027" y="15786"/>
                    <a:pt x="4714" y="15941"/>
                    <a:pt x="4444" y="16246"/>
                  </a:cubicBezTo>
                  <a:cubicBezTo>
                    <a:pt x="4180" y="16557"/>
                    <a:pt x="4045" y="16932"/>
                    <a:pt x="4045" y="17372"/>
                  </a:cubicBezTo>
                  <a:cubicBezTo>
                    <a:pt x="4045" y="17804"/>
                    <a:pt x="4180" y="18173"/>
                    <a:pt x="4444" y="18481"/>
                  </a:cubicBezTo>
                  <a:cubicBezTo>
                    <a:pt x="4714" y="18789"/>
                    <a:pt x="5027" y="18942"/>
                    <a:pt x="5395" y="18942"/>
                  </a:cubicBezTo>
                  <a:moveTo>
                    <a:pt x="16195" y="18942"/>
                  </a:moveTo>
                  <a:cubicBezTo>
                    <a:pt x="16560" y="18942"/>
                    <a:pt x="16878" y="18789"/>
                    <a:pt x="17145" y="18481"/>
                  </a:cubicBezTo>
                  <a:cubicBezTo>
                    <a:pt x="17409" y="18173"/>
                    <a:pt x="17544" y="17804"/>
                    <a:pt x="17544" y="17372"/>
                  </a:cubicBezTo>
                  <a:cubicBezTo>
                    <a:pt x="17544" y="16940"/>
                    <a:pt x="17412" y="16569"/>
                    <a:pt x="17150" y="16252"/>
                  </a:cubicBezTo>
                  <a:cubicBezTo>
                    <a:pt x="16890" y="15944"/>
                    <a:pt x="16572" y="15786"/>
                    <a:pt x="16195" y="15786"/>
                  </a:cubicBezTo>
                  <a:cubicBezTo>
                    <a:pt x="15827" y="15786"/>
                    <a:pt x="15514" y="15941"/>
                    <a:pt x="15249" y="16246"/>
                  </a:cubicBezTo>
                  <a:cubicBezTo>
                    <a:pt x="14990" y="16557"/>
                    <a:pt x="14857" y="16932"/>
                    <a:pt x="14857" y="17372"/>
                  </a:cubicBezTo>
                  <a:cubicBezTo>
                    <a:pt x="14857" y="17804"/>
                    <a:pt x="14990" y="18173"/>
                    <a:pt x="15249" y="18481"/>
                  </a:cubicBezTo>
                  <a:cubicBezTo>
                    <a:pt x="15511" y="18789"/>
                    <a:pt x="15825" y="18942"/>
                    <a:pt x="16195" y="18942"/>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6" name="AutoShape 76">
              <a:extLst>
                <a:ext uri="{FF2B5EF4-FFF2-40B4-BE49-F238E27FC236}">
                  <a16:creationId xmlns:a16="http://schemas.microsoft.com/office/drawing/2014/main" id="{D3F2C218-FFA9-AAA7-445D-B93E273875F6}"/>
                </a:ext>
              </a:extLst>
            </p:cNvPr>
            <p:cNvSpPr>
              <a:spLocks/>
            </p:cNvSpPr>
            <p:nvPr userDrawn="1"/>
          </p:nvSpPr>
          <p:spPr bwMode="auto">
            <a:xfrm>
              <a:off x="8165526" y="5165260"/>
              <a:ext cx="683430" cy="5485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12292" y="0"/>
                    <a:pt x="13696" y="342"/>
                    <a:pt x="15004" y="1019"/>
                  </a:cubicBezTo>
                  <a:cubicBezTo>
                    <a:pt x="16315" y="1698"/>
                    <a:pt x="17460" y="2628"/>
                    <a:pt x="18441" y="3806"/>
                  </a:cubicBezTo>
                  <a:cubicBezTo>
                    <a:pt x="19420" y="4981"/>
                    <a:pt x="20193" y="6354"/>
                    <a:pt x="20755" y="7923"/>
                  </a:cubicBezTo>
                  <a:cubicBezTo>
                    <a:pt x="21319" y="9498"/>
                    <a:pt x="21599" y="11174"/>
                    <a:pt x="21599" y="12956"/>
                  </a:cubicBezTo>
                  <a:cubicBezTo>
                    <a:pt x="21599" y="13673"/>
                    <a:pt x="21544" y="14402"/>
                    <a:pt x="21434" y="15147"/>
                  </a:cubicBezTo>
                  <a:cubicBezTo>
                    <a:pt x="21321" y="15893"/>
                    <a:pt x="21160" y="16624"/>
                    <a:pt x="20952" y="17338"/>
                  </a:cubicBezTo>
                  <a:cubicBezTo>
                    <a:pt x="20740" y="18058"/>
                    <a:pt x="20476" y="18743"/>
                    <a:pt x="20162" y="19403"/>
                  </a:cubicBezTo>
                  <a:cubicBezTo>
                    <a:pt x="19850" y="20056"/>
                    <a:pt x="19497" y="20655"/>
                    <a:pt x="19106" y="21199"/>
                  </a:cubicBezTo>
                  <a:cubicBezTo>
                    <a:pt x="18931" y="21467"/>
                    <a:pt x="18703" y="21599"/>
                    <a:pt x="18429" y="21599"/>
                  </a:cubicBezTo>
                  <a:lnTo>
                    <a:pt x="3170" y="21599"/>
                  </a:lnTo>
                  <a:cubicBezTo>
                    <a:pt x="2887" y="21599"/>
                    <a:pt x="2661" y="21467"/>
                    <a:pt x="2493" y="21199"/>
                  </a:cubicBezTo>
                  <a:cubicBezTo>
                    <a:pt x="2088" y="20655"/>
                    <a:pt x="1730" y="20056"/>
                    <a:pt x="1425" y="19403"/>
                  </a:cubicBezTo>
                  <a:cubicBezTo>
                    <a:pt x="1118" y="18743"/>
                    <a:pt x="859" y="18058"/>
                    <a:pt x="650" y="17338"/>
                  </a:cubicBezTo>
                  <a:cubicBezTo>
                    <a:pt x="439" y="16624"/>
                    <a:pt x="278" y="15893"/>
                    <a:pt x="165" y="15147"/>
                  </a:cubicBezTo>
                  <a:cubicBezTo>
                    <a:pt x="55" y="14402"/>
                    <a:pt x="0" y="13673"/>
                    <a:pt x="0" y="12956"/>
                  </a:cubicBezTo>
                  <a:cubicBezTo>
                    <a:pt x="0" y="11162"/>
                    <a:pt x="280" y="9487"/>
                    <a:pt x="844" y="7917"/>
                  </a:cubicBezTo>
                  <a:cubicBezTo>
                    <a:pt x="1406" y="6354"/>
                    <a:pt x="2179" y="4981"/>
                    <a:pt x="3158" y="3806"/>
                  </a:cubicBezTo>
                  <a:cubicBezTo>
                    <a:pt x="4140" y="2628"/>
                    <a:pt x="5284" y="1698"/>
                    <a:pt x="6595" y="1019"/>
                  </a:cubicBezTo>
                  <a:cubicBezTo>
                    <a:pt x="7903" y="342"/>
                    <a:pt x="9304" y="0"/>
                    <a:pt x="10800" y="0"/>
                  </a:cubicBezTo>
                  <a:moveTo>
                    <a:pt x="3148" y="14571"/>
                  </a:moveTo>
                  <a:cubicBezTo>
                    <a:pt x="3523" y="14571"/>
                    <a:pt x="3842" y="14413"/>
                    <a:pt x="4101" y="14099"/>
                  </a:cubicBezTo>
                  <a:cubicBezTo>
                    <a:pt x="4360" y="13791"/>
                    <a:pt x="4492" y="13408"/>
                    <a:pt x="4492" y="12956"/>
                  </a:cubicBezTo>
                  <a:cubicBezTo>
                    <a:pt x="4492" y="12507"/>
                    <a:pt x="4360" y="12127"/>
                    <a:pt x="4096" y="11822"/>
                  </a:cubicBezTo>
                  <a:cubicBezTo>
                    <a:pt x="3832" y="11511"/>
                    <a:pt x="3516" y="11358"/>
                    <a:pt x="3148" y="11358"/>
                  </a:cubicBezTo>
                  <a:cubicBezTo>
                    <a:pt x="2772" y="11358"/>
                    <a:pt x="2455" y="11511"/>
                    <a:pt x="2200" y="11822"/>
                  </a:cubicBezTo>
                  <a:cubicBezTo>
                    <a:pt x="1943" y="12127"/>
                    <a:pt x="1814" y="12507"/>
                    <a:pt x="1814" y="12956"/>
                  </a:cubicBezTo>
                  <a:cubicBezTo>
                    <a:pt x="1814" y="13408"/>
                    <a:pt x="1943" y="13791"/>
                    <a:pt x="2200" y="14099"/>
                  </a:cubicBezTo>
                  <a:cubicBezTo>
                    <a:pt x="2455" y="14413"/>
                    <a:pt x="2772" y="14571"/>
                    <a:pt x="3148" y="14571"/>
                  </a:cubicBezTo>
                  <a:moveTo>
                    <a:pt x="5388" y="8105"/>
                  </a:moveTo>
                  <a:cubicBezTo>
                    <a:pt x="5762" y="8105"/>
                    <a:pt x="6086" y="7943"/>
                    <a:pt x="6352" y="7621"/>
                  </a:cubicBezTo>
                  <a:cubicBezTo>
                    <a:pt x="6621" y="7301"/>
                    <a:pt x="6756" y="6915"/>
                    <a:pt x="6756" y="6466"/>
                  </a:cubicBezTo>
                  <a:cubicBezTo>
                    <a:pt x="6756" y="6014"/>
                    <a:pt x="6621" y="5634"/>
                    <a:pt x="6352" y="5326"/>
                  </a:cubicBezTo>
                  <a:cubicBezTo>
                    <a:pt x="6086" y="5021"/>
                    <a:pt x="5762" y="4865"/>
                    <a:pt x="5388" y="4865"/>
                  </a:cubicBezTo>
                  <a:cubicBezTo>
                    <a:pt x="5028" y="4865"/>
                    <a:pt x="4713" y="5021"/>
                    <a:pt x="4447" y="5326"/>
                  </a:cubicBezTo>
                  <a:cubicBezTo>
                    <a:pt x="4178" y="5634"/>
                    <a:pt x="4043" y="6014"/>
                    <a:pt x="4043" y="6466"/>
                  </a:cubicBezTo>
                  <a:cubicBezTo>
                    <a:pt x="4043" y="6915"/>
                    <a:pt x="4178" y="7301"/>
                    <a:pt x="4447" y="7621"/>
                  </a:cubicBezTo>
                  <a:cubicBezTo>
                    <a:pt x="4713" y="7943"/>
                    <a:pt x="5028" y="8105"/>
                    <a:pt x="5388" y="8105"/>
                  </a:cubicBezTo>
                  <a:moveTo>
                    <a:pt x="11995" y="15052"/>
                  </a:moveTo>
                  <a:cubicBezTo>
                    <a:pt x="12026" y="14923"/>
                    <a:pt x="12084" y="14672"/>
                    <a:pt x="12172" y="14292"/>
                  </a:cubicBezTo>
                  <a:cubicBezTo>
                    <a:pt x="12261" y="13918"/>
                    <a:pt x="12364" y="13477"/>
                    <a:pt x="12482" y="12977"/>
                  </a:cubicBezTo>
                  <a:cubicBezTo>
                    <a:pt x="12599" y="12475"/>
                    <a:pt x="12727" y="11954"/>
                    <a:pt x="12861" y="11404"/>
                  </a:cubicBezTo>
                  <a:cubicBezTo>
                    <a:pt x="12996" y="10860"/>
                    <a:pt x="13113" y="10351"/>
                    <a:pt x="13212" y="9881"/>
                  </a:cubicBezTo>
                  <a:cubicBezTo>
                    <a:pt x="13312" y="9415"/>
                    <a:pt x="13399" y="9009"/>
                    <a:pt x="13471" y="8669"/>
                  </a:cubicBezTo>
                  <a:cubicBezTo>
                    <a:pt x="13543" y="8329"/>
                    <a:pt x="13579" y="8131"/>
                    <a:pt x="13579" y="8076"/>
                  </a:cubicBezTo>
                  <a:cubicBezTo>
                    <a:pt x="13579" y="7869"/>
                    <a:pt x="13512" y="7681"/>
                    <a:pt x="13379" y="7526"/>
                  </a:cubicBezTo>
                  <a:cubicBezTo>
                    <a:pt x="13245" y="7371"/>
                    <a:pt x="13089" y="7293"/>
                    <a:pt x="12914" y="7293"/>
                  </a:cubicBezTo>
                  <a:cubicBezTo>
                    <a:pt x="12760" y="7293"/>
                    <a:pt x="12624" y="7345"/>
                    <a:pt x="12506" y="7457"/>
                  </a:cubicBezTo>
                  <a:cubicBezTo>
                    <a:pt x="12386" y="7566"/>
                    <a:pt x="12304" y="7710"/>
                    <a:pt x="12259" y="7886"/>
                  </a:cubicBezTo>
                  <a:lnTo>
                    <a:pt x="10706" y="14598"/>
                  </a:lnTo>
                  <a:cubicBezTo>
                    <a:pt x="10408" y="14618"/>
                    <a:pt x="10125" y="14695"/>
                    <a:pt x="9856" y="14839"/>
                  </a:cubicBezTo>
                  <a:cubicBezTo>
                    <a:pt x="9590" y="14983"/>
                    <a:pt x="9357" y="15173"/>
                    <a:pt x="9163" y="15418"/>
                  </a:cubicBezTo>
                  <a:cubicBezTo>
                    <a:pt x="8966" y="15663"/>
                    <a:pt x="8812" y="15945"/>
                    <a:pt x="8702" y="16265"/>
                  </a:cubicBezTo>
                  <a:cubicBezTo>
                    <a:pt x="8591" y="16587"/>
                    <a:pt x="8536" y="16927"/>
                    <a:pt x="8536" y="17284"/>
                  </a:cubicBezTo>
                  <a:cubicBezTo>
                    <a:pt x="8536" y="18038"/>
                    <a:pt x="8755" y="18677"/>
                    <a:pt x="9196" y="19198"/>
                  </a:cubicBezTo>
                  <a:cubicBezTo>
                    <a:pt x="9638" y="19725"/>
                    <a:pt x="10171" y="19987"/>
                    <a:pt x="10799" y="19987"/>
                  </a:cubicBezTo>
                  <a:cubicBezTo>
                    <a:pt x="11428" y="19987"/>
                    <a:pt x="11961" y="19725"/>
                    <a:pt x="12403" y="19198"/>
                  </a:cubicBezTo>
                  <a:cubicBezTo>
                    <a:pt x="12842" y="18677"/>
                    <a:pt x="13063" y="18038"/>
                    <a:pt x="13063" y="17284"/>
                  </a:cubicBezTo>
                  <a:cubicBezTo>
                    <a:pt x="13063" y="16835"/>
                    <a:pt x="12962" y="16417"/>
                    <a:pt x="12763" y="16031"/>
                  </a:cubicBezTo>
                  <a:cubicBezTo>
                    <a:pt x="12564" y="15645"/>
                    <a:pt x="12307" y="15320"/>
                    <a:pt x="11995" y="15052"/>
                  </a:cubicBezTo>
                  <a:moveTo>
                    <a:pt x="10800" y="2176"/>
                  </a:moveTo>
                  <a:cubicBezTo>
                    <a:pt x="10425" y="2176"/>
                    <a:pt x="10106" y="2335"/>
                    <a:pt x="9847" y="2646"/>
                  </a:cubicBezTo>
                  <a:cubicBezTo>
                    <a:pt x="9585" y="2960"/>
                    <a:pt x="9456" y="3343"/>
                    <a:pt x="9456" y="3792"/>
                  </a:cubicBezTo>
                  <a:cubicBezTo>
                    <a:pt x="9456" y="4241"/>
                    <a:pt x="9585" y="4621"/>
                    <a:pt x="9847" y="4926"/>
                  </a:cubicBezTo>
                  <a:cubicBezTo>
                    <a:pt x="10106" y="5237"/>
                    <a:pt x="10425" y="5390"/>
                    <a:pt x="10800" y="5390"/>
                  </a:cubicBezTo>
                  <a:cubicBezTo>
                    <a:pt x="11174" y="5390"/>
                    <a:pt x="11493" y="5237"/>
                    <a:pt x="11752" y="4926"/>
                  </a:cubicBezTo>
                  <a:cubicBezTo>
                    <a:pt x="12014" y="4621"/>
                    <a:pt x="12144" y="4241"/>
                    <a:pt x="12144" y="3792"/>
                  </a:cubicBezTo>
                  <a:cubicBezTo>
                    <a:pt x="12144" y="3343"/>
                    <a:pt x="12014" y="2960"/>
                    <a:pt x="11752" y="2646"/>
                  </a:cubicBezTo>
                  <a:cubicBezTo>
                    <a:pt x="11493" y="2335"/>
                    <a:pt x="11174" y="2176"/>
                    <a:pt x="10800" y="2176"/>
                  </a:cubicBezTo>
                  <a:moveTo>
                    <a:pt x="14844" y="6466"/>
                  </a:moveTo>
                  <a:cubicBezTo>
                    <a:pt x="14844" y="6916"/>
                    <a:pt x="14978" y="7299"/>
                    <a:pt x="15247" y="7609"/>
                  </a:cubicBezTo>
                  <a:cubicBezTo>
                    <a:pt x="15513" y="7920"/>
                    <a:pt x="15835" y="8076"/>
                    <a:pt x="16212" y="8076"/>
                  </a:cubicBezTo>
                  <a:cubicBezTo>
                    <a:pt x="16586" y="8076"/>
                    <a:pt x="16903" y="7920"/>
                    <a:pt x="17164" y="7609"/>
                  </a:cubicBezTo>
                  <a:cubicBezTo>
                    <a:pt x="17426" y="7299"/>
                    <a:pt x="17555" y="6915"/>
                    <a:pt x="17555" y="6466"/>
                  </a:cubicBezTo>
                  <a:cubicBezTo>
                    <a:pt x="17555" y="6014"/>
                    <a:pt x="17426" y="5634"/>
                    <a:pt x="17164" y="5326"/>
                  </a:cubicBezTo>
                  <a:cubicBezTo>
                    <a:pt x="16903" y="5021"/>
                    <a:pt x="16586" y="4866"/>
                    <a:pt x="16212" y="4866"/>
                  </a:cubicBezTo>
                  <a:cubicBezTo>
                    <a:pt x="15835" y="4866"/>
                    <a:pt x="15513" y="5021"/>
                    <a:pt x="15247" y="5326"/>
                  </a:cubicBezTo>
                  <a:cubicBezTo>
                    <a:pt x="14978" y="5634"/>
                    <a:pt x="14844" y="6014"/>
                    <a:pt x="14844" y="6466"/>
                  </a:cubicBezTo>
                  <a:moveTo>
                    <a:pt x="18451" y="14571"/>
                  </a:moveTo>
                  <a:cubicBezTo>
                    <a:pt x="18828" y="14571"/>
                    <a:pt x="19142" y="14413"/>
                    <a:pt x="19399" y="14099"/>
                  </a:cubicBezTo>
                  <a:cubicBezTo>
                    <a:pt x="19656" y="13791"/>
                    <a:pt x="19785" y="13408"/>
                    <a:pt x="19785" y="12956"/>
                  </a:cubicBezTo>
                  <a:cubicBezTo>
                    <a:pt x="19785" y="12507"/>
                    <a:pt x="19655" y="12127"/>
                    <a:pt x="19399" y="11822"/>
                  </a:cubicBezTo>
                  <a:cubicBezTo>
                    <a:pt x="19142" y="11511"/>
                    <a:pt x="18828" y="11358"/>
                    <a:pt x="18451" y="11358"/>
                  </a:cubicBezTo>
                  <a:cubicBezTo>
                    <a:pt x="18076" y="11358"/>
                    <a:pt x="17757" y="11511"/>
                    <a:pt x="17498" y="11822"/>
                  </a:cubicBezTo>
                  <a:cubicBezTo>
                    <a:pt x="17236" y="12127"/>
                    <a:pt x="17107" y="12507"/>
                    <a:pt x="17107" y="12956"/>
                  </a:cubicBezTo>
                  <a:cubicBezTo>
                    <a:pt x="17107" y="13408"/>
                    <a:pt x="17236" y="13791"/>
                    <a:pt x="17498" y="14099"/>
                  </a:cubicBezTo>
                  <a:cubicBezTo>
                    <a:pt x="17757" y="14413"/>
                    <a:pt x="18076" y="14571"/>
                    <a:pt x="18451" y="14571"/>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7" name="AutoShape 29">
              <a:extLst>
                <a:ext uri="{FF2B5EF4-FFF2-40B4-BE49-F238E27FC236}">
                  <a16:creationId xmlns:a16="http://schemas.microsoft.com/office/drawing/2014/main" id="{785042F8-ACC4-A13D-6987-6EE29D2332CA}"/>
                </a:ext>
              </a:extLst>
            </p:cNvPr>
            <p:cNvSpPr>
              <a:spLocks/>
            </p:cNvSpPr>
            <p:nvPr userDrawn="1"/>
          </p:nvSpPr>
          <p:spPr bwMode="auto">
            <a:xfrm>
              <a:off x="12606886" y="5208607"/>
              <a:ext cx="564817" cy="55076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598" y="2167"/>
                  </a:moveTo>
                  <a:cubicBezTo>
                    <a:pt x="3598" y="2549"/>
                    <a:pt x="3517" y="2902"/>
                    <a:pt x="3358" y="3213"/>
                  </a:cubicBezTo>
                  <a:cubicBezTo>
                    <a:pt x="3197" y="3525"/>
                    <a:pt x="2981" y="3792"/>
                    <a:pt x="2707" y="4006"/>
                  </a:cubicBezTo>
                  <a:lnTo>
                    <a:pt x="2707" y="21050"/>
                  </a:lnTo>
                  <a:cubicBezTo>
                    <a:pt x="2707" y="21203"/>
                    <a:pt x="2663" y="21329"/>
                    <a:pt x="2580" y="21438"/>
                  </a:cubicBezTo>
                  <a:cubicBezTo>
                    <a:pt x="2492" y="21547"/>
                    <a:pt x="2386" y="21599"/>
                    <a:pt x="2262" y="21599"/>
                  </a:cubicBezTo>
                  <a:lnTo>
                    <a:pt x="1348" y="21599"/>
                  </a:lnTo>
                  <a:cubicBezTo>
                    <a:pt x="1221" y="21599"/>
                    <a:pt x="1118" y="21544"/>
                    <a:pt x="1038" y="21438"/>
                  </a:cubicBezTo>
                  <a:cubicBezTo>
                    <a:pt x="954" y="21329"/>
                    <a:pt x="913" y="21203"/>
                    <a:pt x="913" y="21050"/>
                  </a:cubicBezTo>
                  <a:lnTo>
                    <a:pt x="913" y="4006"/>
                  </a:lnTo>
                  <a:cubicBezTo>
                    <a:pt x="641" y="3792"/>
                    <a:pt x="421" y="3525"/>
                    <a:pt x="252" y="3213"/>
                  </a:cubicBezTo>
                  <a:cubicBezTo>
                    <a:pt x="83" y="2902"/>
                    <a:pt x="0" y="2549"/>
                    <a:pt x="0" y="2167"/>
                  </a:cubicBezTo>
                  <a:cubicBezTo>
                    <a:pt x="0" y="1574"/>
                    <a:pt x="176" y="1069"/>
                    <a:pt x="528" y="640"/>
                  </a:cubicBezTo>
                  <a:cubicBezTo>
                    <a:pt x="878" y="211"/>
                    <a:pt x="1304" y="0"/>
                    <a:pt x="1804" y="0"/>
                  </a:cubicBezTo>
                  <a:cubicBezTo>
                    <a:pt x="2296" y="0"/>
                    <a:pt x="2719" y="211"/>
                    <a:pt x="3069" y="640"/>
                  </a:cubicBezTo>
                  <a:cubicBezTo>
                    <a:pt x="3422" y="1069"/>
                    <a:pt x="3598" y="1571"/>
                    <a:pt x="3598" y="2167"/>
                  </a:cubicBezTo>
                  <a:moveTo>
                    <a:pt x="20838" y="2476"/>
                  </a:moveTo>
                  <a:cubicBezTo>
                    <a:pt x="21063" y="2323"/>
                    <a:pt x="21247" y="2297"/>
                    <a:pt x="21389" y="2391"/>
                  </a:cubicBezTo>
                  <a:cubicBezTo>
                    <a:pt x="21529" y="2485"/>
                    <a:pt x="21599" y="2684"/>
                    <a:pt x="21599" y="2996"/>
                  </a:cubicBezTo>
                  <a:lnTo>
                    <a:pt x="21599" y="13515"/>
                  </a:lnTo>
                  <a:cubicBezTo>
                    <a:pt x="21599" y="13803"/>
                    <a:pt x="21526" y="14106"/>
                    <a:pt x="21382" y="14420"/>
                  </a:cubicBezTo>
                  <a:cubicBezTo>
                    <a:pt x="21237" y="14737"/>
                    <a:pt x="21056" y="14966"/>
                    <a:pt x="20838" y="15119"/>
                  </a:cubicBezTo>
                  <a:cubicBezTo>
                    <a:pt x="19954" y="15757"/>
                    <a:pt x="19146" y="16165"/>
                    <a:pt x="18412" y="16350"/>
                  </a:cubicBezTo>
                  <a:cubicBezTo>
                    <a:pt x="17678" y="16529"/>
                    <a:pt x="17036" y="16606"/>
                    <a:pt x="16490" y="16567"/>
                  </a:cubicBezTo>
                  <a:cubicBezTo>
                    <a:pt x="15849" y="16526"/>
                    <a:pt x="15281" y="16371"/>
                    <a:pt x="14791" y="16103"/>
                  </a:cubicBezTo>
                  <a:cubicBezTo>
                    <a:pt x="14392" y="15851"/>
                    <a:pt x="14003" y="15607"/>
                    <a:pt x="13623" y="15378"/>
                  </a:cubicBezTo>
                  <a:cubicBezTo>
                    <a:pt x="13244" y="15146"/>
                    <a:pt x="12857" y="14946"/>
                    <a:pt x="12458" y="14773"/>
                  </a:cubicBezTo>
                  <a:cubicBezTo>
                    <a:pt x="12059" y="14599"/>
                    <a:pt x="11640" y="14461"/>
                    <a:pt x="11197" y="14358"/>
                  </a:cubicBezTo>
                  <a:cubicBezTo>
                    <a:pt x="10757" y="14256"/>
                    <a:pt x="10269" y="14203"/>
                    <a:pt x="9738" y="14203"/>
                  </a:cubicBezTo>
                  <a:cubicBezTo>
                    <a:pt x="9310" y="14220"/>
                    <a:pt x="8825" y="14306"/>
                    <a:pt x="8286" y="14455"/>
                  </a:cubicBezTo>
                  <a:cubicBezTo>
                    <a:pt x="7824" y="14588"/>
                    <a:pt x="7266" y="14799"/>
                    <a:pt x="6605" y="15090"/>
                  </a:cubicBezTo>
                  <a:cubicBezTo>
                    <a:pt x="5944" y="15381"/>
                    <a:pt x="5207" y="15792"/>
                    <a:pt x="4394" y="16327"/>
                  </a:cubicBezTo>
                  <a:cubicBezTo>
                    <a:pt x="4169" y="16476"/>
                    <a:pt x="3978" y="16494"/>
                    <a:pt x="3826" y="16382"/>
                  </a:cubicBezTo>
                  <a:cubicBezTo>
                    <a:pt x="3674" y="16268"/>
                    <a:pt x="3598" y="16059"/>
                    <a:pt x="3598" y="15751"/>
                  </a:cubicBezTo>
                  <a:lnTo>
                    <a:pt x="3598" y="5273"/>
                  </a:lnTo>
                  <a:cubicBezTo>
                    <a:pt x="3598" y="4964"/>
                    <a:pt x="3674" y="4653"/>
                    <a:pt x="3826" y="4347"/>
                  </a:cubicBezTo>
                  <a:cubicBezTo>
                    <a:pt x="3978" y="4036"/>
                    <a:pt x="4169" y="3807"/>
                    <a:pt x="4394" y="3654"/>
                  </a:cubicBezTo>
                  <a:cubicBezTo>
                    <a:pt x="5207" y="3143"/>
                    <a:pt x="5941" y="2737"/>
                    <a:pt x="6597" y="2447"/>
                  </a:cubicBezTo>
                  <a:cubicBezTo>
                    <a:pt x="7253" y="2156"/>
                    <a:pt x="7816" y="1944"/>
                    <a:pt x="8286" y="1812"/>
                  </a:cubicBezTo>
                  <a:cubicBezTo>
                    <a:pt x="8832" y="1665"/>
                    <a:pt x="9317" y="1580"/>
                    <a:pt x="9738" y="1559"/>
                  </a:cubicBezTo>
                  <a:cubicBezTo>
                    <a:pt x="10269" y="1559"/>
                    <a:pt x="10757" y="1612"/>
                    <a:pt x="11197" y="1715"/>
                  </a:cubicBezTo>
                  <a:cubicBezTo>
                    <a:pt x="11640" y="1818"/>
                    <a:pt x="12059" y="1956"/>
                    <a:pt x="12458" y="2135"/>
                  </a:cubicBezTo>
                  <a:cubicBezTo>
                    <a:pt x="12857" y="2306"/>
                    <a:pt x="13242" y="2508"/>
                    <a:pt x="13619" y="2737"/>
                  </a:cubicBezTo>
                  <a:cubicBezTo>
                    <a:pt x="13993" y="2967"/>
                    <a:pt x="14385" y="3207"/>
                    <a:pt x="14791" y="3463"/>
                  </a:cubicBezTo>
                  <a:cubicBezTo>
                    <a:pt x="15281" y="3736"/>
                    <a:pt x="15849" y="3889"/>
                    <a:pt x="16490" y="3924"/>
                  </a:cubicBezTo>
                  <a:cubicBezTo>
                    <a:pt x="17036" y="3965"/>
                    <a:pt x="17678" y="3889"/>
                    <a:pt x="18412" y="3707"/>
                  </a:cubicBezTo>
                  <a:cubicBezTo>
                    <a:pt x="19146" y="3522"/>
                    <a:pt x="19957" y="3113"/>
                    <a:pt x="20838" y="2476"/>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grpSp>
      <p:sp>
        <p:nvSpPr>
          <p:cNvPr id="19" name="Segnaposto testo 4">
            <a:extLst>
              <a:ext uri="{FF2B5EF4-FFF2-40B4-BE49-F238E27FC236}">
                <a16:creationId xmlns:a16="http://schemas.microsoft.com/office/drawing/2014/main" id="{E465D1B8-1963-3F98-61E5-997455213381}"/>
              </a:ext>
            </a:extLst>
          </p:cNvPr>
          <p:cNvSpPr>
            <a:spLocks noGrp="1"/>
          </p:cNvSpPr>
          <p:nvPr>
            <p:ph type="body" sz="quarter" idx="33" hasCustomPrompt="1"/>
          </p:nvPr>
        </p:nvSpPr>
        <p:spPr>
          <a:xfrm rot="18072582">
            <a:off x="1272142" y="3084239"/>
            <a:ext cx="2498756"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TEXT</a:t>
            </a:r>
          </a:p>
        </p:txBody>
      </p:sp>
      <p:sp>
        <p:nvSpPr>
          <p:cNvPr id="20" name="Segnaposto testo 4">
            <a:extLst>
              <a:ext uri="{FF2B5EF4-FFF2-40B4-BE49-F238E27FC236}">
                <a16:creationId xmlns:a16="http://schemas.microsoft.com/office/drawing/2014/main" id="{C67DFA6B-B898-7284-8CC4-638FDAB64DE7}"/>
              </a:ext>
            </a:extLst>
          </p:cNvPr>
          <p:cNvSpPr>
            <a:spLocks noGrp="1"/>
          </p:cNvSpPr>
          <p:nvPr>
            <p:ph type="body" sz="quarter" idx="34" hasCustomPrompt="1"/>
          </p:nvPr>
        </p:nvSpPr>
        <p:spPr>
          <a:xfrm rot="18072582">
            <a:off x="3596540" y="1418671"/>
            <a:ext cx="2498756"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TEXT</a:t>
            </a:r>
          </a:p>
        </p:txBody>
      </p:sp>
      <p:sp>
        <p:nvSpPr>
          <p:cNvPr id="21" name="Segnaposto testo 4">
            <a:extLst>
              <a:ext uri="{FF2B5EF4-FFF2-40B4-BE49-F238E27FC236}">
                <a16:creationId xmlns:a16="http://schemas.microsoft.com/office/drawing/2014/main" id="{BA57C3A5-F277-06FB-716E-B21F78E36CC5}"/>
              </a:ext>
            </a:extLst>
          </p:cNvPr>
          <p:cNvSpPr>
            <a:spLocks noGrp="1"/>
          </p:cNvSpPr>
          <p:nvPr>
            <p:ph type="body" sz="quarter" idx="35" hasCustomPrompt="1"/>
          </p:nvPr>
        </p:nvSpPr>
        <p:spPr>
          <a:xfrm rot="18072582">
            <a:off x="6338015" y="2098620"/>
            <a:ext cx="2498756"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TEXT</a:t>
            </a:r>
          </a:p>
        </p:txBody>
      </p:sp>
      <p:sp>
        <p:nvSpPr>
          <p:cNvPr id="22" name="Segnaposto testo 4">
            <a:extLst>
              <a:ext uri="{FF2B5EF4-FFF2-40B4-BE49-F238E27FC236}">
                <a16:creationId xmlns:a16="http://schemas.microsoft.com/office/drawing/2014/main" id="{E05EEE33-3CF5-BEF9-BEFE-89C1CACAC2CD}"/>
              </a:ext>
            </a:extLst>
          </p:cNvPr>
          <p:cNvSpPr>
            <a:spLocks noGrp="1"/>
          </p:cNvSpPr>
          <p:nvPr>
            <p:ph type="body" sz="quarter" idx="15" hasCustomPrompt="1"/>
          </p:nvPr>
        </p:nvSpPr>
        <p:spPr>
          <a:xfrm>
            <a:off x="1545513" y="4829175"/>
            <a:ext cx="2883612" cy="432523"/>
          </a:xfrm>
        </p:spPr>
        <p:txBody>
          <a:bodyPr numCol="1" spcCol="360000">
            <a:normAutofit/>
          </a:bodyPr>
          <a:lstStyle>
            <a:lvl1pPr marL="171450" indent="-171450" algn="just">
              <a:lnSpc>
                <a:spcPct val="100000"/>
              </a:lnSpc>
              <a:buClr>
                <a:schemeClr val="accent1"/>
              </a:buClr>
              <a:buSzPct val="300000"/>
              <a:buFont typeface="Wingdings" pitchFamily="2" charset="2"/>
              <a:buChar char="ü"/>
              <a:defRPr sz="1200" b="1" i="0">
                <a:latin typeface="Arial" panose="020B0604020202020204" pitchFamily="34" charset="0"/>
                <a:cs typeface="Arial" panose="020B0604020202020204" pitchFamily="34" charset="0"/>
              </a:defRPr>
            </a:lvl1pPr>
          </a:lstStyle>
          <a:p>
            <a:pPr lvl="0"/>
            <a:r>
              <a:rPr lang="en-US" noProof="0"/>
              <a:t>Your text here</a:t>
            </a:r>
          </a:p>
          <a:p>
            <a:pPr lvl="0"/>
            <a:r>
              <a:rPr lang="en-US" noProof="0"/>
              <a:t>Your text here</a:t>
            </a:r>
          </a:p>
          <a:p>
            <a:pPr lvl="0"/>
            <a:r>
              <a:rPr lang="en-US" noProof="0"/>
              <a:t>Your text here</a:t>
            </a:r>
          </a:p>
          <a:p>
            <a:pPr lvl="0"/>
            <a:r>
              <a:rPr lang="en-US" noProof="0"/>
              <a:t>Your text here</a:t>
            </a:r>
          </a:p>
        </p:txBody>
      </p:sp>
      <p:sp>
        <p:nvSpPr>
          <p:cNvPr id="23" name="Segnaposto testo 4">
            <a:extLst>
              <a:ext uri="{FF2B5EF4-FFF2-40B4-BE49-F238E27FC236}">
                <a16:creationId xmlns:a16="http://schemas.microsoft.com/office/drawing/2014/main" id="{B54BBEE0-AA18-0F78-3685-980D98ACA5BE}"/>
              </a:ext>
            </a:extLst>
          </p:cNvPr>
          <p:cNvSpPr>
            <a:spLocks noGrp="1"/>
          </p:cNvSpPr>
          <p:nvPr>
            <p:ph type="body" sz="quarter" idx="36" hasCustomPrompt="1"/>
          </p:nvPr>
        </p:nvSpPr>
        <p:spPr>
          <a:xfrm>
            <a:off x="4654194" y="4829173"/>
            <a:ext cx="2883612" cy="432523"/>
          </a:xfrm>
        </p:spPr>
        <p:txBody>
          <a:bodyPr numCol="1" spcCol="360000">
            <a:normAutofit/>
          </a:bodyPr>
          <a:lstStyle>
            <a:lvl1pPr marL="171450" indent="-171450" algn="just">
              <a:lnSpc>
                <a:spcPct val="100000"/>
              </a:lnSpc>
              <a:buClr>
                <a:schemeClr val="accent1"/>
              </a:buClr>
              <a:buSzPct val="300000"/>
              <a:buFont typeface="Wingdings" pitchFamily="2" charset="2"/>
              <a:buChar char="ü"/>
              <a:defRPr sz="1200" b="1" i="0">
                <a:latin typeface="Arial" panose="020B0604020202020204" pitchFamily="34" charset="0"/>
                <a:cs typeface="Arial" panose="020B0604020202020204" pitchFamily="34" charset="0"/>
              </a:defRPr>
            </a:lvl1pPr>
          </a:lstStyle>
          <a:p>
            <a:pPr lvl="0"/>
            <a:r>
              <a:rPr lang="en-US" noProof="0"/>
              <a:t>Your text here</a:t>
            </a:r>
          </a:p>
          <a:p>
            <a:pPr lvl="0"/>
            <a:r>
              <a:rPr lang="en-US" noProof="0"/>
              <a:t>Your text here</a:t>
            </a:r>
          </a:p>
          <a:p>
            <a:pPr lvl="0"/>
            <a:r>
              <a:rPr lang="en-US" noProof="0"/>
              <a:t>Your text here</a:t>
            </a:r>
          </a:p>
          <a:p>
            <a:pPr lvl="0"/>
            <a:r>
              <a:rPr lang="en-US" noProof="0"/>
              <a:t>Your text here</a:t>
            </a:r>
          </a:p>
        </p:txBody>
      </p:sp>
      <p:sp>
        <p:nvSpPr>
          <p:cNvPr id="24" name="Segnaposto testo 4">
            <a:extLst>
              <a:ext uri="{FF2B5EF4-FFF2-40B4-BE49-F238E27FC236}">
                <a16:creationId xmlns:a16="http://schemas.microsoft.com/office/drawing/2014/main" id="{1F629CAF-AF7A-1B65-CCBB-B72113376EEA}"/>
              </a:ext>
            </a:extLst>
          </p:cNvPr>
          <p:cNvSpPr>
            <a:spLocks noGrp="1"/>
          </p:cNvSpPr>
          <p:nvPr>
            <p:ph type="body" sz="quarter" idx="37" hasCustomPrompt="1"/>
          </p:nvPr>
        </p:nvSpPr>
        <p:spPr>
          <a:xfrm>
            <a:off x="7822392" y="4829173"/>
            <a:ext cx="2883612" cy="432523"/>
          </a:xfrm>
        </p:spPr>
        <p:txBody>
          <a:bodyPr numCol="1" spcCol="360000">
            <a:normAutofit/>
          </a:bodyPr>
          <a:lstStyle>
            <a:lvl1pPr marL="171450" indent="-171450" algn="just">
              <a:lnSpc>
                <a:spcPct val="100000"/>
              </a:lnSpc>
              <a:buClr>
                <a:schemeClr val="accent1"/>
              </a:buClr>
              <a:buSzPct val="300000"/>
              <a:buFont typeface="Wingdings" pitchFamily="2" charset="2"/>
              <a:buChar char="ü"/>
              <a:defRPr sz="1200" b="1" i="0">
                <a:latin typeface="Arial" panose="020B0604020202020204" pitchFamily="34" charset="0"/>
                <a:cs typeface="Arial" panose="020B0604020202020204" pitchFamily="34" charset="0"/>
              </a:defRPr>
            </a:lvl1pPr>
          </a:lstStyle>
          <a:p>
            <a:pPr lvl="0"/>
            <a:r>
              <a:rPr lang="en-US" noProof="0"/>
              <a:t>Your text here</a:t>
            </a:r>
          </a:p>
          <a:p>
            <a:pPr lvl="0"/>
            <a:r>
              <a:rPr lang="en-US" noProof="0"/>
              <a:t>Your text here</a:t>
            </a:r>
          </a:p>
          <a:p>
            <a:pPr lvl="0"/>
            <a:r>
              <a:rPr lang="en-US" noProof="0"/>
              <a:t>Your text here</a:t>
            </a:r>
          </a:p>
          <a:p>
            <a:pPr lvl="0"/>
            <a:r>
              <a:rPr lang="en-US" noProof="0"/>
              <a:t>Your text here</a:t>
            </a:r>
          </a:p>
        </p:txBody>
      </p:sp>
    </p:spTree>
    <p:extLst>
      <p:ext uri="{BB962C8B-B14F-4D97-AF65-F5344CB8AC3E}">
        <p14:creationId xmlns:p14="http://schemas.microsoft.com/office/powerpoint/2010/main" val="41978281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ext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numCol="1" rtlCol="0" anchor="b"/>
          <a:lstStyle>
            <a:lvl1pPr algn="r">
              <a:lnSpc>
                <a:spcPct val="100000"/>
              </a:lnSpc>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numCol="1" rtlCol="0" anchor="ctr"/>
          <a:lstStyle>
            <a:lvl1pPr algn="r">
              <a:lnSpc>
                <a:spcPct val="100000"/>
              </a:lnSpc>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p:txBody>
          <a:bodyPr numCol="1"/>
          <a:lstStyle>
            <a:lvl1pPr>
              <a:lnSpc>
                <a:spcPct val="100000"/>
              </a:lnSpc>
              <a:defRPr/>
            </a:lvl1pPr>
          </a:lstStyle>
          <a:p>
            <a:r>
              <a:rPr lang="nl-NL"/>
              <a:t>CLICK TO EDIT </a:t>
            </a:r>
            <a:endParaRPr lang="en-GB"/>
          </a:p>
        </p:txBody>
      </p:sp>
      <p:grpSp>
        <p:nvGrpSpPr>
          <p:cNvPr id="48" name="Groep 47">
            <a:extLst>
              <a:ext uri="{FF2B5EF4-FFF2-40B4-BE49-F238E27FC236}">
                <a16:creationId xmlns:a16="http://schemas.microsoft.com/office/drawing/2014/main" id="{8366ED8E-E1E4-2598-D341-737759D773EF}"/>
              </a:ext>
            </a:extLst>
          </p:cNvPr>
          <p:cNvGrpSpPr/>
          <p:nvPr userDrawn="1"/>
        </p:nvGrpSpPr>
        <p:grpSpPr>
          <a:xfrm>
            <a:off x="1697751" y="2191545"/>
            <a:ext cx="9925156" cy="3474266"/>
            <a:chOff x="1697751" y="2191545"/>
            <a:chExt cx="9925156" cy="3474266"/>
          </a:xfrm>
        </p:grpSpPr>
        <p:sp>
          <p:nvSpPr>
            <p:cNvPr id="5" name="Round Diagonal Corner Rectangle 1">
              <a:extLst>
                <a:ext uri="{FF2B5EF4-FFF2-40B4-BE49-F238E27FC236}">
                  <a16:creationId xmlns:a16="http://schemas.microsoft.com/office/drawing/2014/main" id="{8259E02A-3124-176A-CCF8-6B0133EF6962}"/>
                </a:ext>
              </a:extLst>
            </p:cNvPr>
            <p:cNvSpPr/>
            <p:nvPr userDrawn="1"/>
          </p:nvSpPr>
          <p:spPr>
            <a:xfrm>
              <a:off x="3791949" y="2191545"/>
              <a:ext cx="2224563" cy="3474266"/>
            </a:xfrm>
            <a:prstGeom prst="round2DiagRect">
              <a:avLst>
                <a:gd name="adj1" fmla="val 35735"/>
                <a:gd name="adj2" fmla="val 0"/>
              </a:avLst>
            </a:prstGeom>
            <a:solidFill>
              <a:schemeClr val="accent3"/>
            </a:solidFill>
            <a:ln>
              <a:noFill/>
            </a:ln>
            <a:effectLst>
              <a:reflection stA="22000" endPos="15000" dist="381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7" name="Round Diagonal Corner Rectangle 2">
              <a:extLst>
                <a:ext uri="{FF2B5EF4-FFF2-40B4-BE49-F238E27FC236}">
                  <a16:creationId xmlns:a16="http://schemas.microsoft.com/office/drawing/2014/main" id="{7A9E5750-E424-4256-7526-3A5553C820B1}"/>
                </a:ext>
              </a:extLst>
            </p:cNvPr>
            <p:cNvSpPr/>
            <p:nvPr userDrawn="1"/>
          </p:nvSpPr>
          <p:spPr>
            <a:xfrm>
              <a:off x="6561168" y="2191545"/>
              <a:ext cx="2224563" cy="3474266"/>
            </a:xfrm>
            <a:prstGeom prst="round2DiagRect">
              <a:avLst>
                <a:gd name="adj1" fmla="val 35735"/>
                <a:gd name="adj2" fmla="val 0"/>
              </a:avLst>
            </a:prstGeom>
            <a:solidFill>
              <a:schemeClr val="accent1"/>
            </a:solidFill>
            <a:ln>
              <a:noFill/>
            </a:ln>
            <a:effectLst>
              <a:reflection stA="22000" endPos="15000" dist="381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8" name="Round Diagonal Corner Rectangle 4">
              <a:extLst>
                <a:ext uri="{FF2B5EF4-FFF2-40B4-BE49-F238E27FC236}">
                  <a16:creationId xmlns:a16="http://schemas.microsoft.com/office/drawing/2014/main" id="{38B9A7E4-7080-C917-DC83-DC4C4F8199AB}"/>
                </a:ext>
              </a:extLst>
            </p:cNvPr>
            <p:cNvSpPr/>
            <p:nvPr userDrawn="1"/>
          </p:nvSpPr>
          <p:spPr>
            <a:xfrm>
              <a:off x="9398344" y="2191545"/>
              <a:ext cx="2224563" cy="3474266"/>
            </a:xfrm>
            <a:prstGeom prst="round2DiagRect">
              <a:avLst>
                <a:gd name="adj1" fmla="val 35735"/>
                <a:gd name="adj2" fmla="val 0"/>
              </a:avLst>
            </a:prstGeom>
            <a:solidFill>
              <a:schemeClr val="accent2"/>
            </a:solidFill>
            <a:ln>
              <a:noFill/>
            </a:ln>
            <a:effectLst>
              <a:reflection stA="22000" endPos="15000" dist="381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16" name="AutoShape 118">
              <a:extLst>
                <a:ext uri="{FF2B5EF4-FFF2-40B4-BE49-F238E27FC236}">
                  <a16:creationId xmlns:a16="http://schemas.microsoft.com/office/drawing/2014/main" id="{C73ECD85-1027-06F2-3815-75DDB0D97453}"/>
                </a:ext>
              </a:extLst>
            </p:cNvPr>
            <p:cNvSpPr>
              <a:spLocks/>
            </p:cNvSpPr>
            <p:nvPr userDrawn="1"/>
          </p:nvSpPr>
          <p:spPr bwMode="auto">
            <a:xfrm>
              <a:off x="10338082" y="2514917"/>
              <a:ext cx="474144" cy="407417"/>
            </a:xfrm>
            <a:custGeom>
              <a:avLst/>
              <a:gdLst>
                <a:gd name="T0" fmla="*/ 10782 w 21564"/>
                <a:gd name="T1" fmla="*/ 10800 h 21600"/>
                <a:gd name="T2" fmla="*/ 10782 w 21564"/>
                <a:gd name="T3" fmla="*/ 10800 h 21600"/>
                <a:gd name="T4" fmla="*/ 10782 w 21564"/>
                <a:gd name="T5" fmla="*/ 10800 h 21600"/>
                <a:gd name="T6" fmla="*/ 10782 w 21564"/>
                <a:gd name="T7" fmla="*/ 10800 h 21600"/>
              </a:gdLst>
              <a:ahLst/>
              <a:cxnLst>
                <a:cxn ang="0">
                  <a:pos x="T0" y="T1"/>
                </a:cxn>
                <a:cxn ang="0">
                  <a:pos x="T2" y="T3"/>
                </a:cxn>
                <a:cxn ang="0">
                  <a:pos x="T4" y="T5"/>
                </a:cxn>
                <a:cxn ang="0">
                  <a:pos x="T6" y="T7"/>
                </a:cxn>
              </a:cxnLst>
              <a:rect l="0" t="0" r="r" b="b"/>
              <a:pathLst>
                <a:path w="21564" h="21600">
                  <a:moveTo>
                    <a:pt x="20680" y="3130"/>
                  </a:moveTo>
                  <a:cubicBezTo>
                    <a:pt x="20952" y="3130"/>
                    <a:pt x="21179" y="3257"/>
                    <a:pt x="21357" y="3515"/>
                  </a:cubicBezTo>
                  <a:cubicBezTo>
                    <a:pt x="21536" y="3767"/>
                    <a:pt x="21600" y="4044"/>
                    <a:pt x="21543" y="4340"/>
                  </a:cubicBezTo>
                  <a:lnTo>
                    <a:pt x="20279" y="12471"/>
                  </a:lnTo>
                  <a:cubicBezTo>
                    <a:pt x="20230" y="12706"/>
                    <a:pt x="20128" y="12899"/>
                    <a:pt x="19969" y="13061"/>
                  </a:cubicBezTo>
                  <a:cubicBezTo>
                    <a:pt x="19810" y="13222"/>
                    <a:pt x="19614" y="13296"/>
                    <a:pt x="19389" y="13296"/>
                  </a:cubicBezTo>
                  <a:lnTo>
                    <a:pt x="6706" y="13296"/>
                  </a:lnTo>
                  <a:lnTo>
                    <a:pt x="7114" y="15660"/>
                  </a:lnTo>
                  <a:cubicBezTo>
                    <a:pt x="7146" y="15810"/>
                    <a:pt x="7214" y="15936"/>
                    <a:pt x="7319" y="16033"/>
                  </a:cubicBezTo>
                  <a:cubicBezTo>
                    <a:pt x="7424" y="16130"/>
                    <a:pt x="7539" y="16183"/>
                    <a:pt x="7666" y="16183"/>
                  </a:cubicBezTo>
                  <a:lnTo>
                    <a:pt x="17685" y="16183"/>
                  </a:lnTo>
                  <a:cubicBezTo>
                    <a:pt x="17810" y="16183"/>
                    <a:pt x="17918" y="16236"/>
                    <a:pt x="18008" y="16345"/>
                  </a:cubicBezTo>
                  <a:cubicBezTo>
                    <a:pt x="18096" y="16453"/>
                    <a:pt x="18143" y="16580"/>
                    <a:pt x="18143" y="16735"/>
                  </a:cubicBezTo>
                  <a:lnTo>
                    <a:pt x="18143" y="17831"/>
                  </a:lnTo>
                  <a:cubicBezTo>
                    <a:pt x="18143" y="17981"/>
                    <a:pt x="18099" y="18107"/>
                    <a:pt x="18013" y="18204"/>
                  </a:cubicBezTo>
                  <a:cubicBezTo>
                    <a:pt x="17927" y="18301"/>
                    <a:pt x="17817" y="18348"/>
                    <a:pt x="17685" y="18348"/>
                  </a:cubicBezTo>
                  <a:lnTo>
                    <a:pt x="15776" y="18348"/>
                  </a:lnTo>
                  <a:lnTo>
                    <a:pt x="8146" y="18348"/>
                  </a:lnTo>
                  <a:lnTo>
                    <a:pt x="6928" y="18348"/>
                  </a:lnTo>
                  <a:cubicBezTo>
                    <a:pt x="6801" y="18348"/>
                    <a:pt x="6662" y="18336"/>
                    <a:pt x="6500" y="18301"/>
                  </a:cubicBezTo>
                  <a:cubicBezTo>
                    <a:pt x="6339" y="18266"/>
                    <a:pt x="6202" y="18222"/>
                    <a:pt x="6085" y="18169"/>
                  </a:cubicBezTo>
                  <a:cubicBezTo>
                    <a:pt x="6036" y="18145"/>
                    <a:pt x="5982" y="18090"/>
                    <a:pt x="5921" y="17987"/>
                  </a:cubicBezTo>
                  <a:cubicBezTo>
                    <a:pt x="5860" y="17884"/>
                    <a:pt x="5799" y="17769"/>
                    <a:pt x="5740" y="17643"/>
                  </a:cubicBezTo>
                  <a:cubicBezTo>
                    <a:pt x="5684" y="17517"/>
                    <a:pt x="5632" y="17391"/>
                    <a:pt x="5593" y="17258"/>
                  </a:cubicBezTo>
                  <a:cubicBezTo>
                    <a:pt x="5552" y="17132"/>
                    <a:pt x="5527" y="17035"/>
                    <a:pt x="5513" y="16959"/>
                  </a:cubicBezTo>
                  <a:lnTo>
                    <a:pt x="2997" y="2669"/>
                  </a:lnTo>
                  <a:cubicBezTo>
                    <a:pt x="2965" y="2519"/>
                    <a:pt x="2897" y="2399"/>
                    <a:pt x="2791" y="2308"/>
                  </a:cubicBezTo>
                  <a:cubicBezTo>
                    <a:pt x="2686" y="2211"/>
                    <a:pt x="2569" y="2164"/>
                    <a:pt x="2444" y="2164"/>
                  </a:cubicBezTo>
                  <a:lnTo>
                    <a:pt x="457" y="2164"/>
                  </a:lnTo>
                  <a:cubicBezTo>
                    <a:pt x="151" y="2164"/>
                    <a:pt x="0" y="1982"/>
                    <a:pt x="0" y="1618"/>
                  </a:cubicBezTo>
                  <a:lnTo>
                    <a:pt x="0" y="546"/>
                  </a:lnTo>
                  <a:cubicBezTo>
                    <a:pt x="0" y="185"/>
                    <a:pt x="151" y="0"/>
                    <a:pt x="457" y="0"/>
                  </a:cubicBezTo>
                  <a:lnTo>
                    <a:pt x="3158" y="0"/>
                  </a:lnTo>
                  <a:cubicBezTo>
                    <a:pt x="3285" y="0"/>
                    <a:pt x="3432" y="17"/>
                    <a:pt x="3606" y="58"/>
                  </a:cubicBezTo>
                  <a:cubicBezTo>
                    <a:pt x="3774" y="94"/>
                    <a:pt x="3916" y="132"/>
                    <a:pt x="4026" y="167"/>
                  </a:cubicBezTo>
                  <a:cubicBezTo>
                    <a:pt x="4075" y="208"/>
                    <a:pt x="4129" y="276"/>
                    <a:pt x="4192" y="373"/>
                  </a:cubicBezTo>
                  <a:cubicBezTo>
                    <a:pt x="4261" y="470"/>
                    <a:pt x="4322" y="584"/>
                    <a:pt x="4376" y="704"/>
                  </a:cubicBezTo>
                  <a:cubicBezTo>
                    <a:pt x="4429" y="825"/>
                    <a:pt x="4478" y="951"/>
                    <a:pt x="4518" y="1072"/>
                  </a:cubicBezTo>
                  <a:cubicBezTo>
                    <a:pt x="4557" y="1198"/>
                    <a:pt x="4584" y="1301"/>
                    <a:pt x="4598" y="1377"/>
                  </a:cubicBezTo>
                  <a:lnTo>
                    <a:pt x="4916" y="3134"/>
                  </a:lnTo>
                  <a:lnTo>
                    <a:pt x="20680" y="3134"/>
                  </a:lnTo>
                  <a:close/>
                  <a:moveTo>
                    <a:pt x="6811" y="19981"/>
                  </a:moveTo>
                  <a:cubicBezTo>
                    <a:pt x="6811" y="19540"/>
                    <a:pt x="6940" y="19156"/>
                    <a:pt x="7202" y="18833"/>
                  </a:cubicBezTo>
                  <a:cubicBezTo>
                    <a:pt x="7461" y="18512"/>
                    <a:pt x="7776" y="18345"/>
                    <a:pt x="8146" y="18345"/>
                  </a:cubicBezTo>
                  <a:cubicBezTo>
                    <a:pt x="8527" y="18345"/>
                    <a:pt x="8850" y="18512"/>
                    <a:pt x="9114" y="18833"/>
                  </a:cubicBezTo>
                  <a:cubicBezTo>
                    <a:pt x="9380" y="19153"/>
                    <a:pt x="9512" y="19538"/>
                    <a:pt x="9512" y="19981"/>
                  </a:cubicBezTo>
                  <a:cubicBezTo>
                    <a:pt x="9512" y="20425"/>
                    <a:pt x="9380" y="20800"/>
                    <a:pt x="9114" y="21118"/>
                  </a:cubicBezTo>
                  <a:cubicBezTo>
                    <a:pt x="8850" y="21438"/>
                    <a:pt x="8527" y="21599"/>
                    <a:pt x="8146" y="21599"/>
                  </a:cubicBezTo>
                  <a:cubicBezTo>
                    <a:pt x="7779" y="21599"/>
                    <a:pt x="7464" y="21438"/>
                    <a:pt x="7202" y="21118"/>
                  </a:cubicBezTo>
                  <a:cubicBezTo>
                    <a:pt x="6940" y="20800"/>
                    <a:pt x="6811" y="20421"/>
                    <a:pt x="6811" y="19981"/>
                  </a:cubicBezTo>
                  <a:moveTo>
                    <a:pt x="14431" y="19981"/>
                  </a:moveTo>
                  <a:cubicBezTo>
                    <a:pt x="14431" y="19540"/>
                    <a:pt x="14563" y="19156"/>
                    <a:pt x="14822" y="18833"/>
                  </a:cubicBezTo>
                  <a:cubicBezTo>
                    <a:pt x="15084" y="18512"/>
                    <a:pt x="15399" y="18345"/>
                    <a:pt x="15778" y="18345"/>
                  </a:cubicBezTo>
                  <a:cubicBezTo>
                    <a:pt x="16143" y="18345"/>
                    <a:pt x="16458" y="18512"/>
                    <a:pt x="16720" y="18833"/>
                  </a:cubicBezTo>
                  <a:cubicBezTo>
                    <a:pt x="16981" y="19153"/>
                    <a:pt x="17113" y="19538"/>
                    <a:pt x="17113" y="19981"/>
                  </a:cubicBezTo>
                  <a:cubicBezTo>
                    <a:pt x="17113" y="20425"/>
                    <a:pt x="16981" y="20800"/>
                    <a:pt x="16720" y="21118"/>
                  </a:cubicBezTo>
                  <a:cubicBezTo>
                    <a:pt x="16460" y="21438"/>
                    <a:pt x="16145" y="21599"/>
                    <a:pt x="15778" y="21599"/>
                  </a:cubicBezTo>
                  <a:cubicBezTo>
                    <a:pt x="15412" y="21599"/>
                    <a:pt x="15094" y="21438"/>
                    <a:pt x="14830" y="21118"/>
                  </a:cubicBezTo>
                  <a:cubicBezTo>
                    <a:pt x="14563" y="20800"/>
                    <a:pt x="14431" y="20421"/>
                    <a:pt x="14431" y="19981"/>
                  </a:cubicBezTo>
                </a:path>
              </a:pathLst>
            </a:custGeom>
            <a:solidFill>
              <a:schemeClr val="tx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grpSp>
          <p:nvGrpSpPr>
            <p:cNvPr id="17" name="Group 18">
              <a:extLst>
                <a:ext uri="{FF2B5EF4-FFF2-40B4-BE49-F238E27FC236}">
                  <a16:creationId xmlns:a16="http://schemas.microsoft.com/office/drawing/2014/main" id="{1B8C3C7E-DD6B-E4E7-93CE-EA756B7E4CF6}"/>
                </a:ext>
              </a:extLst>
            </p:cNvPr>
            <p:cNvGrpSpPr/>
            <p:nvPr userDrawn="1"/>
          </p:nvGrpSpPr>
          <p:grpSpPr>
            <a:xfrm>
              <a:off x="4575883" y="2527069"/>
              <a:ext cx="656695" cy="440929"/>
              <a:chOff x="5621267" y="384356"/>
              <a:chExt cx="1497013" cy="1004888"/>
            </a:xfrm>
            <a:solidFill>
              <a:schemeClr val="tx1"/>
            </a:solidFill>
          </p:grpSpPr>
          <p:sp>
            <p:nvSpPr>
              <p:cNvPr id="18" name="Freeform 21">
                <a:extLst>
                  <a:ext uri="{FF2B5EF4-FFF2-40B4-BE49-F238E27FC236}">
                    <a16:creationId xmlns:a16="http://schemas.microsoft.com/office/drawing/2014/main" id="{12AFC562-B7F1-0CDB-5C57-A68BF481FC32}"/>
                  </a:ext>
                </a:extLst>
              </p:cNvPr>
              <p:cNvSpPr>
                <a:spLocks noEditPoints="1"/>
              </p:cNvSpPr>
              <p:nvPr/>
            </p:nvSpPr>
            <p:spPr bwMode="auto">
              <a:xfrm>
                <a:off x="6510267" y="384356"/>
                <a:ext cx="608013" cy="611188"/>
              </a:xfrm>
              <a:custGeom>
                <a:avLst/>
                <a:gdLst>
                  <a:gd name="T0" fmla="*/ 78 w 161"/>
                  <a:gd name="T1" fmla="*/ 17 h 161"/>
                  <a:gd name="T2" fmla="*/ 101 w 161"/>
                  <a:gd name="T3" fmla="*/ 28 h 161"/>
                  <a:gd name="T4" fmla="*/ 108 w 161"/>
                  <a:gd name="T5" fmla="*/ 20 h 161"/>
                  <a:gd name="T6" fmla="*/ 122 w 161"/>
                  <a:gd name="T7" fmla="*/ 27 h 161"/>
                  <a:gd name="T8" fmla="*/ 120 w 161"/>
                  <a:gd name="T9" fmla="*/ 40 h 161"/>
                  <a:gd name="T10" fmla="*/ 139 w 161"/>
                  <a:gd name="T11" fmla="*/ 56 h 161"/>
                  <a:gd name="T12" fmla="*/ 148 w 161"/>
                  <a:gd name="T13" fmla="*/ 72 h 161"/>
                  <a:gd name="T14" fmla="*/ 137 w 161"/>
                  <a:gd name="T15" fmla="*/ 80 h 161"/>
                  <a:gd name="T16" fmla="*/ 139 w 161"/>
                  <a:gd name="T17" fmla="*/ 105 h 161"/>
                  <a:gd name="T18" fmla="*/ 135 w 161"/>
                  <a:gd name="T19" fmla="*/ 122 h 161"/>
                  <a:gd name="T20" fmla="*/ 127 w 161"/>
                  <a:gd name="T21" fmla="*/ 124 h 161"/>
                  <a:gd name="T22" fmla="*/ 103 w 161"/>
                  <a:gd name="T23" fmla="*/ 132 h 161"/>
                  <a:gd name="T24" fmla="*/ 100 w 161"/>
                  <a:gd name="T25" fmla="*/ 146 h 161"/>
                  <a:gd name="T26" fmla="*/ 83 w 161"/>
                  <a:gd name="T27" fmla="*/ 144 h 161"/>
                  <a:gd name="T28" fmla="*/ 60 w 161"/>
                  <a:gd name="T29" fmla="*/ 133 h 161"/>
                  <a:gd name="T30" fmla="*/ 53 w 161"/>
                  <a:gd name="T31" fmla="*/ 142 h 161"/>
                  <a:gd name="T32" fmla="*/ 39 w 161"/>
                  <a:gd name="T33" fmla="*/ 135 h 161"/>
                  <a:gd name="T34" fmla="*/ 41 w 161"/>
                  <a:gd name="T35" fmla="*/ 121 h 161"/>
                  <a:gd name="T36" fmla="*/ 22 w 161"/>
                  <a:gd name="T37" fmla="*/ 105 h 161"/>
                  <a:gd name="T38" fmla="*/ 13 w 161"/>
                  <a:gd name="T39" fmla="*/ 90 h 161"/>
                  <a:gd name="T40" fmla="*/ 24 w 161"/>
                  <a:gd name="T41" fmla="*/ 82 h 161"/>
                  <a:gd name="T42" fmla="*/ 22 w 161"/>
                  <a:gd name="T43" fmla="*/ 57 h 161"/>
                  <a:gd name="T44" fmla="*/ 26 w 161"/>
                  <a:gd name="T45" fmla="*/ 39 h 161"/>
                  <a:gd name="T46" fmla="*/ 34 w 161"/>
                  <a:gd name="T47" fmla="*/ 38 h 161"/>
                  <a:gd name="T48" fmla="*/ 57 w 161"/>
                  <a:gd name="T49" fmla="*/ 29 h 161"/>
                  <a:gd name="T50" fmla="*/ 60 w 161"/>
                  <a:gd name="T51" fmla="*/ 16 h 161"/>
                  <a:gd name="T52" fmla="*/ 69 w 161"/>
                  <a:gd name="T53" fmla="*/ 2 h 161"/>
                  <a:gd name="T54" fmla="*/ 45 w 161"/>
                  <a:gd name="T55" fmla="*/ 23 h 161"/>
                  <a:gd name="T56" fmla="*/ 27 w 161"/>
                  <a:gd name="T57" fmla="*/ 26 h 161"/>
                  <a:gd name="T58" fmla="*/ 11 w 161"/>
                  <a:gd name="T59" fmla="*/ 43 h 161"/>
                  <a:gd name="T60" fmla="*/ 14 w 161"/>
                  <a:gd name="T61" fmla="*/ 65 h 161"/>
                  <a:gd name="T62" fmla="*/ 2 w 161"/>
                  <a:gd name="T63" fmla="*/ 92 h 161"/>
                  <a:gd name="T64" fmla="*/ 23 w 161"/>
                  <a:gd name="T65" fmla="*/ 116 h 161"/>
                  <a:gd name="T66" fmla="*/ 25 w 161"/>
                  <a:gd name="T67" fmla="*/ 134 h 161"/>
                  <a:gd name="T68" fmla="*/ 42 w 161"/>
                  <a:gd name="T69" fmla="*/ 150 h 161"/>
                  <a:gd name="T70" fmla="*/ 65 w 161"/>
                  <a:gd name="T71" fmla="*/ 147 h 161"/>
                  <a:gd name="T72" fmla="*/ 92 w 161"/>
                  <a:gd name="T73" fmla="*/ 159 h 161"/>
                  <a:gd name="T74" fmla="*/ 116 w 161"/>
                  <a:gd name="T75" fmla="*/ 138 h 161"/>
                  <a:gd name="T76" fmla="*/ 133 w 161"/>
                  <a:gd name="T77" fmla="*/ 136 h 161"/>
                  <a:gd name="T78" fmla="*/ 150 w 161"/>
                  <a:gd name="T79" fmla="*/ 119 h 161"/>
                  <a:gd name="T80" fmla="*/ 146 w 161"/>
                  <a:gd name="T81" fmla="*/ 96 h 161"/>
                  <a:gd name="T82" fmla="*/ 159 w 161"/>
                  <a:gd name="T83" fmla="*/ 69 h 161"/>
                  <a:gd name="T84" fmla="*/ 138 w 161"/>
                  <a:gd name="T85" fmla="*/ 45 h 161"/>
                  <a:gd name="T86" fmla="*/ 135 w 161"/>
                  <a:gd name="T87" fmla="*/ 28 h 161"/>
                  <a:gd name="T88" fmla="*/ 118 w 161"/>
                  <a:gd name="T89" fmla="*/ 11 h 161"/>
                  <a:gd name="T90" fmla="*/ 96 w 161"/>
                  <a:gd name="T91" fmla="*/ 15 h 161"/>
                  <a:gd name="T92" fmla="*/ 69 w 161"/>
                  <a:gd name="T93" fmla="*/ 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1" h="161">
                    <a:moveTo>
                      <a:pt x="71" y="13"/>
                    </a:moveTo>
                    <a:cubicBezTo>
                      <a:pt x="74" y="12"/>
                      <a:pt x="77" y="14"/>
                      <a:pt x="78" y="17"/>
                    </a:cubicBezTo>
                    <a:cubicBezTo>
                      <a:pt x="80" y="24"/>
                      <a:pt x="80" y="24"/>
                      <a:pt x="80" y="24"/>
                    </a:cubicBezTo>
                    <a:cubicBezTo>
                      <a:pt x="87" y="24"/>
                      <a:pt x="94" y="25"/>
                      <a:pt x="101" y="28"/>
                    </a:cubicBezTo>
                    <a:cubicBezTo>
                      <a:pt x="104" y="22"/>
                      <a:pt x="104" y="22"/>
                      <a:pt x="104" y="22"/>
                    </a:cubicBezTo>
                    <a:cubicBezTo>
                      <a:pt x="105" y="21"/>
                      <a:pt x="107" y="20"/>
                      <a:pt x="108" y="20"/>
                    </a:cubicBezTo>
                    <a:cubicBezTo>
                      <a:pt x="109" y="19"/>
                      <a:pt x="111" y="20"/>
                      <a:pt x="112" y="20"/>
                    </a:cubicBezTo>
                    <a:cubicBezTo>
                      <a:pt x="122" y="27"/>
                      <a:pt x="122" y="27"/>
                      <a:pt x="122" y="27"/>
                    </a:cubicBezTo>
                    <a:cubicBezTo>
                      <a:pt x="124" y="28"/>
                      <a:pt x="125" y="32"/>
                      <a:pt x="123" y="34"/>
                    </a:cubicBezTo>
                    <a:cubicBezTo>
                      <a:pt x="120" y="40"/>
                      <a:pt x="120" y="40"/>
                      <a:pt x="120" y="40"/>
                    </a:cubicBezTo>
                    <a:cubicBezTo>
                      <a:pt x="125" y="45"/>
                      <a:pt x="129" y="51"/>
                      <a:pt x="132" y="58"/>
                    </a:cubicBezTo>
                    <a:cubicBezTo>
                      <a:pt x="139" y="56"/>
                      <a:pt x="139" y="56"/>
                      <a:pt x="139" y="56"/>
                    </a:cubicBezTo>
                    <a:cubicBezTo>
                      <a:pt x="142" y="56"/>
                      <a:pt x="145" y="58"/>
                      <a:pt x="145" y="61"/>
                    </a:cubicBezTo>
                    <a:cubicBezTo>
                      <a:pt x="148" y="72"/>
                      <a:pt x="148" y="72"/>
                      <a:pt x="148" y="72"/>
                    </a:cubicBezTo>
                    <a:cubicBezTo>
                      <a:pt x="149" y="75"/>
                      <a:pt x="147" y="78"/>
                      <a:pt x="144" y="78"/>
                    </a:cubicBezTo>
                    <a:cubicBezTo>
                      <a:pt x="137" y="80"/>
                      <a:pt x="137" y="80"/>
                      <a:pt x="137" y="80"/>
                    </a:cubicBezTo>
                    <a:cubicBezTo>
                      <a:pt x="137" y="87"/>
                      <a:pt x="136" y="94"/>
                      <a:pt x="133" y="101"/>
                    </a:cubicBezTo>
                    <a:cubicBezTo>
                      <a:pt x="139" y="105"/>
                      <a:pt x="139" y="105"/>
                      <a:pt x="139" y="105"/>
                    </a:cubicBezTo>
                    <a:cubicBezTo>
                      <a:pt x="142" y="106"/>
                      <a:pt x="142" y="110"/>
                      <a:pt x="141" y="113"/>
                    </a:cubicBezTo>
                    <a:cubicBezTo>
                      <a:pt x="135" y="122"/>
                      <a:pt x="135" y="122"/>
                      <a:pt x="135" y="122"/>
                    </a:cubicBezTo>
                    <a:cubicBezTo>
                      <a:pt x="134" y="123"/>
                      <a:pt x="132" y="124"/>
                      <a:pt x="131" y="125"/>
                    </a:cubicBezTo>
                    <a:cubicBezTo>
                      <a:pt x="130" y="125"/>
                      <a:pt x="128" y="125"/>
                      <a:pt x="127" y="124"/>
                    </a:cubicBezTo>
                    <a:cubicBezTo>
                      <a:pt x="121" y="120"/>
                      <a:pt x="121" y="120"/>
                      <a:pt x="121" y="120"/>
                    </a:cubicBezTo>
                    <a:cubicBezTo>
                      <a:pt x="116" y="125"/>
                      <a:pt x="110" y="129"/>
                      <a:pt x="103" y="132"/>
                    </a:cubicBezTo>
                    <a:cubicBezTo>
                      <a:pt x="105" y="139"/>
                      <a:pt x="105" y="139"/>
                      <a:pt x="105" y="139"/>
                    </a:cubicBezTo>
                    <a:cubicBezTo>
                      <a:pt x="105" y="142"/>
                      <a:pt x="104" y="145"/>
                      <a:pt x="100" y="146"/>
                    </a:cubicBezTo>
                    <a:cubicBezTo>
                      <a:pt x="89" y="148"/>
                      <a:pt x="89" y="148"/>
                      <a:pt x="89" y="148"/>
                    </a:cubicBezTo>
                    <a:cubicBezTo>
                      <a:pt x="86" y="149"/>
                      <a:pt x="83" y="147"/>
                      <a:pt x="83" y="144"/>
                    </a:cubicBezTo>
                    <a:cubicBezTo>
                      <a:pt x="81" y="137"/>
                      <a:pt x="81" y="137"/>
                      <a:pt x="81" y="137"/>
                    </a:cubicBezTo>
                    <a:cubicBezTo>
                      <a:pt x="74" y="137"/>
                      <a:pt x="67" y="136"/>
                      <a:pt x="60" y="133"/>
                    </a:cubicBezTo>
                    <a:cubicBezTo>
                      <a:pt x="56" y="139"/>
                      <a:pt x="56" y="139"/>
                      <a:pt x="56" y="139"/>
                    </a:cubicBezTo>
                    <a:cubicBezTo>
                      <a:pt x="56" y="141"/>
                      <a:pt x="54" y="141"/>
                      <a:pt x="53" y="142"/>
                    </a:cubicBezTo>
                    <a:cubicBezTo>
                      <a:pt x="51" y="142"/>
                      <a:pt x="50" y="142"/>
                      <a:pt x="49" y="141"/>
                    </a:cubicBezTo>
                    <a:cubicBezTo>
                      <a:pt x="39" y="135"/>
                      <a:pt x="39" y="135"/>
                      <a:pt x="39" y="135"/>
                    </a:cubicBezTo>
                    <a:cubicBezTo>
                      <a:pt x="36" y="133"/>
                      <a:pt x="36" y="130"/>
                      <a:pt x="37" y="127"/>
                    </a:cubicBezTo>
                    <a:cubicBezTo>
                      <a:pt x="41" y="121"/>
                      <a:pt x="41" y="121"/>
                      <a:pt x="41" y="121"/>
                    </a:cubicBezTo>
                    <a:cubicBezTo>
                      <a:pt x="36" y="116"/>
                      <a:pt x="32" y="110"/>
                      <a:pt x="29" y="104"/>
                    </a:cubicBezTo>
                    <a:cubicBezTo>
                      <a:pt x="22" y="105"/>
                      <a:pt x="22" y="105"/>
                      <a:pt x="22" y="105"/>
                    </a:cubicBezTo>
                    <a:cubicBezTo>
                      <a:pt x="19" y="106"/>
                      <a:pt x="16" y="104"/>
                      <a:pt x="15" y="101"/>
                    </a:cubicBezTo>
                    <a:cubicBezTo>
                      <a:pt x="13" y="90"/>
                      <a:pt x="13" y="90"/>
                      <a:pt x="13" y="90"/>
                    </a:cubicBezTo>
                    <a:cubicBezTo>
                      <a:pt x="12" y="87"/>
                      <a:pt x="14" y="84"/>
                      <a:pt x="17" y="83"/>
                    </a:cubicBezTo>
                    <a:cubicBezTo>
                      <a:pt x="24" y="82"/>
                      <a:pt x="24" y="82"/>
                      <a:pt x="24" y="82"/>
                    </a:cubicBezTo>
                    <a:cubicBezTo>
                      <a:pt x="24" y="74"/>
                      <a:pt x="25" y="67"/>
                      <a:pt x="28" y="60"/>
                    </a:cubicBezTo>
                    <a:cubicBezTo>
                      <a:pt x="22" y="57"/>
                      <a:pt x="22" y="57"/>
                      <a:pt x="22" y="57"/>
                    </a:cubicBezTo>
                    <a:cubicBezTo>
                      <a:pt x="19" y="55"/>
                      <a:pt x="18" y="51"/>
                      <a:pt x="20" y="49"/>
                    </a:cubicBezTo>
                    <a:cubicBezTo>
                      <a:pt x="26" y="39"/>
                      <a:pt x="26" y="39"/>
                      <a:pt x="26" y="39"/>
                    </a:cubicBezTo>
                    <a:cubicBezTo>
                      <a:pt x="27" y="38"/>
                      <a:pt x="28" y="37"/>
                      <a:pt x="30" y="37"/>
                    </a:cubicBezTo>
                    <a:cubicBezTo>
                      <a:pt x="31" y="37"/>
                      <a:pt x="33" y="37"/>
                      <a:pt x="34" y="38"/>
                    </a:cubicBezTo>
                    <a:cubicBezTo>
                      <a:pt x="40" y="41"/>
                      <a:pt x="40" y="41"/>
                      <a:pt x="40" y="41"/>
                    </a:cubicBezTo>
                    <a:cubicBezTo>
                      <a:pt x="45" y="36"/>
                      <a:pt x="51" y="32"/>
                      <a:pt x="57" y="29"/>
                    </a:cubicBezTo>
                    <a:cubicBezTo>
                      <a:pt x="56" y="22"/>
                      <a:pt x="56" y="22"/>
                      <a:pt x="56" y="22"/>
                    </a:cubicBezTo>
                    <a:cubicBezTo>
                      <a:pt x="55" y="19"/>
                      <a:pt x="57" y="16"/>
                      <a:pt x="60" y="16"/>
                    </a:cubicBezTo>
                    <a:cubicBezTo>
                      <a:pt x="71" y="13"/>
                      <a:pt x="71" y="13"/>
                      <a:pt x="71" y="13"/>
                    </a:cubicBezTo>
                    <a:moveTo>
                      <a:pt x="69" y="2"/>
                    </a:moveTo>
                    <a:cubicBezTo>
                      <a:pt x="58" y="5"/>
                      <a:pt x="58" y="5"/>
                      <a:pt x="58" y="5"/>
                    </a:cubicBezTo>
                    <a:cubicBezTo>
                      <a:pt x="49" y="6"/>
                      <a:pt x="44" y="14"/>
                      <a:pt x="45" y="23"/>
                    </a:cubicBezTo>
                    <a:cubicBezTo>
                      <a:pt x="43" y="24"/>
                      <a:pt x="41" y="26"/>
                      <a:pt x="39" y="27"/>
                    </a:cubicBezTo>
                    <a:cubicBezTo>
                      <a:pt x="35" y="25"/>
                      <a:pt x="31" y="25"/>
                      <a:pt x="27" y="26"/>
                    </a:cubicBezTo>
                    <a:cubicBezTo>
                      <a:pt x="23" y="27"/>
                      <a:pt x="19" y="29"/>
                      <a:pt x="17" y="33"/>
                    </a:cubicBezTo>
                    <a:cubicBezTo>
                      <a:pt x="11" y="43"/>
                      <a:pt x="11" y="43"/>
                      <a:pt x="11" y="43"/>
                    </a:cubicBezTo>
                    <a:cubicBezTo>
                      <a:pt x="8" y="47"/>
                      <a:pt x="7" y="51"/>
                      <a:pt x="8" y="56"/>
                    </a:cubicBezTo>
                    <a:cubicBezTo>
                      <a:pt x="9" y="59"/>
                      <a:pt x="11" y="63"/>
                      <a:pt x="14" y="65"/>
                    </a:cubicBezTo>
                    <a:cubicBezTo>
                      <a:pt x="14" y="68"/>
                      <a:pt x="13" y="70"/>
                      <a:pt x="13" y="72"/>
                    </a:cubicBezTo>
                    <a:cubicBezTo>
                      <a:pt x="5" y="75"/>
                      <a:pt x="0" y="84"/>
                      <a:pt x="2" y="92"/>
                    </a:cubicBezTo>
                    <a:cubicBezTo>
                      <a:pt x="4" y="103"/>
                      <a:pt x="4" y="103"/>
                      <a:pt x="4" y="103"/>
                    </a:cubicBezTo>
                    <a:cubicBezTo>
                      <a:pt x="6" y="112"/>
                      <a:pt x="14" y="117"/>
                      <a:pt x="23" y="116"/>
                    </a:cubicBezTo>
                    <a:cubicBezTo>
                      <a:pt x="24" y="118"/>
                      <a:pt x="25" y="120"/>
                      <a:pt x="27" y="122"/>
                    </a:cubicBezTo>
                    <a:cubicBezTo>
                      <a:pt x="25" y="126"/>
                      <a:pt x="25" y="130"/>
                      <a:pt x="25" y="134"/>
                    </a:cubicBezTo>
                    <a:cubicBezTo>
                      <a:pt x="26" y="138"/>
                      <a:pt x="29" y="142"/>
                      <a:pt x="33" y="144"/>
                    </a:cubicBezTo>
                    <a:cubicBezTo>
                      <a:pt x="42" y="150"/>
                      <a:pt x="42" y="150"/>
                      <a:pt x="42" y="150"/>
                    </a:cubicBezTo>
                    <a:cubicBezTo>
                      <a:pt x="46" y="153"/>
                      <a:pt x="51" y="154"/>
                      <a:pt x="55" y="153"/>
                    </a:cubicBezTo>
                    <a:cubicBezTo>
                      <a:pt x="59" y="152"/>
                      <a:pt x="62" y="150"/>
                      <a:pt x="65" y="147"/>
                    </a:cubicBezTo>
                    <a:cubicBezTo>
                      <a:pt x="67" y="147"/>
                      <a:pt x="70" y="148"/>
                      <a:pt x="72" y="148"/>
                    </a:cubicBezTo>
                    <a:cubicBezTo>
                      <a:pt x="75" y="156"/>
                      <a:pt x="83" y="161"/>
                      <a:pt x="92" y="159"/>
                    </a:cubicBezTo>
                    <a:cubicBezTo>
                      <a:pt x="103" y="157"/>
                      <a:pt x="103" y="157"/>
                      <a:pt x="103" y="157"/>
                    </a:cubicBezTo>
                    <a:cubicBezTo>
                      <a:pt x="111" y="155"/>
                      <a:pt x="117" y="147"/>
                      <a:pt x="116" y="138"/>
                    </a:cubicBezTo>
                    <a:cubicBezTo>
                      <a:pt x="118" y="137"/>
                      <a:pt x="120" y="136"/>
                      <a:pt x="122" y="134"/>
                    </a:cubicBezTo>
                    <a:cubicBezTo>
                      <a:pt x="126" y="136"/>
                      <a:pt x="130" y="136"/>
                      <a:pt x="133" y="136"/>
                    </a:cubicBezTo>
                    <a:cubicBezTo>
                      <a:pt x="138" y="135"/>
                      <a:pt x="142" y="132"/>
                      <a:pt x="144" y="128"/>
                    </a:cubicBezTo>
                    <a:cubicBezTo>
                      <a:pt x="150" y="119"/>
                      <a:pt x="150" y="119"/>
                      <a:pt x="150" y="119"/>
                    </a:cubicBezTo>
                    <a:cubicBezTo>
                      <a:pt x="153" y="115"/>
                      <a:pt x="153" y="110"/>
                      <a:pt x="152" y="106"/>
                    </a:cubicBezTo>
                    <a:cubicBezTo>
                      <a:pt x="152" y="102"/>
                      <a:pt x="149" y="99"/>
                      <a:pt x="146" y="96"/>
                    </a:cubicBezTo>
                    <a:cubicBezTo>
                      <a:pt x="147" y="94"/>
                      <a:pt x="147" y="91"/>
                      <a:pt x="148" y="89"/>
                    </a:cubicBezTo>
                    <a:cubicBezTo>
                      <a:pt x="156" y="86"/>
                      <a:pt x="161" y="78"/>
                      <a:pt x="159" y="69"/>
                    </a:cubicBezTo>
                    <a:cubicBezTo>
                      <a:pt x="157" y="58"/>
                      <a:pt x="157" y="58"/>
                      <a:pt x="157" y="58"/>
                    </a:cubicBezTo>
                    <a:cubicBezTo>
                      <a:pt x="155" y="50"/>
                      <a:pt x="147" y="44"/>
                      <a:pt x="138" y="45"/>
                    </a:cubicBezTo>
                    <a:cubicBezTo>
                      <a:pt x="137" y="43"/>
                      <a:pt x="135" y="41"/>
                      <a:pt x="134" y="39"/>
                    </a:cubicBezTo>
                    <a:cubicBezTo>
                      <a:pt x="136" y="36"/>
                      <a:pt x="136" y="32"/>
                      <a:pt x="135" y="28"/>
                    </a:cubicBezTo>
                    <a:cubicBezTo>
                      <a:pt x="134" y="23"/>
                      <a:pt x="132" y="19"/>
                      <a:pt x="128" y="17"/>
                    </a:cubicBezTo>
                    <a:cubicBezTo>
                      <a:pt x="118" y="11"/>
                      <a:pt x="118" y="11"/>
                      <a:pt x="118" y="11"/>
                    </a:cubicBezTo>
                    <a:cubicBezTo>
                      <a:pt x="115" y="8"/>
                      <a:pt x="110" y="8"/>
                      <a:pt x="106" y="9"/>
                    </a:cubicBezTo>
                    <a:cubicBezTo>
                      <a:pt x="102" y="9"/>
                      <a:pt x="98" y="12"/>
                      <a:pt x="96" y="15"/>
                    </a:cubicBezTo>
                    <a:cubicBezTo>
                      <a:pt x="93" y="14"/>
                      <a:pt x="91" y="14"/>
                      <a:pt x="89" y="13"/>
                    </a:cubicBezTo>
                    <a:cubicBezTo>
                      <a:pt x="86" y="5"/>
                      <a:pt x="77" y="0"/>
                      <a:pt x="6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19" name="Freeform 22">
                <a:extLst>
                  <a:ext uri="{FF2B5EF4-FFF2-40B4-BE49-F238E27FC236}">
                    <a16:creationId xmlns:a16="http://schemas.microsoft.com/office/drawing/2014/main" id="{48CC0905-B11F-CDDF-F551-2AD9A58F7387}"/>
                  </a:ext>
                </a:extLst>
              </p:cNvPr>
              <p:cNvSpPr>
                <a:spLocks noEditPoints="1"/>
              </p:cNvSpPr>
              <p:nvPr/>
            </p:nvSpPr>
            <p:spPr bwMode="auto">
              <a:xfrm>
                <a:off x="6661080" y="536756"/>
                <a:ext cx="306388" cy="306388"/>
              </a:xfrm>
              <a:custGeom>
                <a:avLst/>
                <a:gdLst>
                  <a:gd name="T0" fmla="*/ 48 w 81"/>
                  <a:gd name="T1" fmla="*/ 77 h 81"/>
                  <a:gd name="T2" fmla="*/ 4 w 81"/>
                  <a:gd name="T3" fmla="*/ 49 h 81"/>
                  <a:gd name="T4" fmla="*/ 32 w 81"/>
                  <a:gd name="T5" fmla="*/ 5 h 81"/>
                  <a:gd name="T6" fmla="*/ 76 w 81"/>
                  <a:gd name="T7" fmla="*/ 33 h 81"/>
                  <a:gd name="T8" fmla="*/ 48 w 81"/>
                  <a:gd name="T9" fmla="*/ 77 h 81"/>
                  <a:gd name="T10" fmla="*/ 34 w 81"/>
                  <a:gd name="T11" fmla="*/ 10 h 81"/>
                  <a:gd name="T12" fmla="*/ 10 w 81"/>
                  <a:gd name="T13" fmla="*/ 47 h 81"/>
                  <a:gd name="T14" fmla="*/ 47 w 81"/>
                  <a:gd name="T15" fmla="*/ 71 h 81"/>
                  <a:gd name="T16" fmla="*/ 71 w 81"/>
                  <a:gd name="T17" fmla="*/ 34 h 81"/>
                  <a:gd name="T18" fmla="*/ 34 w 81"/>
                  <a:gd name="T19"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8" y="77"/>
                    </a:moveTo>
                    <a:cubicBezTo>
                      <a:pt x="28" y="81"/>
                      <a:pt x="9" y="68"/>
                      <a:pt x="4" y="49"/>
                    </a:cubicBezTo>
                    <a:cubicBezTo>
                      <a:pt x="0" y="29"/>
                      <a:pt x="13" y="9"/>
                      <a:pt x="32" y="5"/>
                    </a:cubicBezTo>
                    <a:cubicBezTo>
                      <a:pt x="52" y="0"/>
                      <a:pt x="72" y="13"/>
                      <a:pt x="76" y="33"/>
                    </a:cubicBezTo>
                    <a:cubicBezTo>
                      <a:pt x="81" y="53"/>
                      <a:pt x="68" y="72"/>
                      <a:pt x="48" y="77"/>
                    </a:cubicBezTo>
                    <a:close/>
                    <a:moveTo>
                      <a:pt x="34" y="10"/>
                    </a:moveTo>
                    <a:cubicBezTo>
                      <a:pt x="17" y="14"/>
                      <a:pt x="6" y="31"/>
                      <a:pt x="10" y="47"/>
                    </a:cubicBezTo>
                    <a:cubicBezTo>
                      <a:pt x="14" y="64"/>
                      <a:pt x="30" y="75"/>
                      <a:pt x="47" y="71"/>
                    </a:cubicBezTo>
                    <a:cubicBezTo>
                      <a:pt x="64" y="67"/>
                      <a:pt x="74" y="51"/>
                      <a:pt x="71" y="34"/>
                    </a:cubicBezTo>
                    <a:cubicBezTo>
                      <a:pt x="67" y="17"/>
                      <a:pt x="50" y="7"/>
                      <a:pt x="34"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20" name="Freeform 23">
                <a:extLst>
                  <a:ext uri="{FF2B5EF4-FFF2-40B4-BE49-F238E27FC236}">
                    <a16:creationId xmlns:a16="http://schemas.microsoft.com/office/drawing/2014/main" id="{AABDEB78-118B-CE2C-2DFF-4E2007EF7F44}"/>
                  </a:ext>
                </a:extLst>
              </p:cNvPr>
              <p:cNvSpPr>
                <a:spLocks noEditPoints="1"/>
              </p:cNvSpPr>
              <p:nvPr/>
            </p:nvSpPr>
            <p:spPr bwMode="auto">
              <a:xfrm>
                <a:off x="6732517" y="608193"/>
                <a:ext cx="163513" cy="163513"/>
              </a:xfrm>
              <a:custGeom>
                <a:avLst/>
                <a:gdLst>
                  <a:gd name="T0" fmla="*/ 26 w 43"/>
                  <a:gd name="T1" fmla="*/ 41 h 43"/>
                  <a:gd name="T2" fmla="*/ 2 w 43"/>
                  <a:gd name="T3" fmla="*/ 26 h 43"/>
                  <a:gd name="T4" fmla="*/ 17 w 43"/>
                  <a:gd name="T5" fmla="*/ 2 h 43"/>
                  <a:gd name="T6" fmla="*/ 41 w 43"/>
                  <a:gd name="T7" fmla="*/ 17 h 43"/>
                  <a:gd name="T8" fmla="*/ 26 w 43"/>
                  <a:gd name="T9" fmla="*/ 41 h 43"/>
                  <a:gd name="T10" fmla="*/ 18 w 43"/>
                  <a:gd name="T11" fmla="*/ 8 h 43"/>
                  <a:gd name="T12" fmla="*/ 8 w 43"/>
                  <a:gd name="T13" fmla="*/ 25 h 43"/>
                  <a:gd name="T14" fmla="*/ 24 w 43"/>
                  <a:gd name="T15" fmla="*/ 35 h 43"/>
                  <a:gd name="T16" fmla="*/ 35 w 43"/>
                  <a:gd name="T17" fmla="*/ 19 h 43"/>
                  <a:gd name="T18" fmla="*/ 18 w 43"/>
                  <a:gd name="T19"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6" y="41"/>
                    </a:moveTo>
                    <a:cubicBezTo>
                      <a:pt x="15" y="43"/>
                      <a:pt x="4" y="37"/>
                      <a:pt x="2" y="26"/>
                    </a:cubicBezTo>
                    <a:cubicBezTo>
                      <a:pt x="0" y="15"/>
                      <a:pt x="6" y="5"/>
                      <a:pt x="17" y="2"/>
                    </a:cubicBezTo>
                    <a:cubicBezTo>
                      <a:pt x="28" y="0"/>
                      <a:pt x="38" y="7"/>
                      <a:pt x="41" y="17"/>
                    </a:cubicBezTo>
                    <a:cubicBezTo>
                      <a:pt x="43" y="28"/>
                      <a:pt x="36" y="39"/>
                      <a:pt x="26" y="41"/>
                    </a:cubicBezTo>
                    <a:close/>
                    <a:moveTo>
                      <a:pt x="18" y="8"/>
                    </a:moveTo>
                    <a:cubicBezTo>
                      <a:pt x="11" y="10"/>
                      <a:pt x="6" y="17"/>
                      <a:pt x="8" y="25"/>
                    </a:cubicBezTo>
                    <a:cubicBezTo>
                      <a:pt x="9" y="32"/>
                      <a:pt x="17" y="37"/>
                      <a:pt x="24" y="35"/>
                    </a:cubicBezTo>
                    <a:cubicBezTo>
                      <a:pt x="32" y="34"/>
                      <a:pt x="37" y="26"/>
                      <a:pt x="35" y="19"/>
                    </a:cubicBezTo>
                    <a:cubicBezTo>
                      <a:pt x="34" y="11"/>
                      <a:pt x="26" y="6"/>
                      <a:pt x="18"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21" name="Freeform 24">
                <a:extLst>
                  <a:ext uri="{FF2B5EF4-FFF2-40B4-BE49-F238E27FC236}">
                    <a16:creationId xmlns:a16="http://schemas.microsoft.com/office/drawing/2014/main" id="{D5EA6FA6-AB62-9F09-9855-E019AF1C3AB5}"/>
                  </a:ext>
                </a:extLst>
              </p:cNvPr>
              <p:cNvSpPr>
                <a:spLocks noEditPoints="1"/>
              </p:cNvSpPr>
              <p:nvPr/>
            </p:nvSpPr>
            <p:spPr bwMode="auto">
              <a:xfrm>
                <a:off x="5621267" y="479606"/>
                <a:ext cx="911225" cy="909638"/>
              </a:xfrm>
              <a:custGeom>
                <a:avLst/>
                <a:gdLst>
                  <a:gd name="T0" fmla="*/ 138 w 241"/>
                  <a:gd name="T1" fmla="*/ 25 h 240"/>
                  <a:gd name="T2" fmla="*/ 168 w 241"/>
                  <a:gd name="T3" fmla="*/ 48 h 240"/>
                  <a:gd name="T4" fmla="*/ 181 w 241"/>
                  <a:gd name="T5" fmla="*/ 38 h 240"/>
                  <a:gd name="T6" fmla="*/ 199 w 241"/>
                  <a:gd name="T7" fmla="*/ 53 h 240"/>
                  <a:gd name="T8" fmla="*/ 192 w 241"/>
                  <a:gd name="T9" fmla="*/ 73 h 240"/>
                  <a:gd name="T10" fmla="*/ 215 w 241"/>
                  <a:gd name="T11" fmla="*/ 103 h 240"/>
                  <a:gd name="T12" fmla="*/ 223 w 241"/>
                  <a:gd name="T13" fmla="*/ 128 h 240"/>
                  <a:gd name="T14" fmla="*/ 204 w 241"/>
                  <a:gd name="T15" fmla="*/ 137 h 240"/>
                  <a:gd name="T16" fmla="*/ 199 w 241"/>
                  <a:gd name="T17" fmla="*/ 174 h 240"/>
                  <a:gd name="T18" fmla="*/ 187 w 241"/>
                  <a:gd name="T19" fmla="*/ 199 h 240"/>
                  <a:gd name="T20" fmla="*/ 175 w 241"/>
                  <a:gd name="T21" fmla="*/ 199 h 240"/>
                  <a:gd name="T22" fmla="*/ 138 w 241"/>
                  <a:gd name="T23" fmla="*/ 204 h 240"/>
                  <a:gd name="T24" fmla="*/ 129 w 241"/>
                  <a:gd name="T25" fmla="*/ 223 h 240"/>
                  <a:gd name="T26" fmla="*/ 103 w 241"/>
                  <a:gd name="T27" fmla="*/ 214 h 240"/>
                  <a:gd name="T28" fmla="*/ 73 w 241"/>
                  <a:gd name="T29" fmla="*/ 191 h 240"/>
                  <a:gd name="T30" fmla="*/ 60 w 241"/>
                  <a:gd name="T31" fmla="*/ 201 h 240"/>
                  <a:gd name="T32" fmla="*/ 42 w 241"/>
                  <a:gd name="T33" fmla="*/ 186 h 240"/>
                  <a:gd name="T34" fmla="*/ 49 w 241"/>
                  <a:gd name="T35" fmla="*/ 167 h 240"/>
                  <a:gd name="T36" fmla="*/ 26 w 241"/>
                  <a:gd name="T37" fmla="*/ 137 h 240"/>
                  <a:gd name="T38" fmla="*/ 17 w 241"/>
                  <a:gd name="T39" fmla="*/ 111 h 240"/>
                  <a:gd name="T40" fmla="*/ 36 w 241"/>
                  <a:gd name="T41" fmla="*/ 103 h 240"/>
                  <a:gd name="T42" fmla="*/ 42 w 241"/>
                  <a:gd name="T43" fmla="*/ 65 h 240"/>
                  <a:gd name="T44" fmla="*/ 54 w 241"/>
                  <a:gd name="T45" fmla="*/ 41 h 240"/>
                  <a:gd name="T46" fmla="*/ 66 w 241"/>
                  <a:gd name="T47" fmla="*/ 41 h 240"/>
                  <a:gd name="T48" fmla="*/ 103 w 241"/>
                  <a:gd name="T49" fmla="*/ 36 h 240"/>
                  <a:gd name="T50" fmla="*/ 112 w 241"/>
                  <a:gd name="T51" fmla="*/ 17 h 240"/>
                  <a:gd name="T52" fmla="*/ 129 w 241"/>
                  <a:gd name="T53" fmla="*/ 0 h 240"/>
                  <a:gd name="T54" fmla="*/ 86 w 241"/>
                  <a:gd name="T55" fmla="*/ 23 h 240"/>
                  <a:gd name="T56" fmla="*/ 60 w 241"/>
                  <a:gd name="T57" fmla="*/ 21 h 240"/>
                  <a:gd name="T58" fmla="*/ 29 w 241"/>
                  <a:gd name="T59" fmla="*/ 41 h 240"/>
                  <a:gd name="T60" fmla="*/ 28 w 241"/>
                  <a:gd name="T61" fmla="*/ 75 h 240"/>
                  <a:gd name="T62" fmla="*/ 0 w 241"/>
                  <a:gd name="T63" fmla="*/ 111 h 240"/>
                  <a:gd name="T64" fmla="*/ 23 w 241"/>
                  <a:gd name="T65" fmla="*/ 154 h 240"/>
                  <a:gd name="T66" fmla="*/ 22 w 241"/>
                  <a:gd name="T67" fmla="*/ 180 h 240"/>
                  <a:gd name="T68" fmla="*/ 42 w 241"/>
                  <a:gd name="T69" fmla="*/ 211 h 240"/>
                  <a:gd name="T70" fmla="*/ 76 w 241"/>
                  <a:gd name="T71" fmla="*/ 212 h 240"/>
                  <a:gd name="T72" fmla="*/ 112 w 241"/>
                  <a:gd name="T73" fmla="*/ 240 h 240"/>
                  <a:gd name="T74" fmla="*/ 155 w 241"/>
                  <a:gd name="T75" fmla="*/ 217 h 240"/>
                  <a:gd name="T76" fmla="*/ 181 w 241"/>
                  <a:gd name="T77" fmla="*/ 218 h 240"/>
                  <a:gd name="T78" fmla="*/ 211 w 241"/>
                  <a:gd name="T79" fmla="*/ 199 h 240"/>
                  <a:gd name="T80" fmla="*/ 213 w 241"/>
                  <a:gd name="T81" fmla="*/ 164 h 240"/>
                  <a:gd name="T82" fmla="*/ 241 w 241"/>
                  <a:gd name="T83" fmla="*/ 128 h 240"/>
                  <a:gd name="T84" fmla="*/ 217 w 241"/>
                  <a:gd name="T85" fmla="*/ 86 h 240"/>
                  <a:gd name="T86" fmla="*/ 219 w 241"/>
                  <a:gd name="T87" fmla="*/ 59 h 240"/>
                  <a:gd name="T88" fmla="*/ 199 w 241"/>
                  <a:gd name="T89" fmla="*/ 29 h 240"/>
                  <a:gd name="T90" fmla="*/ 165 w 241"/>
                  <a:gd name="T91" fmla="*/ 27 h 240"/>
                  <a:gd name="T92" fmla="*/ 129 w 241"/>
                  <a:gd name="T9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1" h="240">
                    <a:moveTo>
                      <a:pt x="129" y="17"/>
                    </a:moveTo>
                    <a:cubicBezTo>
                      <a:pt x="134" y="17"/>
                      <a:pt x="138" y="21"/>
                      <a:pt x="138" y="25"/>
                    </a:cubicBezTo>
                    <a:cubicBezTo>
                      <a:pt x="138" y="36"/>
                      <a:pt x="138" y="36"/>
                      <a:pt x="138" y="36"/>
                    </a:cubicBezTo>
                    <a:cubicBezTo>
                      <a:pt x="149" y="38"/>
                      <a:pt x="159" y="42"/>
                      <a:pt x="168" y="48"/>
                    </a:cubicBezTo>
                    <a:cubicBezTo>
                      <a:pt x="175" y="41"/>
                      <a:pt x="175" y="41"/>
                      <a:pt x="175" y="41"/>
                    </a:cubicBezTo>
                    <a:cubicBezTo>
                      <a:pt x="177" y="39"/>
                      <a:pt x="179" y="38"/>
                      <a:pt x="181" y="38"/>
                    </a:cubicBezTo>
                    <a:cubicBezTo>
                      <a:pt x="183" y="38"/>
                      <a:pt x="185" y="39"/>
                      <a:pt x="187" y="41"/>
                    </a:cubicBezTo>
                    <a:cubicBezTo>
                      <a:pt x="199" y="53"/>
                      <a:pt x="199" y="53"/>
                      <a:pt x="199" y="53"/>
                    </a:cubicBezTo>
                    <a:cubicBezTo>
                      <a:pt x="203" y="56"/>
                      <a:pt x="203" y="62"/>
                      <a:pt x="199" y="65"/>
                    </a:cubicBezTo>
                    <a:cubicBezTo>
                      <a:pt x="192" y="73"/>
                      <a:pt x="192" y="73"/>
                      <a:pt x="192" y="73"/>
                    </a:cubicBezTo>
                    <a:cubicBezTo>
                      <a:pt x="198" y="82"/>
                      <a:pt x="202" y="92"/>
                      <a:pt x="204" y="103"/>
                    </a:cubicBezTo>
                    <a:cubicBezTo>
                      <a:pt x="215" y="103"/>
                      <a:pt x="215" y="103"/>
                      <a:pt x="215" y="103"/>
                    </a:cubicBezTo>
                    <a:cubicBezTo>
                      <a:pt x="220" y="103"/>
                      <a:pt x="223" y="106"/>
                      <a:pt x="223" y="111"/>
                    </a:cubicBezTo>
                    <a:cubicBezTo>
                      <a:pt x="223" y="128"/>
                      <a:pt x="223" y="128"/>
                      <a:pt x="223" y="128"/>
                    </a:cubicBezTo>
                    <a:cubicBezTo>
                      <a:pt x="223" y="133"/>
                      <a:pt x="220" y="137"/>
                      <a:pt x="215" y="137"/>
                    </a:cubicBezTo>
                    <a:cubicBezTo>
                      <a:pt x="204" y="137"/>
                      <a:pt x="204" y="137"/>
                      <a:pt x="204" y="137"/>
                    </a:cubicBezTo>
                    <a:cubicBezTo>
                      <a:pt x="202" y="148"/>
                      <a:pt x="198" y="158"/>
                      <a:pt x="192" y="167"/>
                    </a:cubicBezTo>
                    <a:cubicBezTo>
                      <a:pt x="199" y="174"/>
                      <a:pt x="199" y="174"/>
                      <a:pt x="199" y="174"/>
                    </a:cubicBezTo>
                    <a:cubicBezTo>
                      <a:pt x="203" y="178"/>
                      <a:pt x="203" y="183"/>
                      <a:pt x="199" y="186"/>
                    </a:cubicBezTo>
                    <a:cubicBezTo>
                      <a:pt x="187" y="199"/>
                      <a:pt x="187" y="199"/>
                      <a:pt x="187" y="199"/>
                    </a:cubicBezTo>
                    <a:cubicBezTo>
                      <a:pt x="185" y="200"/>
                      <a:pt x="183" y="201"/>
                      <a:pt x="181" y="201"/>
                    </a:cubicBezTo>
                    <a:cubicBezTo>
                      <a:pt x="179" y="201"/>
                      <a:pt x="177" y="200"/>
                      <a:pt x="175" y="199"/>
                    </a:cubicBezTo>
                    <a:cubicBezTo>
                      <a:pt x="168" y="191"/>
                      <a:pt x="168" y="191"/>
                      <a:pt x="168" y="191"/>
                    </a:cubicBezTo>
                    <a:cubicBezTo>
                      <a:pt x="159" y="197"/>
                      <a:pt x="149" y="202"/>
                      <a:pt x="138" y="204"/>
                    </a:cubicBezTo>
                    <a:cubicBezTo>
                      <a:pt x="138" y="214"/>
                      <a:pt x="138" y="214"/>
                      <a:pt x="138" y="214"/>
                    </a:cubicBezTo>
                    <a:cubicBezTo>
                      <a:pt x="138" y="219"/>
                      <a:pt x="134" y="223"/>
                      <a:pt x="129" y="223"/>
                    </a:cubicBezTo>
                    <a:cubicBezTo>
                      <a:pt x="112" y="223"/>
                      <a:pt x="112" y="223"/>
                      <a:pt x="112" y="223"/>
                    </a:cubicBezTo>
                    <a:cubicBezTo>
                      <a:pt x="107" y="223"/>
                      <a:pt x="103" y="219"/>
                      <a:pt x="103" y="214"/>
                    </a:cubicBezTo>
                    <a:cubicBezTo>
                      <a:pt x="103" y="204"/>
                      <a:pt x="103" y="204"/>
                      <a:pt x="103" y="204"/>
                    </a:cubicBezTo>
                    <a:cubicBezTo>
                      <a:pt x="92" y="202"/>
                      <a:pt x="82" y="197"/>
                      <a:pt x="73" y="191"/>
                    </a:cubicBezTo>
                    <a:cubicBezTo>
                      <a:pt x="66" y="199"/>
                      <a:pt x="66" y="199"/>
                      <a:pt x="66" y="199"/>
                    </a:cubicBezTo>
                    <a:cubicBezTo>
                      <a:pt x="64" y="200"/>
                      <a:pt x="62" y="201"/>
                      <a:pt x="60" y="201"/>
                    </a:cubicBezTo>
                    <a:cubicBezTo>
                      <a:pt x="58" y="201"/>
                      <a:pt x="55" y="200"/>
                      <a:pt x="54" y="199"/>
                    </a:cubicBezTo>
                    <a:cubicBezTo>
                      <a:pt x="42" y="186"/>
                      <a:pt x="42" y="186"/>
                      <a:pt x="42" y="186"/>
                    </a:cubicBezTo>
                    <a:cubicBezTo>
                      <a:pt x="38" y="183"/>
                      <a:pt x="38" y="178"/>
                      <a:pt x="42" y="174"/>
                    </a:cubicBezTo>
                    <a:cubicBezTo>
                      <a:pt x="49" y="167"/>
                      <a:pt x="49" y="167"/>
                      <a:pt x="49" y="167"/>
                    </a:cubicBezTo>
                    <a:cubicBezTo>
                      <a:pt x="43" y="158"/>
                      <a:pt x="39" y="148"/>
                      <a:pt x="36" y="137"/>
                    </a:cubicBezTo>
                    <a:cubicBezTo>
                      <a:pt x="26" y="137"/>
                      <a:pt x="26" y="137"/>
                      <a:pt x="26" y="137"/>
                    </a:cubicBezTo>
                    <a:cubicBezTo>
                      <a:pt x="21" y="137"/>
                      <a:pt x="17" y="133"/>
                      <a:pt x="17" y="128"/>
                    </a:cubicBezTo>
                    <a:cubicBezTo>
                      <a:pt x="17" y="111"/>
                      <a:pt x="17" y="111"/>
                      <a:pt x="17" y="111"/>
                    </a:cubicBezTo>
                    <a:cubicBezTo>
                      <a:pt x="17" y="106"/>
                      <a:pt x="21" y="103"/>
                      <a:pt x="26" y="103"/>
                    </a:cubicBezTo>
                    <a:cubicBezTo>
                      <a:pt x="36" y="103"/>
                      <a:pt x="36" y="103"/>
                      <a:pt x="36" y="103"/>
                    </a:cubicBezTo>
                    <a:cubicBezTo>
                      <a:pt x="39" y="92"/>
                      <a:pt x="43" y="82"/>
                      <a:pt x="49" y="73"/>
                    </a:cubicBezTo>
                    <a:cubicBezTo>
                      <a:pt x="42" y="65"/>
                      <a:pt x="42" y="65"/>
                      <a:pt x="42" y="65"/>
                    </a:cubicBezTo>
                    <a:cubicBezTo>
                      <a:pt x="38" y="62"/>
                      <a:pt x="38" y="56"/>
                      <a:pt x="42" y="53"/>
                    </a:cubicBezTo>
                    <a:cubicBezTo>
                      <a:pt x="54" y="41"/>
                      <a:pt x="54" y="41"/>
                      <a:pt x="54" y="41"/>
                    </a:cubicBezTo>
                    <a:cubicBezTo>
                      <a:pt x="55" y="39"/>
                      <a:pt x="58" y="38"/>
                      <a:pt x="60" y="38"/>
                    </a:cubicBezTo>
                    <a:cubicBezTo>
                      <a:pt x="62" y="38"/>
                      <a:pt x="64" y="39"/>
                      <a:pt x="66" y="41"/>
                    </a:cubicBezTo>
                    <a:cubicBezTo>
                      <a:pt x="73" y="48"/>
                      <a:pt x="73" y="48"/>
                      <a:pt x="73" y="48"/>
                    </a:cubicBezTo>
                    <a:cubicBezTo>
                      <a:pt x="82" y="42"/>
                      <a:pt x="92" y="38"/>
                      <a:pt x="103" y="36"/>
                    </a:cubicBezTo>
                    <a:cubicBezTo>
                      <a:pt x="103" y="25"/>
                      <a:pt x="103" y="25"/>
                      <a:pt x="103" y="25"/>
                    </a:cubicBezTo>
                    <a:cubicBezTo>
                      <a:pt x="103" y="21"/>
                      <a:pt x="107" y="17"/>
                      <a:pt x="112" y="17"/>
                    </a:cubicBezTo>
                    <a:cubicBezTo>
                      <a:pt x="129" y="17"/>
                      <a:pt x="129" y="17"/>
                      <a:pt x="129" y="17"/>
                    </a:cubicBezTo>
                    <a:moveTo>
                      <a:pt x="129" y="0"/>
                    </a:moveTo>
                    <a:cubicBezTo>
                      <a:pt x="112" y="0"/>
                      <a:pt x="112" y="0"/>
                      <a:pt x="112" y="0"/>
                    </a:cubicBezTo>
                    <a:cubicBezTo>
                      <a:pt x="99" y="0"/>
                      <a:pt x="88" y="10"/>
                      <a:pt x="86" y="23"/>
                    </a:cubicBezTo>
                    <a:cubicBezTo>
                      <a:pt x="83" y="24"/>
                      <a:pt x="79" y="25"/>
                      <a:pt x="76" y="27"/>
                    </a:cubicBezTo>
                    <a:cubicBezTo>
                      <a:pt x="71" y="23"/>
                      <a:pt x="66" y="21"/>
                      <a:pt x="60" y="21"/>
                    </a:cubicBezTo>
                    <a:cubicBezTo>
                      <a:pt x="53" y="21"/>
                      <a:pt x="46" y="24"/>
                      <a:pt x="42" y="29"/>
                    </a:cubicBezTo>
                    <a:cubicBezTo>
                      <a:pt x="29" y="41"/>
                      <a:pt x="29" y="41"/>
                      <a:pt x="29" y="41"/>
                    </a:cubicBezTo>
                    <a:cubicBezTo>
                      <a:pt x="25" y="46"/>
                      <a:pt x="22" y="52"/>
                      <a:pt x="22" y="59"/>
                    </a:cubicBezTo>
                    <a:cubicBezTo>
                      <a:pt x="22" y="65"/>
                      <a:pt x="24" y="71"/>
                      <a:pt x="28" y="75"/>
                    </a:cubicBezTo>
                    <a:cubicBezTo>
                      <a:pt x="26" y="79"/>
                      <a:pt x="25" y="82"/>
                      <a:pt x="23" y="86"/>
                    </a:cubicBezTo>
                    <a:cubicBezTo>
                      <a:pt x="10" y="87"/>
                      <a:pt x="0" y="98"/>
                      <a:pt x="0" y="111"/>
                    </a:cubicBezTo>
                    <a:cubicBezTo>
                      <a:pt x="0" y="128"/>
                      <a:pt x="0" y="128"/>
                      <a:pt x="0" y="128"/>
                    </a:cubicBezTo>
                    <a:cubicBezTo>
                      <a:pt x="0" y="142"/>
                      <a:pt x="10" y="153"/>
                      <a:pt x="23" y="154"/>
                    </a:cubicBezTo>
                    <a:cubicBezTo>
                      <a:pt x="25" y="157"/>
                      <a:pt x="26" y="161"/>
                      <a:pt x="28" y="164"/>
                    </a:cubicBezTo>
                    <a:cubicBezTo>
                      <a:pt x="24" y="169"/>
                      <a:pt x="22" y="174"/>
                      <a:pt x="22" y="180"/>
                    </a:cubicBezTo>
                    <a:cubicBezTo>
                      <a:pt x="22" y="187"/>
                      <a:pt x="25" y="194"/>
                      <a:pt x="29" y="199"/>
                    </a:cubicBezTo>
                    <a:cubicBezTo>
                      <a:pt x="42" y="211"/>
                      <a:pt x="42" y="211"/>
                      <a:pt x="42" y="211"/>
                    </a:cubicBezTo>
                    <a:cubicBezTo>
                      <a:pt x="46" y="216"/>
                      <a:pt x="53" y="218"/>
                      <a:pt x="60" y="218"/>
                    </a:cubicBezTo>
                    <a:cubicBezTo>
                      <a:pt x="66" y="218"/>
                      <a:pt x="71" y="216"/>
                      <a:pt x="76" y="212"/>
                    </a:cubicBezTo>
                    <a:cubicBezTo>
                      <a:pt x="79" y="214"/>
                      <a:pt x="83" y="216"/>
                      <a:pt x="86" y="217"/>
                    </a:cubicBezTo>
                    <a:cubicBezTo>
                      <a:pt x="88" y="230"/>
                      <a:pt x="99" y="240"/>
                      <a:pt x="112" y="240"/>
                    </a:cubicBezTo>
                    <a:cubicBezTo>
                      <a:pt x="129" y="240"/>
                      <a:pt x="129" y="240"/>
                      <a:pt x="129" y="240"/>
                    </a:cubicBezTo>
                    <a:cubicBezTo>
                      <a:pt x="142" y="240"/>
                      <a:pt x="153" y="230"/>
                      <a:pt x="155" y="217"/>
                    </a:cubicBezTo>
                    <a:cubicBezTo>
                      <a:pt x="158" y="216"/>
                      <a:pt x="161" y="214"/>
                      <a:pt x="165" y="212"/>
                    </a:cubicBezTo>
                    <a:cubicBezTo>
                      <a:pt x="169" y="216"/>
                      <a:pt x="175" y="218"/>
                      <a:pt x="181" y="218"/>
                    </a:cubicBezTo>
                    <a:cubicBezTo>
                      <a:pt x="188" y="218"/>
                      <a:pt x="194" y="216"/>
                      <a:pt x="199" y="211"/>
                    </a:cubicBezTo>
                    <a:cubicBezTo>
                      <a:pt x="211" y="199"/>
                      <a:pt x="211" y="199"/>
                      <a:pt x="211" y="199"/>
                    </a:cubicBezTo>
                    <a:cubicBezTo>
                      <a:pt x="216" y="194"/>
                      <a:pt x="219" y="187"/>
                      <a:pt x="219" y="180"/>
                    </a:cubicBezTo>
                    <a:cubicBezTo>
                      <a:pt x="219" y="174"/>
                      <a:pt x="217" y="169"/>
                      <a:pt x="213" y="164"/>
                    </a:cubicBezTo>
                    <a:cubicBezTo>
                      <a:pt x="215" y="161"/>
                      <a:pt x="216" y="157"/>
                      <a:pt x="217" y="154"/>
                    </a:cubicBezTo>
                    <a:cubicBezTo>
                      <a:pt x="230" y="153"/>
                      <a:pt x="241" y="142"/>
                      <a:pt x="241" y="128"/>
                    </a:cubicBezTo>
                    <a:cubicBezTo>
                      <a:pt x="241" y="111"/>
                      <a:pt x="241" y="111"/>
                      <a:pt x="241" y="111"/>
                    </a:cubicBezTo>
                    <a:cubicBezTo>
                      <a:pt x="241" y="98"/>
                      <a:pt x="230" y="87"/>
                      <a:pt x="217" y="86"/>
                    </a:cubicBezTo>
                    <a:cubicBezTo>
                      <a:pt x="216" y="82"/>
                      <a:pt x="215" y="79"/>
                      <a:pt x="213" y="75"/>
                    </a:cubicBezTo>
                    <a:cubicBezTo>
                      <a:pt x="217" y="71"/>
                      <a:pt x="219" y="65"/>
                      <a:pt x="219" y="59"/>
                    </a:cubicBezTo>
                    <a:cubicBezTo>
                      <a:pt x="219" y="52"/>
                      <a:pt x="216" y="46"/>
                      <a:pt x="211" y="41"/>
                    </a:cubicBezTo>
                    <a:cubicBezTo>
                      <a:pt x="199" y="29"/>
                      <a:pt x="199" y="29"/>
                      <a:pt x="199" y="29"/>
                    </a:cubicBezTo>
                    <a:cubicBezTo>
                      <a:pt x="194" y="24"/>
                      <a:pt x="188" y="21"/>
                      <a:pt x="181" y="21"/>
                    </a:cubicBezTo>
                    <a:cubicBezTo>
                      <a:pt x="175" y="21"/>
                      <a:pt x="169" y="23"/>
                      <a:pt x="165" y="27"/>
                    </a:cubicBezTo>
                    <a:cubicBezTo>
                      <a:pt x="161" y="25"/>
                      <a:pt x="158" y="24"/>
                      <a:pt x="155" y="23"/>
                    </a:cubicBezTo>
                    <a:cubicBezTo>
                      <a:pt x="153" y="10"/>
                      <a:pt x="142" y="0"/>
                      <a:pt x="1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22" name="Freeform 25">
                <a:extLst>
                  <a:ext uri="{FF2B5EF4-FFF2-40B4-BE49-F238E27FC236}">
                    <a16:creationId xmlns:a16="http://schemas.microsoft.com/office/drawing/2014/main" id="{1A09F8DB-5D39-425E-B460-AEDB46F54BCE}"/>
                  </a:ext>
                </a:extLst>
              </p:cNvPr>
              <p:cNvSpPr>
                <a:spLocks noEditPoints="1"/>
              </p:cNvSpPr>
              <p:nvPr/>
            </p:nvSpPr>
            <p:spPr bwMode="auto">
              <a:xfrm>
                <a:off x="5867330" y="722493"/>
                <a:ext cx="419100" cy="423863"/>
              </a:xfrm>
              <a:custGeom>
                <a:avLst/>
                <a:gdLst>
                  <a:gd name="T0" fmla="*/ 55 w 111"/>
                  <a:gd name="T1" fmla="*/ 112 h 112"/>
                  <a:gd name="T2" fmla="*/ 0 w 111"/>
                  <a:gd name="T3" fmla="*/ 56 h 112"/>
                  <a:gd name="T4" fmla="*/ 55 w 111"/>
                  <a:gd name="T5" fmla="*/ 0 h 112"/>
                  <a:gd name="T6" fmla="*/ 111 w 111"/>
                  <a:gd name="T7" fmla="*/ 56 h 112"/>
                  <a:gd name="T8" fmla="*/ 55 w 111"/>
                  <a:gd name="T9" fmla="*/ 112 h 112"/>
                  <a:gd name="T10" fmla="*/ 55 w 111"/>
                  <a:gd name="T11" fmla="*/ 9 h 112"/>
                  <a:gd name="T12" fmla="*/ 8 w 111"/>
                  <a:gd name="T13" fmla="*/ 56 h 112"/>
                  <a:gd name="T14" fmla="*/ 55 w 111"/>
                  <a:gd name="T15" fmla="*/ 103 h 112"/>
                  <a:gd name="T16" fmla="*/ 103 w 111"/>
                  <a:gd name="T17" fmla="*/ 56 h 112"/>
                  <a:gd name="T18" fmla="*/ 55 w 111"/>
                  <a:gd name="T19"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12">
                    <a:moveTo>
                      <a:pt x="55" y="112"/>
                    </a:moveTo>
                    <a:cubicBezTo>
                      <a:pt x="25" y="112"/>
                      <a:pt x="0" y="86"/>
                      <a:pt x="0" y="56"/>
                    </a:cubicBezTo>
                    <a:cubicBezTo>
                      <a:pt x="0" y="25"/>
                      <a:pt x="25" y="0"/>
                      <a:pt x="55" y="0"/>
                    </a:cubicBezTo>
                    <a:cubicBezTo>
                      <a:pt x="86" y="0"/>
                      <a:pt x="111" y="25"/>
                      <a:pt x="111" y="56"/>
                    </a:cubicBezTo>
                    <a:cubicBezTo>
                      <a:pt x="111" y="86"/>
                      <a:pt x="86" y="112"/>
                      <a:pt x="55" y="112"/>
                    </a:cubicBezTo>
                    <a:close/>
                    <a:moveTo>
                      <a:pt x="55" y="9"/>
                    </a:moveTo>
                    <a:cubicBezTo>
                      <a:pt x="29" y="9"/>
                      <a:pt x="8" y="30"/>
                      <a:pt x="8" y="56"/>
                    </a:cubicBezTo>
                    <a:cubicBezTo>
                      <a:pt x="8" y="82"/>
                      <a:pt x="29" y="103"/>
                      <a:pt x="55" y="103"/>
                    </a:cubicBezTo>
                    <a:cubicBezTo>
                      <a:pt x="81" y="103"/>
                      <a:pt x="103" y="82"/>
                      <a:pt x="103" y="56"/>
                    </a:cubicBezTo>
                    <a:cubicBezTo>
                      <a:pt x="103" y="30"/>
                      <a:pt x="81" y="9"/>
                      <a:pt x="5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23" name="Freeform 26">
                <a:extLst>
                  <a:ext uri="{FF2B5EF4-FFF2-40B4-BE49-F238E27FC236}">
                    <a16:creationId xmlns:a16="http://schemas.microsoft.com/office/drawing/2014/main" id="{D242FC92-79FC-FC7E-73D3-1DE458F99DF4}"/>
                  </a:ext>
                </a:extLst>
              </p:cNvPr>
              <p:cNvSpPr>
                <a:spLocks noEditPoints="1"/>
              </p:cNvSpPr>
              <p:nvPr/>
            </p:nvSpPr>
            <p:spPr bwMode="auto">
              <a:xfrm>
                <a:off x="5960992" y="820918"/>
                <a:ext cx="227013" cy="22701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8 h 60"/>
                  <a:gd name="T12" fmla="*/ 9 w 60"/>
                  <a:gd name="T13" fmla="*/ 30 h 60"/>
                  <a:gd name="T14" fmla="*/ 30 w 60"/>
                  <a:gd name="T15" fmla="*/ 51 h 60"/>
                  <a:gd name="T16" fmla="*/ 52 w 60"/>
                  <a:gd name="T17" fmla="*/ 30 h 60"/>
                  <a:gd name="T18" fmla="*/ 30 w 60"/>
                  <a:gd name="T19"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8"/>
                    </a:moveTo>
                    <a:cubicBezTo>
                      <a:pt x="19" y="8"/>
                      <a:pt x="9" y="18"/>
                      <a:pt x="9" y="30"/>
                    </a:cubicBezTo>
                    <a:cubicBezTo>
                      <a:pt x="9" y="42"/>
                      <a:pt x="19" y="51"/>
                      <a:pt x="30" y="51"/>
                    </a:cubicBezTo>
                    <a:cubicBezTo>
                      <a:pt x="42" y="51"/>
                      <a:pt x="52" y="42"/>
                      <a:pt x="52" y="30"/>
                    </a:cubicBezTo>
                    <a:cubicBezTo>
                      <a:pt x="52" y="18"/>
                      <a:pt x="42" y="8"/>
                      <a:pt x="30"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grpSp>
        <p:grpSp>
          <p:nvGrpSpPr>
            <p:cNvPr id="24" name="Group 28">
              <a:extLst>
                <a:ext uri="{FF2B5EF4-FFF2-40B4-BE49-F238E27FC236}">
                  <a16:creationId xmlns:a16="http://schemas.microsoft.com/office/drawing/2014/main" id="{F54CB326-BA55-F1ED-A02D-397F257BC251}"/>
                </a:ext>
              </a:extLst>
            </p:cNvPr>
            <p:cNvGrpSpPr/>
            <p:nvPr userDrawn="1"/>
          </p:nvGrpSpPr>
          <p:grpSpPr>
            <a:xfrm>
              <a:off x="7430073" y="2526177"/>
              <a:ext cx="522368" cy="521335"/>
              <a:chOff x="4241800" y="3695700"/>
              <a:chExt cx="709613" cy="708025"/>
            </a:xfrm>
            <a:solidFill>
              <a:schemeClr val="tx1"/>
            </a:solidFill>
          </p:grpSpPr>
          <p:sp>
            <p:nvSpPr>
              <p:cNvPr id="25" name="Freeform 12">
                <a:extLst>
                  <a:ext uri="{FF2B5EF4-FFF2-40B4-BE49-F238E27FC236}">
                    <a16:creationId xmlns:a16="http://schemas.microsoft.com/office/drawing/2014/main" id="{5E80282E-CB2F-DF46-2242-27894DC80345}"/>
                  </a:ext>
                </a:extLst>
              </p:cNvPr>
              <p:cNvSpPr>
                <a:spLocks noEditPoints="1"/>
              </p:cNvSpPr>
              <p:nvPr/>
            </p:nvSpPr>
            <p:spPr bwMode="auto">
              <a:xfrm>
                <a:off x="4241800" y="3695700"/>
                <a:ext cx="709613" cy="708025"/>
              </a:xfrm>
              <a:custGeom>
                <a:avLst/>
                <a:gdLst>
                  <a:gd name="T0" fmla="*/ 454 w 1188"/>
                  <a:gd name="T1" fmla="*/ 908 h 1187"/>
                  <a:gd name="T2" fmla="*/ 454 w 1188"/>
                  <a:gd name="T3" fmla="*/ 908 h 1187"/>
                  <a:gd name="T4" fmla="*/ 698 w 1188"/>
                  <a:gd name="T5" fmla="*/ 837 h 1187"/>
                  <a:gd name="T6" fmla="*/ 723 w 1188"/>
                  <a:gd name="T7" fmla="*/ 861 h 1187"/>
                  <a:gd name="T8" fmla="*/ 694 w 1188"/>
                  <a:gd name="T9" fmla="*/ 890 h 1187"/>
                  <a:gd name="T10" fmla="*/ 950 w 1188"/>
                  <a:gd name="T11" fmla="*/ 1147 h 1187"/>
                  <a:gd name="T12" fmla="*/ 1049 w 1188"/>
                  <a:gd name="T13" fmla="*/ 1187 h 1187"/>
                  <a:gd name="T14" fmla="*/ 1147 w 1188"/>
                  <a:gd name="T15" fmla="*/ 1147 h 1187"/>
                  <a:gd name="T16" fmla="*/ 1188 w 1188"/>
                  <a:gd name="T17" fmla="*/ 1048 h 1187"/>
                  <a:gd name="T18" fmla="*/ 1147 w 1188"/>
                  <a:gd name="T19" fmla="*/ 950 h 1187"/>
                  <a:gd name="T20" fmla="*/ 890 w 1188"/>
                  <a:gd name="T21" fmla="*/ 693 h 1187"/>
                  <a:gd name="T22" fmla="*/ 861 w 1188"/>
                  <a:gd name="T23" fmla="*/ 722 h 1187"/>
                  <a:gd name="T24" fmla="*/ 837 w 1188"/>
                  <a:gd name="T25" fmla="*/ 698 h 1187"/>
                  <a:gd name="T26" fmla="*/ 907 w 1188"/>
                  <a:gd name="T27" fmla="*/ 422 h 1187"/>
                  <a:gd name="T28" fmla="*/ 775 w 1188"/>
                  <a:gd name="T29" fmla="*/ 133 h 1187"/>
                  <a:gd name="T30" fmla="*/ 454 w 1188"/>
                  <a:gd name="T31" fmla="*/ 0 h 1187"/>
                  <a:gd name="T32" fmla="*/ 133 w 1188"/>
                  <a:gd name="T33" fmla="*/ 133 h 1187"/>
                  <a:gd name="T34" fmla="*/ 0 w 1188"/>
                  <a:gd name="T35" fmla="*/ 454 h 1187"/>
                  <a:gd name="T36" fmla="*/ 133 w 1188"/>
                  <a:gd name="T37" fmla="*/ 775 h 1187"/>
                  <a:gd name="T38" fmla="*/ 454 w 1188"/>
                  <a:gd name="T39" fmla="*/ 908 h 1187"/>
                  <a:gd name="T40" fmla="*/ 1116 w 1188"/>
                  <a:gd name="T41" fmla="*/ 1048 h 1187"/>
                  <a:gd name="T42" fmla="*/ 1096 w 1188"/>
                  <a:gd name="T43" fmla="*/ 1096 h 1187"/>
                  <a:gd name="T44" fmla="*/ 1049 w 1188"/>
                  <a:gd name="T45" fmla="*/ 1115 h 1187"/>
                  <a:gd name="T46" fmla="*/ 1001 w 1188"/>
                  <a:gd name="T47" fmla="*/ 1096 h 1187"/>
                  <a:gd name="T48" fmla="*/ 802 w 1188"/>
                  <a:gd name="T49" fmla="*/ 897 h 1187"/>
                  <a:gd name="T50" fmla="*/ 897 w 1188"/>
                  <a:gd name="T51" fmla="*/ 802 h 1187"/>
                  <a:gd name="T52" fmla="*/ 1096 w 1188"/>
                  <a:gd name="T53" fmla="*/ 1001 h 1187"/>
                  <a:gd name="T54" fmla="*/ 1116 w 1188"/>
                  <a:gd name="T55" fmla="*/ 1048 h 1187"/>
                  <a:gd name="T56" fmla="*/ 774 w 1188"/>
                  <a:gd name="T57" fmla="*/ 810 h 1187"/>
                  <a:gd name="T58" fmla="*/ 756 w 1188"/>
                  <a:gd name="T59" fmla="*/ 793 h 1187"/>
                  <a:gd name="T60" fmla="*/ 756 w 1188"/>
                  <a:gd name="T61" fmla="*/ 793 h 1187"/>
                  <a:gd name="T62" fmla="*/ 765 w 1188"/>
                  <a:gd name="T63" fmla="*/ 785 h 1187"/>
                  <a:gd name="T64" fmla="*/ 767 w 1188"/>
                  <a:gd name="T65" fmla="*/ 783 h 1187"/>
                  <a:gd name="T66" fmla="*/ 775 w 1188"/>
                  <a:gd name="T67" fmla="*/ 775 h 1187"/>
                  <a:gd name="T68" fmla="*/ 784 w 1188"/>
                  <a:gd name="T69" fmla="*/ 766 h 1187"/>
                  <a:gd name="T70" fmla="*/ 785 w 1188"/>
                  <a:gd name="T71" fmla="*/ 765 h 1187"/>
                  <a:gd name="T72" fmla="*/ 793 w 1188"/>
                  <a:gd name="T73" fmla="*/ 756 h 1187"/>
                  <a:gd name="T74" fmla="*/ 793 w 1188"/>
                  <a:gd name="T75" fmla="*/ 756 h 1187"/>
                  <a:gd name="T76" fmla="*/ 810 w 1188"/>
                  <a:gd name="T77" fmla="*/ 773 h 1187"/>
                  <a:gd name="T78" fmla="*/ 774 w 1188"/>
                  <a:gd name="T79" fmla="*/ 810 h 1187"/>
                  <a:gd name="T80" fmla="*/ 184 w 1188"/>
                  <a:gd name="T81" fmla="*/ 184 h 1187"/>
                  <a:gd name="T82" fmla="*/ 454 w 1188"/>
                  <a:gd name="T83" fmla="*/ 72 h 1187"/>
                  <a:gd name="T84" fmla="*/ 724 w 1188"/>
                  <a:gd name="T85" fmla="*/ 184 h 1187"/>
                  <a:gd name="T86" fmla="*/ 835 w 1188"/>
                  <a:gd name="T87" fmla="*/ 427 h 1187"/>
                  <a:gd name="T88" fmla="*/ 762 w 1188"/>
                  <a:gd name="T89" fmla="*/ 681 h 1187"/>
                  <a:gd name="T90" fmla="*/ 762 w 1188"/>
                  <a:gd name="T91" fmla="*/ 681 h 1187"/>
                  <a:gd name="T92" fmla="*/ 724 w 1188"/>
                  <a:gd name="T93" fmla="*/ 724 h 1187"/>
                  <a:gd name="T94" fmla="*/ 711 w 1188"/>
                  <a:gd name="T95" fmla="*/ 737 h 1187"/>
                  <a:gd name="T96" fmla="*/ 681 w 1188"/>
                  <a:gd name="T97" fmla="*/ 761 h 1187"/>
                  <a:gd name="T98" fmla="*/ 454 w 1188"/>
                  <a:gd name="T99" fmla="*/ 836 h 1187"/>
                  <a:gd name="T100" fmla="*/ 184 w 1188"/>
                  <a:gd name="T101" fmla="*/ 724 h 1187"/>
                  <a:gd name="T102" fmla="*/ 184 w 1188"/>
                  <a:gd name="T103" fmla="*/ 184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8" h="1187">
                    <a:moveTo>
                      <a:pt x="454" y="908"/>
                    </a:moveTo>
                    <a:cubicBezTo>
                      <a:pt x="454" y="908"/>
                      <a:pt x="454" y="908"/>
                      <a:pt x="454" y="908"/>
                    </a:cubicBezTo>
                    <a:cubicBezTo>
                      <a:pt x="542" y="908"/>
                      <a:pt x="626" y="883"/>
                      <a:pt x="698" y="837"/>
                    </a:cubicBezTo>
                    <a:cubicBezTo>
                      <a:pt x="723" y="861"/>
                      <a:pt x="723" y="861"/>
                      <a:pt x="723" y="861"/>
                    </a:cubicBezTo>
                    <a:cubicBezTo>
                      <a:pt x="694" y="890"/>
                      <a:pt x="694" y="890"/>
                      <a:pt x="694" y="890"/>
                    </a:cubicBezTo>
                    <a:cubicBezTo>
                      <a:pt x="950" y="1147"/>
                      <a:pt x="950" y="1147"/>
                      <a:pt x="950" y="1147"/>
                    </a:cubicBezTo>
                    <a:cubicBezTo>
                      <a:pt x="977" y="1173"/>
                      <a:pt x="1012" y="1187"/>
                      <a:pt x="1049" y="1187"/>
                    </a:cubicBezTo>
                    <a:cubicBezTo>
                      <a:pt x="1086" y="1187"/>
                      <a:pt x="1121" y="1173"/>
                      <a:pt x="1147" y="1147"/>
                    </a:cubicBezTo>
                    <a:cubicBezTo>
                      <a:pt x="1173" y="1120"/>
                      <a:pt x="1188" y="1086"/>
                      <a:pt x="1188" y="1048"/>
                    </a:cubicBezTo>
                    <a:cubicBezTo>
                      <a:pt x="1188" y="1011"/>
                      <a:pt x="1173" y="976"/>
                      <a:pt x="1147" y="950"/>
                    </a:cubicBezTo>
                    <a:cubicBezTo>
                      <a:pt x="890" y="693"/>
                      <a:pt x="890" y="693"/>
                      <a:pt x="890" y="693"/>
                    </a:cubicBezTo>
                    <a:cubicBezTo>
                      <a:pt x="861" y="722"/>
                      <a:pt x="861" y="722"/>
                      <a:pt x="861" y="722"/>
                    </a:cubicBezTo>
                    <a:cubicBezTo>
                      <a:pt x="837" y="698"/>
                      <a:pt x="837" y="698"/>
                      <a:pt x="837" y="698"/>
                    </a:cubicBezTo>
                    <a:cubicBezTo>
                      <a:pt x="889" y="616"/>
                      <a:pt x="914" y="520"/>
                      <a:pt x="907" y="422"/>
                    </a:cubicBezTo>
                    <a:cubicBezTo>
                      <a:pt x="899" y="313"/>
                      <a:pt x="853" y="210"/>
                      <a:pt x="775" y="133"/>
                    </a:cubicBezTo>
                    <a:cubicBezTo>
                      <a:pt x="689" y="47"/>
                      <a:pt x="576" y="0"/>
                      <a:pt x="454" y="0"/>
                    </a:cubicBezTo>
                    <a:cubicBezTo>
                      <a:pt x="333" y="0"/>
                      <a:pt x="219" y="47"/>
                      <a:pt x="133" y="133"/>
                    </a:cubicBezTo>
                    <a:cubicBezTo>
                      <a:pt x="48" y="219"/>
                      <a:pt x="0" y="333"/>
                      <a:pt x="0" y="454"/>
                    </a:cubicBezTo>
                    <a:cubicBezTo>
                      <a:pt x="0" y="575"/>
                      <a:pt x="48" y="689"/>
                      <a:pt x="133" y="775"/>
                    </a:cubicBezTo>
                    <a:cubicBezTo>
                      <a:pt x="219" y="861"/>
                      <a:pt x="333" y="908"/>
                      <a:pt x="454" y="908"/>
                    </a:cubicBezTo>
                    <a:close/>
                    <a:moveTo>
                      <a:pt x="1116" y="1048"/>
                    </a:moveTo>
                    <a:cubicBezTo>
                      <a:pt x="1116" y="1066"/>
                      <a:pt x="1109" y="1083"/>
                      <a:pt x="1096" y="1096"/>
                    </a:cubicBezTo>
                    <a:cubicBezTo>
                      <a:pt x="1083" y="1108"/>
                      <a:pt x="1067" y="1115"/>
                      <a:pt x="1049" y="1115"/>
                    </a:cubicBezTo>
                    <a:cubicBezTo>
                      <a:pt x="1031" y="1115"/>
                      <a:pt x="1014" y="1108"/>
                      <a:pt x="1001" y="1096"/>
                    </a:cubicBezTo>
                    <a:cubicBezTo>
                      <a:pt x="802" y="897"/>
                      <a:pt x="802" y="897"/>
                      <a:pt x="802" y="897"/>
                    </a:cubicBezTo>
                    <a:cubicBezTo>
                      <a:pt x="897" y="802"/>
                      <a:pt x="897" y="802"/>
                      <a:pt x="897" y="802"/>
                    </a:cubicBezTo>
                    <a:cubicBezTo>
                      <a:pt x="1096" y="1001"/>
                      <a:pt x="1096" y="1001"/>
                      <a:pt x="1096" y="1001"/>
                    </a:cubicBezTo>
                    <a:cubicBezTo>
                      <a:pt x="1109" y="1014"/>
                      <a:pt x="1116" y="1031"/>
                      <a:pt x="1116" y="1048"/>
                    </a:cubicBezTo>
                    <a:close/>
                    <a:moveTo>
                      <a:pt x="774" y="810"/>
                    </a:moveTo>
                    <a:cubicBezTo>
                      <a:pt x="756" y="793"/>
                      <a:pt x="756" y="793"/>
                      <a:pt x="756" y="793"/>
                    </a:cubicBezTo>
                    <a:cubicBezTo>
                      <a:pt x="756" y="793"/>
                      <a:pt x="756" y="793"/>
                      <a:pt x="756" y="793"/>
                    </a:cubicBezTo>
                    <a:cubicBezTo>
                      <a:pt x="759" y="790"/>
                      <a:pt x="762" y="787"/>
                      <a:pt x="765" y="785"/>
                    </a:cubicBezTo>
                    <a:cubicBezTo>
                      <a:pt x="766" y="784"/>
                      <a:pt x="766" y="784"/>
                      <a:pt x="767" y="783"/>
                    </a:cubicBezTo>
                    <a:cubicBezTo>
                      <a:pt x="770" y="780"/>
                      <a:pt x="772" y="778"/>
                      <a:pt x="775" y="775"/>
                    </a:cubicBezTo>
                    <a:cubicBezTo>
                      <a:pt x="778" y="772"/>
                      <a:pt x="781" y="769"/>
                      <a:pt x="784" y="766"/>
                    </a:cubicBezTo>
                    <a:cubicBezTo>
                      <a:pt x="784" y="766"/>
                      <a:pt x="785" y="765"/>
                      <a:pt x="785" y="765"/>
                    </a:cubicBezTo>
                    <a:cubicBezTo>
                      <a:pt x="788" y="762"/>
                      <a:pt x="790" y="759"/>
                      <a:pt x="793" y="756"/>
                    </a:cubicBezTo>
                    <a:cubicBezTo>
                      <a:pt x="793" y="756"/>
                      <a:pt x="793" y="756"/>
                      <a:pt x="793" y="756"/>
                    </a:cubicBezTo>
                    <a:cubicBezTo>
                      <a:pt x="810" y="773"/>
                      <a:pt x="810" y="773"/>
                      <a:pt x="810" y="773"/>
                    </a:cubicBezTo>
                    <a:lnTo>
                      <a:pt x="774" y="810"/>
                    </a:lnTo>
                    <a:close/>
                    <a:moveTo>
                      <a:pt x="184" y="184"/>
                    </a:moveTo>
                    <a:cubicBezTo>
                      <a:pt x="256" y="112"/>
                      <a:pt x="352" y="72"/>
                      <a:pt x="454" y="72"/>
                    </a:cubicBezTo>
                    <a:cubicBezTo>
                      <a:pt x="556" y="72"/>
                      <a:pt x="652" y="112"/>
                      <a:pt x="724" y="184"/>
                    </a:cubicBezTo>
                    <a:cubicBezTo>
                      <a:pt x="789" y="249"/>
                      <a:pt x="829" y="335"/>
                      <a:pt x="835" y="427"/>
                    </a:cubicBezTo>
                    <a:cubicBezTo>
                      <a:pt x="842" y="518"/>
                      <a:pt x="815" y="608"/>
                      <a:pt x="762" y="681"/>
                    </a:cubicBezTo>
                    <a:cubicBezTo>
                      <a:pt x="762" y="681"/>
                      <a:pt x="762" y="681"/>
                      <a:pt x="762" y="681"/>
                    </a:cubicBezTo>
                    <a:cubicBezTo>
                      <a:pt x="750" y="696"/>
                      <a:pt x="738" y="711"/>
                      <a:pt x="724" y="724"/>
                    </a:cubicBezTo>
                    <a:cubicBezTo>
                      <a:pt x="720" y="728"/>
                      <a:pt x="716" y="733"/>
                      <a:pt x="711" y="737"/>
                    </a:cubicBezTo>
                    <a:cubicBezTo>
                      <a:pt x="701" y="745"/>
                      <a:pt x="692" y="754"/>
                      <a:pt x="681" y="761"/>
                    </a:cubicBezTo>
                    <a:cubicBezTo>
                      <a:pt x="615" y="810"/>
                      <a:pt x="537" y="836"/>
                      <a:pt x="454" y="836"/>
                    </a:cubicBezTo>
                    <a:cubicBezTo>
                      <a:pt x="352" y="836"/>
                      <a:pt x="256" y="796"/>
                      <a:pt x="184" y="724"/>
                    </a:cubicBezTo>
                    <a:cubicBezTo>
                      <a:pt x="35" y="575"/>
                      <a:pt x="35" y="333"/>
                      <a:pt x="184" y="184"/>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sp>
            <p:nvSpPr>
              <p:cNvPr id="26" name="Freeform 13">
                <a:extLst>
                  <a:ext uri="{FF2B5EF4-FFF2-40B4-BE49-F238E27FC236}">
                    <a16:creationId xmlns:a16="http://schemas.microsoft.com/office/drawing/2014/main" id="{45717F75-766A-B9BC-6E93-AA71985C2E9B}"/>
                  </a:ext>
                </a:extLst>
              </p:cNvPr>
              <p:cNvSpPr>
                <a:spLocks noEditPoints="1"/>
              </p:cNvSpPr>
              <p:nvPr/>
            </p:nvSpPr>
            <p:spPr bwMode="auto">
              <a:xfrm>
                <a:off x="4311650" y="3781425"/>
                <a:ext cx="404813" cy="369888"/>
              </a:xfrm>
              <a:custGeom>
                <a:avLst/>
                <a:gdLst>
                  <a:gd name="T0" fmla="*/ 320 w 677"/>
                  <a:gd name="T1" fmla="*/ 617 h 618"/>
                  <a:gd name="T2" fmla="*/ 320 w 677"/>
                  <a:gd name="T3" fmla="*/ 618 h 618"/>
                  <a:gd name="T4" fmla="*/ 338 w 677"/>
                  <a:gd name="T5" fmla="*/ 618 h 618"/>
                  <a:gd name="T6" fmla="*/ 522 w 677"/>
                  <a:gd name="T7" fmla="*/ 557 h 618"/>
                  <a:gd name="T8" fmla="*/ 556 w 677"/>
                  <a:gd name="T9" fmla="*/ 527 h 618"/>
                  <a:gd name="T10" fmla="*/ 587 w 677"/>
                  <a:gd name="T11" fmla="*/ 492 h 618"/>
                  <a:gd name="T12" fmla="*/ 556 w 677"/>
                  <a:gd name="T13" fmla="*/ 91 h 618"/>
                  <a:gd name="T14" fmla="*/ 338 w 677"/>
                  <a:gd name="T15" fmla="*/ 0 h 618"/>
                  <a:gd name="T16" fmla="*/ 120 w 677"/>
                  <a:gd name="T17" fmla="*/ 91 h 618"/>
                  <a:gd name="T18" fmla="*/ 120 w 677"/>
                  <a:gd name="T19" fmla="*/ 527 h 618"/>
                  <a:gd name="T20" fmla="*/ 320 w 677"/>
                  <a:gd name="T21" fmla="*/ 617 h 618"/>
                  <a:gd name="T22" fmla="*/ 146 w 677"/>
                  <a:gd name="T23" fmla="*/ 116 h 618"/>
                  <a:gd name="T24" fmla="*/ 338 w 677"/>
                  <a:gd name="T25" fmla="*/ 36 h 618"/>
                  <a:gd name="T26" fmla="*/ 531 w 677"/>
                  <a:gd name="T27" fmla="*/ 116 h 618"/>
                  <a:gd name="T28" fmla="*/ 558 w 677"/>
                  <a:gd name="T29" fmla="*/ 471 h 618"/>
                  <a:gd name="T30" fmla="*/ 531 w 677"/>
                  <a:gd name="T31" fmla="*/ 502 h 618"/>
                  <a:gd name="T32" fmla="*/ 500 w 677"/>
                  <a:gd name="T33" fmla="*/ 528 h 618"/>
                  <a:gd name="T34" fmla="*/ 340 w 677"/>
                  <a:gd name="T35" fmla="*/ 582 h 618"/>
                  <a:gd name="T36" fmla="*/ 338 w 677"/>
                  <a:gd name="T37" fmla="*/ 582 h 618"/>
                  <a:gd name="T38" fmla="*/ 146 w 677"/>
                  <a:gd name="T39" fmla="*/ 502 h 618"/>
                  <a:gd name="T40" fmla="*/ 146 w 677"/>
                  <a:gd name="T41" fmla="*/ 11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7" h="618">
                    <a:moveTo>
                      <a:pt x="320" y="617"/>
                    </a:moveTo>
                    <a:cubicBezTo>
                      <a:pt x="320" y="618"/>
                      <a:pt x="320" y="618"/>
                      <a:pt x="320" y="618"/>
                    </a:cubicBezTo>
                    <a:cubicBezTo>
                      <a:pt x="338" y="618"/>
                      <a:pt x="338" y="618"/>
                      <a:pt x="338" y="618"/>
                    </a:cubicBezTo>
                    <a:cubicBezTo>
                      <a:pt x="405" y="618"/>
                      <a:pt x="468" y="597"/>
                      <a:pt x="522" y="557"/>
                    </a:cubicBezTo>
                    <a:cubicBezTo>
                      <a:pt x="534" y="548"/>
                      <a:pt x="546" y="538"/>
                      <a:pt x="556" y="527"/>
                    </a:cubicBezTo>
                    <a:cubicBezTo>
                      <a:pt x="567" y="516"/>
                      <a:pt x="577" y="505"/>
                      <a:pt x="587" y="492"/>
                    </a:cubicBezTo>
                    <a:cubicBezTo>
                      <a:pt x="677" y="371"/>
                      <a:pt x="664" y="198"/>
                      <a:pt x="556" y="91"/>
                    </a:cubicBezTo>
                    <a:cubicBezTo>
                      <a:pt x="498" y="33"/>
                      <a:pt x="421" y="0"/>
                      <a:pt x="338" y="0"/>
                    </a:cubicBezTo>
                    <a:cubicBezTo>
                      <a:pt x="256" y="0"/>
                      <a:pt x="178" y="33"/>
                      <a:pt x="120" y="91"/>
                    </a:cubicBezTo>
                    <a:cubicBezTo>
                      <a:pt x="0" y="211"/>
                      <a:pt x="0" y="407"/>
                      <a:pt x="120" y="527"/>
                    </a:cubicBezTo>
                    <a:cubicBezTo>
                      <a:pt x="174" y="581"/>
                      <a:pt x="245" y="613"/>
                      <a:pt x="320" y="617"/>
                    </a:cubicBezTo>
                    <a:close/>
                    <a:moveTo>
                      <a:pt x="146" y="116"/>
                    </a:moveTo>
                    <a:cubicBezTo>
                      <a:pt x="197" y="65"/>
                      <a:pt x="265" y="36"/>
                      <a:pt x="338" y="36"/>
                    </a:cubicBezTo>
                    <a:cubicBezTo>
                      <a:pt x="411" y="36"/>
                      <a:pt x="480" y="65"/>
                      <a:pt x="531" y="116"/>
                    </a:cubicBezTo>
                    <a:cubicBezTo>
                      <a:pt x="626" y="211"/>
                      <a:pt x="637" y="363"/>
                      <a:pt x="558" y="471"/>
                    </a:cubicBezTo>
                    <a:cubicBezTo>
                      <a:pt x="550" y="482"/>
                      <a:pt x="541" y="492"/>
                      <a:pt x="531" y="502"/>
                    </a:cubicBezTo>
                    <a:cubicBezTo>
                      <a:pt x="521" y="511"/>
                      <a:pt x="511" y="520"/>
                      <a:pt x="500" y="528"/>
                    </a:cubicBezTo>
                    <a:cubicBezTo>
                      <a:pt x="454" y="563"/>
                      <a:pt x="398" y="581"/>
                      <a:pt x="340" y="582"/>
                    </a:cubicBezTo>
                    <a:cubicBezTo>
                      <a:pt x="338" y="582"/>
                      <a:pt x="338" y="582"/>
                      <a:pt x="338" y="582"/>
                    </a:cubicBezTo>
                    <a:cubicBezTo>
                      <a:pt x="265" y="582"/>
                      <a:pt x="197" y="553"/>
                      <a:pt x="146" y="502"/>
                    </a:cubicBezTo>
                    <a:cubicBezTo>
                      <a:pt x="39" y="395"/>
                      <a:pt x="39" y="223"/>
                      <a:pt x="146"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id-ID">
                  <a:latin typeface="Calibri Light"/>
                </a:endParaRPr>
              </a:p>
            </p:txBody>
          </p:sp>
        </p:grpSp>
        <p:sp>
          <p:nvSpPr>
            <p:cNvPr id="31" name="ZoneTexte 36">
              <a:extLst>
                <a:ext uri="{FF2B5EF4-FFF2-40B4-BE49-F238E27FC236}">
                  <a16:creationId xmlns:a16="http://schemas.microsoft.com/office/drawing/2014/main" id="{B6A8FF9C-5D72-FEA6-5306-51544888D2B8}"/>
                </a:ext>
              </a:extLst>
            </p:cNvPr>
            <p:cNvSpPr txBox="1">
              <a:spLocks noChangeArrowheads="1"/>
            </p:cNvSpPr>
            <p:nvPr userDrawn="1"/>
          </p:nvSpPr>
          <p:spPr bwMode="auto">
            <a:xfrm>
              <a:off x="1697751" y="3123535"/>
              <a:ext cx="18473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pPr>
              <a:endParaRPr lang="fr-FR" altLang="en-US" sz="9600">
                <a:solidFill>
                  <a:schemeClr val="accent1"/>
                </a:solidFill>
                <a:latin typeface="Fave Script Bold Pro" pitchFamily="2" charset="77"/>
                <a:ea typeface="Fira Sans ExtraBold" panose="020B0903050000020004" pitchFamily="34" charset="0"/>
              </a:endParaRPr>
            </a:p>
          </p:txBody>
        </p:sp>
      </p:grpSp>
      <p:sp>
        <p:nvSpPr>
          <p:cNvPr id="34" name="Segnaposto testo 4">
            <a:extLst>
              <a:ext uri="{FF2B5EF4-FFF2-40B4-BE49-F238E27FC236}">
                <a16:creationId xmlns:a16="http://schemas.microsoft.com/office/drawing/2014/main" id="{13661026-7802-F544-26E3-99F5E39F17DA}"/>
              </a:ext>
            </a:extLst>
          </p:cNvPr>
          <p:cNvSpPr>
            <a:spLocks noGrp="1"/>
          </p:cNvSpPr>
          <p:nvPr userDrawn="1">
            <p:ph type="body" sz="quarter" idx="33" hasCustomPrompt="1"/>
          </p:nvPr>
        </p:nvSpPr>
        <p:spPr>
          <a:xfrm>
            <a:off x="4441832" y="1741467"/>
            <a:ext cx="1488561"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01</a:t>
            </a:r>
          </a:p>
        </p:txBody>
      </p:sp>
      <p:sp>
        <p:nvSpPr>
          <p:cNvPr id="35" name="Segnaposto testo 4">
            <a:extLst>
              <a:ext uri="{FF2B5EF4-FFF2-40B4-BE49-F238E27FC236}">
                <a16:creationId xmlns:a16="http://schemas.microsoft.com/office/drawing/2014/main" id="{0FF19657-11ED-8445-579B-D1D2898A3D23}"/>
              </a:ext>
            </a:extLst>
          </p:cNvPr>
          <p:cNvSpPr>
            <a:spLocks noGrp="1"/>
          </p:cNvSpPr>
          <p:nvPr userDrawn="1">
            <p:ph type="body" sz="quarter" idx="34" hasCustomPrompt="1"/>
          </p:nvPr>
        </p:nvSpPr>
        <p:spPr>
          <a:xfrm>
            <a:off x="7297170" y="1737651"/>
            <a:ext cx="1488561"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02</a:t>
            </a:r>
          </a:p>
        </p:txBody>
      </p:sp>
      <p:sp>
        <p:nvSpPr>
          <p:cNvPr id="36" name="Segnaposto testo 4">
            <a:extLst>
              <a:ext uri="{FF2B5EF4-FFF2-40B4-BE49-F238E27FC236}">
                <a16:creationId xmlns:a16="http://schemas.microsoft.com/office/drawing/2014/main" id="{3B2C758E-CA09-13C4-EF49-8469560ABAC3}"/>
              </a:ext>
            </a:extLst>
          </p:cNvPr>
          <p:cNvSpPr>
            <a:spLocks noGrp="1"/>
          </p:cNvSpPr>
          <p:nvPr userDrawn="1">
            <p:ph type="body" sz="quarter" idx="35" hasCustomPrompt="1"/>
          </p:nvPr>
        </p:nvSpPr>
        <p:spPr>
          <a:xfrm>
            <a:off x="10134346" y="1737189"/>
            <a:ext cx="1488561" cy="432523"/>
          </a:xfrm>
        </p:spPr>
        <p:txBody>
          <a:bodyPr numCol="1" spcCol="360000" anchor="ctr">
            <a:noAutofit/>
          </a:bodyPr>
          <a:lstStyle>
            <a:lvl1pPr marL="0" indent="0" algn="r">
              <a:lnSpc>
                <a:spcPct val="100000"/>
              </a:lnSpc>
              <a:buNone/>
              <a:defRPr sz="2400" b="1" i="0">
                <a:solidFill>
                  <a:schemeClr val="tx1"/>
                </a:solidFill>
                <a:latin typeface="Prometo" panose="020B0604030203060203" pitchFamily="34" charset="77"/>
                <a:cs typeface="Arial" panose="020B0604020202020204" pitchFamily="34" charset="0"/>
              </a:defRPr>
            </a:lvl1pPr>
          </a:lstStyle>
          <a:p>
            <a:pPr lvl="0"/>
            <a:r>
              <a:rPr lang="en-US" noProof="0"/>
              <a:t>STEP 03</a:t>
            </a:r>
          </a:p>
        </p:txBody>
      </p:sp>
      <p:sp>
        <p:nvSpPr>
          <p:cNvPr id="37" name="Segnaposto testo 4">
            <a:extLst>
              <a:ext uri="{FF2B5EF4-FFF2-40B4-BE49-F238E27FC236}">
                <a16:creationId xmlns:a16="http://schemas.microsoft.com/office/drawing/2014/main" id="{6ED3CB3A-9629-C6EF-F00F-484C30F7CE9D}"/>
              </a:ext>
            </a:extLst>
          </p:cNvPr>
          <p:cNvSpPr>
            <a:spLocks noGrp="1"/>
          </p:cNvSpPr>
          <p:nvPr userDrawn="1">
            <p:ph type="body" sz="quarter" idx="36" hasCustomPrompt="1"/>
          </p:nvPr>
        </p:nvSpPr>
        <p:spPr>
          <a:xfrm>
            <a:off x="3999857" y="3200895"/>
            <a:ext cx="1829443" cy="432523"/>
          </a:xfrm>
        </p:spPr>
        <p:txBody>
          <a:bodyPr numCol="1" spcCol="360000">
            <a:normAutofit/>
          </a:bodyPr>
          <a:lstStyle>
            <a:lvl1pPr marL="0" indent="0" algn="just">
              <a:lnSpc>
                <a:spcPct val="100000"/>
              </a:lnSpc>
              <a:buNone/>
              <a:defRPr sz="12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38" name="Segnaposto testo 4">
            <a:extLst>
              <a:ext uri="{FF2B5EF4-FFF2-40B4-BE49-F238E27FC236}">
                <a16:creationId xmlns:a16="http://schemas.microsoft.com/office/drawing/2014/main" id="{7C474EC1-5A01-01D6-85EB-9A82A922C915}"/>
              </a:ext>
            </a:extLst>
          </p:cNvPr>
          <p:cNvSpPr>
            <a:spLocks noGrp="1"/>
          </p:cNvSpPr>
          <p:nvPr userDrawn="1">
            <p:ph type="body" sz="quarter" idx="37" hasCustomPrompt="1"/>
          </p:nvPr>
        </p:nvSpPr>
        <p:spPr>
          <a:xfrm>
            <a:off x="3989508" y="3713077"/>
            <a:ext cx="1829443" cy="432523"/>
          </a:xfrm>
        </p:spPr>
        <p:txBody>
          <a:bodyPr numCol="1" spcCol="360000">
            <a:normAutofit/>
          </a:bodyPr>
          <a:lstStyle>
            <a:lvl1pPr marL="0" indent="0" algn="just">
              <a:lnSpc>
                <a:spcPct val="100000"/>
              </a:lnSpc>
              <a:buNone/>
              <a:defRPr sz="1000" b="0"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39" name="Segnaposto testo 4">
            <a:extLst>
              <a:ext uri="{FF2B5EF4-FFF2-40B4-BE49-F238E27FC236}">
                <a16:creationId xmlns:a16="http://schemas.microsoft.com/office/drawing/2014/main" id="{097FD1D5-9B2C-3CBD-8FAD-8441BD8C5508}"/>
              </a:ext>
            </a:extLst>
          </p:cNvPr>
          <p:cNvSpPr>
            <a:spLocks noGrp="1"/>
          </p:cNvSpPr>
          <p:nvPr userDrawn="1">
            <p:ph type="body" sz="quarter" idx="38" hasCustomPrompt="1"/>
          </p:nvPr>
        </p:nvSpPr>
        <p:spPr>
          <a:xfrm>
            <a:off x="6752582" y="3212738"/>
            <a:ext cx="1829443" cy="432523"/>
          </a:xfrm>
        </p:spPr>
        <p:txBody>
          <a:bodyPr numCol="1" spcCol="360000">
            <a:normAutofit/>
          </a:bodyPr>
          <a:lstStyle>
            <a:lvl1pPr marL="0" indent="0" algn="just">
              <a:lnSpc>
                <a:spcPct val="100000"/>
              </a:lnSpc>
              <a:buNone/>
              <a:defRPr sz="12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40" name="Segnaposto testo 4">
            <a:extLst>
              <a:ext uri="{FF2B5EF4-FFF2-40B4-BE49-F238E27FC236}">
                <a16:creationId xmlns:a16="http://schemas.microsoft.com/office/drawing/2014/main" id="{E916F6DF-C5A7-2F3E-9499-E806AE5645DF}"/>
              </a:ext>
            </a:extLst>
          </p:cNvPr>
          <p:cNvSpPr>
            <a:spLocks noGrp="1"/>
          </p:cNvSpPr>
          <p:nvPr userDrawn="1">
            <p:ph type="body" sz="quarter" idx="39" hasCustomPrompt="1"/>
          </p:nvPr>
        </p:nvSpPr>
        <p:spPr>
          <a:xfrm>
            <a:off x="6742233" y="3724920"/>
            <a:ext cx="1829443" cy="432523"/>
          </a:xfrm>
        </p:spPr>
        <p:txBody>
          <a:bodyPr numCol="1" spcCol="360000">
            <a:normAutofit/>
          </a:bodyPr>
          <a:lstStyle>
            <a:lvl1pPr marL="0" indent="0" algn="just">
              <a:lnSpc>
                <a:spcPct val="100000"/>
              </a:lnSpc>
              <a:buNone/>
              <a:defRPr sz="1000" b="0"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41" name="Segnaposto testo 4">
            <a:extLst>
              <a:ext uri="{FF2B5EF4-FFF2-40B4-BE49-F238E27FC236}">
                <a16:creationId xmlns:a16="http://schemas.microsoft.com/office/drawing/2014/main" id="{41204191-E21D-7742-A1C8-73C19887BD9A}"/>
              </a:ext>
            </a:extLst>
          </p:cNvPr>
          <p:cNvSpPr>
            <a:spLocks noGrp="1"/>
          </p:cNvSpPr>
          <p:nvPr userDrawn="1">
            <p:ph type="body" sz="quarter" idx="40" hasCustomPrompt="1"/>
          </p:nvPr>
        </p:nvSpPr>
        <p:spPr>
          <a:xfrm>
            <a:off x="9631218" y="3200895"/>
            <a:ext cx="1829443" cy="432523"/>
          </a:xfrm>
        </p:spPr>
        <p:txBody>
          <a:bodyPr numCol="1" spcCol="360000">
            <a:normAutofit/>
          </a:bodyPr>
          <a:lstStyle>
            <a:lvl1pPr marL="0" indent="0" algn="just">
              <a:lnSpc>
                <a:spcPct val="100000"/>
              </a:lnSpc>
              <a:buNone/>
              <a:defRPr sz="12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42" name="Segnaposto testo 4">
            <a:extLst>
              <a:ext uri="{FF2B5EF4-FFF2-40B4-BE49-F238E27FC236}">
                <a16:creationId xmlns:a16="http://schemas.microsoft.com/office/drawing/2014/main" id="{3A605663-B31A-DD54-091A-D9937A80BDDC}"/>
              </a:ext>
            </a:extLst>
          </p:cNvPr>
          <p:cNvSpPr>
            <a:spLocks noGrp="1"/>
          </p:cNvSpPr>
          <p:nvPr userDrawn="1">
            <p:ph type="body" sz="quarter" idx="41" hasCustomPrompt="1"/>
          </p:nvPr>
        </p:nvSpPr>
        <p:spPr>
          <a:xfrm>
            <a:off x="9620869" y="3713077"/>
            <a:ext cx="1829443" cy="432523"/>
          </a:xfrm>
        </p:spPr>
        <p:txBody>
          <a:bodyPr numCol="1" spcCol="360000">
            <a:normAutofit/>
          </a:bodyPr>
          <a:lstStyle>
            <a:lvl1pPr marL="0" indent="0" algn="just">
              <a:lnSpc>
                <a:spcPct val="100000"/>
              </a:lnSpc>
              <a:buNone/>
              <a:defRPr sz="1000" b="0"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44" name="Tijdelijke aanduiding voor tekst 22">
            <a:extLst>
              <a:ext uri="{FF2B5EF4-FFF2-40B4-BE49-F238E27FC236}">
                <a16:creationId xmlns:a16="http://schemas.microsoft.com/office/drawing/2014/main" id="{BB3D7711-C7AA-486D-B92F-2408CDF3954E}"/>
              </a:ext>
            </a:extLst>
          </p:cNvPr>
          <p:cNvSpPr>
            <a:spLocks noGrp="1"/>
          </p:cNvSpPr>
          <p:nvPr userDrawn="1">
            <p:ph type="body" sz="quarter" idx="16" hasCustomPrompt="1"/>
          </p:nvPr>
        </p:nvSpPr>
        <p:spPr>
          <a:xfrm>
            <a:off x="1195726" y="3565331"/>
            <a:ext cx="1733211" cy="751699"/>
          </a:xfrm>
        </p:spPr>
        <p:txBody>
          <a:bodyPr numCol="1" anchor="ctr">
            <a:noAutofit/>
          </a:bodyPr>
          <a:lstStyle>
            <a:lvl1pPr algn="ctr">
              <a:lnSpc>
                <a:spcPct val="100000"/>
              </a:lnSpc>
              <a:defRPr sz="7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err="1"/>
              <a:t>Edit</a:t>
            </a:r>
            <a:endParaRPr lang="en-GB"/>
          </a:p>
        </p:txBody>
      </p:sp>
      <p:sp>
        <p:nvSpPr>
          <p:cNvPr id="45" name="Segnaposto testo 4">
            <a:extLst>
              <a:ext uri="{FF2B5EF4-FFF2-40B4-BE49-F238E27FC236}">
                <a16:creationId xmlns:a16="http://schemas.microsoft.com/office/drawing/2014/main" id="{9DA63ED2-3DC5-F6A3-59F9-F253947EDC41}"/>
              </a:ext>
            </a:extLst>
          </p:cNvPr>
          <p:cNvSpPr>
            <a:spLocks noGrp="1"/>
          </p:cNvSpPr>
          <p:nvPr userDrawn="1">
            <p:ph type="body" sz="quarter" idx="42" hasCustomPrompt="1"/>
          </p:nvPr>
        </p:nvSpPr>
        <p:spPr>
          <a:xfrm>
            <a:off x="569093" y="4365797"/>
            <a:ext cx="2959920" cy="131978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6" name="Segnaposto testo 4">
            <a:extLst>
              <a:ext uri="{FF2B5EF4-FFF2-40B4-BE49-F238E27FC236}">
                <a16:creationId xmlns:a16="http://schemas.microsoft.com/office/drawing/2014/main" id="{F5E58CB0-42E2-CC18-80A8-10C7877C11F6}"/>
              </a:ext>
            </a:extLst>
          </p:cNvPr>
          <p:cNvSpPr>
            <a:spLocks noGrp="1"/>
          </p:cNvSpPr>
          <p:nvPr userDrawn="1">
            <p:ph type="body" sz="quarter" idx="43" hasCustomPrompt="1"/>
          </p:nvPr>
        </p:nvSpPr>
        <p:spPr>
          <a:xfrm>
            <a:off x="569093" y="3085297"/>
            <a:ext cx="2959920" cy="414744"/>
          </a:xfrm>
        </p:spPr>
        <p:txBody>
          <a:bodyPr numCol="1" spcCol="360000">
            <a:normAutofit/>
          </a:bodyPr>
          <a:lstStyle>
            <a:lvl1pPr marL="0" indent="0" algn="just">
              <a:lnSpc>
                <a:spcPct val="100000"/>
              </a:lnSpc>
              <a:buNone/>
              <a:defRPr sz="14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Tree>
    <p:extLst>
      <p:ext uri="{BB962C8B-B14F-4D97-AF65-F5344CB8AC3E}">
        <p14:creationId xmlns:p14="http://schemas.microsoft.com/office/powerpoint/2010/main" val="2156990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ext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numCol="1" rtlCol="0" anchor="b"/>
          <a:lstStyle>
            <a:lvl1pPr algn="r">
              <a:lnSpc>
                <a:spcPct val="100000"/>
              </a:lnSpc>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numCol="1" rtlCol="0" anchor="ctr"/>
          <a:lstStyle>
            <a:lvl1pPr algn="r">
              <a:lnSpc>
                <a:spcPct val="100000"/>
              </a:lnSpc>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grpSp>
        <p:nvGrpSpPr>
          <p:cNvPr id="82" name="Groep 81">
            <a:extLst>
              <a:ext uri="{FF2B5EF4-FFF2-40B4-BE49-F238E27FC236}">
                <a16:creationId xmlns:a16="http://schemas.microsoft.com/office/drawing/2014/main" id="{011C5148-D16E-0B38-BC8F-C718AC80A52A}"/>
              </a:ext>
            </a:extLst>
          </p:cNvPr>
          <p:cNvGrpSpPr>
            <a:grpSpLocks noChangeAspect="1"/>
          </p:cNvGrpSpPr>
          <p:nvPr userDrawn="1"/>
        </p:nvGrpSpPr>
        <p:grpSpPr>
          <a:xfrm>
            <a:off x="5754877" y="1565961"/>
            <a:ext cx="5060570" cy="4478465"/>
            <a:chOff x="8679543" y="2162250"/>
            <a:chExt cx="6808334" cy="6025188"/>
          </a:xfrm>
        </p:grpSpPr>
        <p:sp>
          <p:nvSpPr>
            <p:cNvPr id="31" name="Freeform 5">
              <a:extLst>
                <a:ext uri="{FF2B5EF4-FFF2-40B4-BE49-F238E27FC236}">
                  <a16:creationId xmlns:a16="http://schemas.microsoft.com/office/drawing/2014/main" id="{9BCC9E0D-8FB7-38C9-58E0-B954BF334150}"/>
                </a:ext>
              </a:extLst>
            </p:cNvPr>
            <p:cNvSpPr>
              <a:spLocks/>
            </p:cNvSpPr>
            <p:nvPr userDrawn="1"/>
          </p:nvSpPr>
          <p:spPr bwMode="auto">
            <a:xfrm>
              <a:off x="12192731" y="5333537"/>
              <a:ext cx="3295146" cy="2853901"/>
            </a:xfrm>
            <a:custGeom>
              <a:avLst/>
              <a:gdLst>
                <a:gd name="T0" fmla="*/ 26 w 957"/>
                <a:gd name="T1" fmla="*/ 727 h 828"/>
                <a:gd name="T2" fmla="*/ 420 w 957"/>
                <a:gd name="T3" fmla="*/ 44 h 828"/>
                <a:gd name="T4" fmla="*/ 537 w 957"/>
                <a:gd name="T5" fmla="*/ 44 h 828"/>
                <a:gd name="T6" fmla="*/ 931 w 957"/>
                <a:gd name="T7" fmla="*/ 727 h 828"/>
                <a:gd name="T8" fmla="*/ 873 w 957"/>
                <a:gd name="T9" fmla="*/ 828 h 828"/>
                <a:gd name="T10" fmla="*/ 84 w 957"/>
                <a:gd name="T11" fmla="*/ 828 h 828"/>
                <a:gd name="T12" fmla="*/ 26 w 957"/>
                <a:gd name="T13" fmla="*/ 727 h 828"/>
              </a:gdLst>
              <a:ahLst/>
              <a:cxnLst>
                <a:cxn ang="0">
                  <a:pos x="T0" y="T1"/>
                </a:cxn>
                <a:cxn ang="0">
                  <a:pos x="T2" y="T3"/>
                </a:cxn>
                <a:cxn ang="0">
                  <a:pos x="T4" y="T5"/>
                </a:cxn>
                <a:cxn ang="0">
                  <a:pos x="T6" y="T7"/>
                </a:cxn>
                <a:cxn ang="0">
                  <a:pos x="T8" y="T9"/>
                </a:cxn>
                <a:cxn ang="0">
                  <a:pos x="T10" y="T11"/>
                </a:cxn>
                <a:cxn ang="0">
                  <a:pos x="T12" y="T13"/>
                </a:cxn>
              </a:cxnLst>
              <a:rect l="0" t="0" r="r" b="b"/>
              <a:pathLst>
                <a:path w="957" h="828">
                  <a:moveTo>
                    <a:pt x="26" y="727"/>
                  </a:moveTo>
                  <a:cubicBezTo>
                    <a:pt x="420" y="44"/>
                    <a:pt x="420" y="44"/>
                    <a:pt x="420" y="44"/>
                  </a:cubicBezTo>
                  <a:cubicBezTo>
                    <a:pt x="446" y="0"/>
                    <a:pt x="511" y="0"/>
                    <a:pt x="537" y="44"/>
                  </a:cubicBezTo>
                  <a:cubicBezTo>
                    <a:pt x="931" y="727"/>
                    <a:pt x="931" y="727"/>
                    <a:pt x="931" y="727"/>
                  </a:cubicBezTo>
                  <a:cubicBezTo>
                    <a:pt x="957" y="772"/>
                    <a:pt x="924" y="828"/>
                    <a:pt x="873" y="828"/>
                  </a:cubicBezTo>
                  <a:cubicBezTo>
                    <a:pt x="84" y="828"/>
                    <a:pt x="84" y="828"/>
                    <a:pt x="84" y="828"/>
                  </a:cubicBezTo>
                  <a:cubicBezTo>
                    <a:pt x="32" y="828"/>
                    <a:pt x="0" y="772"/>
                    <a:pt x="26" y="7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nSpc>
                  <a:spcPct val="100000"/>
                </a:lnSpc>
              </a:pPr>
              <a:endParaRPr lang="en-GB">
                <a:latin typeface="Arial" panose="020B0604020202020204" pitchFamily="34" charset="0"/>
                <a:cs typeface="Arial" panose="020B0604020202020204" pitchFamily="34" charset="0"/>
              </a:endParaRPr>
            </a:p>
          </p:txBody>
        </p:sp>
        <p:sp>
          <p:nvSpPr>
            <p:cNvPr id="32" name="Freeform 6">
              <a:extLst>
                <a:ext uri="{FF2B5EF4-FFF2-40B4-BE49-F238E27FC236}">
                  <a16:creationId xmlns:a16="http://schemas.microsoft.com/office/drawing/2014/main" id="{5CC6F077-931B-CCE2-E505-137087AB5968}"/>
                </a:ext>
              </a:extLst>
            </p:cNvPr>
            <p:cNvSpPr>
              <a:spLocks/>
            </p:cNvSpPr>
            <p:nvPr userDrawn="1"/>
          </p:nvSpPr>
          <p:spPr bwMode="auto">
            <a:xfrm>
              <a:off x="8679543" y="5333537"/>
              <a:ext cx="3295146" cy="2853901"/>
            </a:xfrm>
            <a:custGeom>
              <a:avLst/>
              <a:gdLst>
                <a:gd name="T0" fmla="*/ 26 w 957"/>
                <a:gd name="T1" fmla="*/ 727 h 828"/>
                <a:gd name="T2" fmla="*/ 420 w 957"/>
                <a:gd name="T3" fmla="*/ 44 h 828"/>
                <a:gd name="T4" fmla="*/ 537 w 957"/>
                <a:gd name="T5" fmla="*/ 44 h 828"/>
                <a:gd name="T6" fmla="*/ 931 w 957"/>
                <a:gd name="T7" fmla="*/ 727 h 828"/>
                <a:gd name="T8" fmla="*/ 873 w 957"/>
                <a:gd name="T9" fmla="*/ 828 h 828"/>
                <a:gd name="T10" fmla="*/ 84 w 957"/>
                <a:gd name="T11" fmla="*/ 828 h 828"/>
                <a:gd name="T12" fmla="*/ 26 w 957"/>
                <a:gd name="T13" fmla="*/ 727 h 828"/>
              </a:gdLst>
              <a:ahLst/>
              <a:cxnLst>
                <a:cxn ang="0">
                  <a:pos x="T0" y="T1"/>
                </a:cxn>
                <a:cxn ang="0">
                  <a:pos x="T2" y="T3"/>
                </a:cxn>
                <a:cxn ang="0">
                  <a:pos x="T4" y="T5"/>
                </a:cxn>
                <a:cxn ang="0">
                  <a:pos x="T6" y="T7"/>
                </a:cxn>
                <a:cxn ang="0">
                  <a:pos x="T8" y="T9"/>
                </a:cxn>
                <a:cxn ang="0">
                  <a:pos x="T10" y="T11"/>
                </a:cxn>
                <a:cxn ang="0">
                  <a:pos x="T12" y="T13"/>
                </a:cxn>
              </a:cxnLst>
              <a:rect l="0" t="0" r="r" b="b"/>
              <a:pathLst>
                <a:path w="957" h="828">
                  <a:moveTo>
                    <a:pt x="26" y="727"/>
                  </a:moveTo>
                  <a:cubicBezTo>
                    <a:pt x="420" y="44"/>
                    <a:pt x="420" y="44"/>
                    <a:pt x="420" y="44"/>
                  </a:cubicBezTo>
                  <a:cubicBezTo>
                    <a:pt x="446" y="0"/>
                    <a:pt x="511" y="0"/>
                    <a:pt x="537" y="44"/>
                  </a:cubicBezTo>
                  <a:cubicBezTo>
                    <a:pt x="931" y="727"/>
                    <a:pt x="931" y="727"/>
                    <a:pt x="931" y="727"/>
                  </a:cubicBezTo>
                  <a:cubicBezTo>
                    <a:pt x="957" y="772"/>
                    <a:pt x="924" y="828"/>
                    <a:pt x="873" y="828"/>
                  </a:cubicBezTo>
                  <a:cubicBezTo>
                    <a:pt x="84" y="828"/>
                    <a:pt x="84" y="828"/>
                    <a:pt x="84" y="828"/>
                  </a:cubicBezTo>
                  <a:cubicBezTo>
                    <a:pt x="32" y="828"/>
                    <a:pt x="0" y="772"/>
                    <a:pt x="26" y="7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33" name="Freeform 7">
              <a:extLst>
                <a:ext uri="{FF2B5EF4-FFF2-40B4-BE49-F238E27FC236}">
                  <a16:creationId xmlns:a16="http://schemas.microsoft.com/office/drawing/2014/main" id="{685F786E-48E0-BD4E-62C1-6A9272AFC65F}"/>
                </a:ext>
              </a:extLst>
            </p:cNvPr>
            <p:cNvSpPr>
              <a:spLocks/>
            </p:cNvSpPr>
            <p:nvPr userDrawn="1"/>
          </p:nvSpPr>
          <p:spPr bwMode="auto">
            <a:xfrm>
              <a:off x="10429041" y="2162250"/>
              <a:ext cx="3295146" cy="2853901"/>
            </a:xfrm>
            <a:custGeom>
              <a:avLst/>
              <a:gdLst>
                <a:gd name="T0" fmla="*/ 26 w 957"/>
                <a:gd name="T1" fmla="*/ 727 h 828"/>
                <a:gd name="T2" fmla="*/ 420 w 957"/>
                <a:gd name="T3" fmla="*/ 44 h 828"/>
                <a:gd name="T4" fmla="*/ 537 w 957"/>
                <a:gd name="T5" fmla="*/ 44 h 828"/>
                <a:gd name="T6" fmla="*/ 931 w 957"/>
                <a:gd name="T7" fmla="*/ 727 h 828"/>
                <a:gd name="T8" fmla="*/ 873 w 957"/>
                <a:gd name="T9" fmla="*/ 828 h 828"/>
                <a:gd name="T10" fmla="*/ 84 w 957"/>
                <a:gd name="T11" fmla="*/ 828 h 828"/>
                <a:gd name="T12" fmla="*/ 26 w 957"/>
                <a:gd name="T13" fmla="*/ 727 h 828"/>
              </a:gdLst>
              <a:ahLst/>
              <a:cxnLst>
                <a:cxn ang="0">
                  <a:pos x="T0" y="T1"/>
                </a:cxn>
                <a:cxn ang="0">
                  <a:pos x="T2" y="T3"/>
                </a:cxn>
                <a:cxn ang="0">
                  <a:pos x="T4" y="T5"/>
                </a:cxn>
                <a:cxn ang="0">
                  <a:pos x="T6" y="T7"/>
                </a:cxn>
                <a:cxn ang="0">
                  <a:pos x="T8" y="T9"/>
                </a:cxn>
                <a:cxn ang="0">
                  <a:pos x="T10" y="T11"/>
                </a:cxn>
                <a:cxn ang="0">
                  <a:pos x="T12" y="T13"/>
                </a:cxn>
              </a:cxnLst>
              <a:rect l="0" t="0" r="r" b="b"/>
              <a:pathLst>
                <a:path w="957" h="828">
                  <a:moveTo>
                    <a:pt x="26" y="727"/>
                  </a:moveTo>
                  <a:cubicBezTo>
                    <a:pt x="420" y="44"/>
                    <a:pt x="420" y="44"/>
                    <a:pt x="420" y="44"/>
                  </a:cubicBezTo>
                  <a:cubicBezTo>
                    <a:pt x="446" y="0"/>
                    <a:pt x="511" y="0"/>
                    <a:pt x="537" y="44"/>
                  </a:cubicBezTo>
                  <a:cubicBezTo>
                    <a:pt x="931" y="727"/>
                    <a:pt x="931" y="727"/>
                    <a:pt x="931" y="727"/>
                  </a:cubicBezTo>
                  <a:cubicBezTo>
                    <a:pt x="957" y="772"/>
                    <a:pt x="924" y="828"/>
                    <a:pt x="873" y="828"/>
                  </a:cubicBezTo>
                  <a:cubicBezTo>
                    <a:pt x="84" y="828"/>
                    <a:pt x="84" y="828"/>
                    <a:pt x="84" y="828"/>
                  </a:cubicBezTo>
                  <a:cubicBezTo>
                    <a:pt x="32" y="828"/>
                    <a:pt x="0" y="772"/>
                    <a:pt x="26" y="7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a:lnSpc>
                  <a:spcPct val="100000"/>
                </a:lnSpc>
              </a:pPr>
              <a:endParaRPr lang="en-GB">
                <a:latin typeface="Arial" panose="020B0604020202020204" pitchFamily="34" charset="0"/>
                <a:cs typeface="Arial" panose="020B0604020202020204" pitchFamily="34" charset="0"/>
              </a:endParaRPr>
            </a:p>
          </p:txBody>
        </p:sp>
        <p:sp>
          <p:nvSpPr>
            <p:cNvPr id="34" name="Freeform 8">
              <a:extLst>
                <a:ext uri="{FF2B5EF4-FFF2-40B4-BE49-F238E27FC236}">
                  <a16:creationId xmlns:a16="http://schemas.microsoft.com/office/drawing/2014/main" id="{F8655C6D-E0D8-BE46-10B7-FDA37E03E563}"/>
                </a:ext>
              </a:extLst>
            </p:cNvPr>
            <p:cNvSpPr>
              <a:spLocks/>
            </p:cNvSpPr>
            <p:nvPr userDrawn="1"/>
          </p:nvSpPr>
          <p:spPr bwMode="auto">
            <a:xfrm>
              <a:off x="10810937" y="5292251"/>
              <a:ext cx="2531353" cy="2194614"/>
            </a:xfrm>
            <a:custGeom>
              <a:avLst/>
              <a:gdLst>
                <a:gd name="T0" fmla="*/ 715 w 735"/>
                <a:gd name="T1" fmla="*/ 77 h 637"/>
                <a:gd name="T2" fmla="*/ 412 w 735"/>
                <a:gd name="T3" fmla="*/ 602 h 637"/>
                <a:gd name="T4" fmla="*/ 323 w 735"/>
                <a:gd name="T5" fmla="*/ 602 h 637"/>
                <a:gd name="T6" fmla="*/ 20 w 735"/>
                <a:gd name="T7" fmla="*/ 77 h 637"/>
                <a:gd name="T8" fmla="*/ 64 w 735"/>
                <a:gd name="T9" fmla="*/ 0 h 637"/>
                <a:gd name="T10" fmla="*/ 671 w 735"/>
                <a:gd name="T11" fmla="*/ 0 h 637"/>
                <a:gd name="T12" fmla="*/ 715 w 735"/>
                <a:gd name="T13" fmla="*/ 77 h 637"/>
              </a:gdLst>
              <a:ahLst/>
              <a:cxnLst>
                <a:cxn ang="0">
                  <a:pos x="T0" y="T1"/>
                </a:cxn>
                <a:cxn ang="0">
                  <a:pos x="T2" y="T3"/>
                </a:cxn>
                <a:cxn ang="0">
                  <a:pos x="T4" y="T5"/>
                </a:cxn>
                <a:cxn ang="0">
                  <a:pos x="T6" y="T7"/>
                </a:cxn>
                <a:cxn ang="0">
                  <a:pos x="T8" y="T9"/>
                </a:cxn>
                <a:cxn ang="0">
                  <a:pos x="T10" y="T11"/>
                </a:cxn>
                <a:cxn ang="0">
                  <a:pos x="T12" y="T13"/>
                </a:cxn>
              </a:cxnLst>
              <a:rect l="0" t="0" r="r" b="b"/>
              <a:pathLst>
                <a:path w="735" h="637">
                  <a:moveTo>
                    <a:pt x="715" y="77"/>
                  </a:moveTo>
                  <a:cubicBezTo>
                    <a:pt x="412" y="602"/>
                    <a:pt x="412" y="602"/>
                    <a:pt x="412" y="602"/>
                  </a:cubicBezTo>
                  <a:cubicBezTo>
                    <a:pt x="392" y="637"/>
                    <a:pt x="343" y="637"/>
                    <a:pt x="323" y="602"/>
                  </a:cubicBezTo>
                  <a:cubicBezTo>
                    <a:pt x="20" y="77"/>
                    <a:pt x="20" y="77"/>
                    <a:pt x="20" y="77"/>
                  </a:cubicBezTo>
                  <a:cubicBezTo>
                    <a:pt x="0" y="43"/>
                    <a:pt x="24" y="0"/>
                    <a:pt x="64" y="0"/>
                  </a:cubicBezTo>
                  <a:cubicBezTo>
                    <a:pt x="671" y="0"/>
                    <a:pt x="671" y="0"/>
                    <a:pt x="671" y="0"/>
                  </a:cubicBezTo>
                  <a:cubicBezTo>
                    <a:pt x="710" y="0"/>
                    <a:pt x="735" y="43"/>
                    <a:pt x="715" y="7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100000"/>
                </a:lnSpc>
              </a:pPr>
              <a:endParaRPr lang="en-GB">
                <a:latin typeface="Arial" panose="020B0604020202020204" pitchFamily="34" charset="0"/>
                <a:cs typeface="Arial" panose="020B0604020202020204" pitchFamily="34" charset="0"/>
              </a:endParaRPr>
            </a:p>
          </p:txBody>
        </p:sp>
        <p:grpSp>
          <p:nvGrpSpPr>
            <p:cNvPr id="39" name="Group 41">
              <a:extLst>
                <a:ext uri="{FF2B5EF4-FFF2-40B4-BE49-F238E27FC236}">
                  <a16:creationId xmlns:a16="http://schemas.microsoft.com/office/drawing/2014/main" id="{0914184E-3491-023F-E688-3C0A6F9D8E2D}"/>
                </a:ext>
              </a:extLst>
            </p:cNvPr>
            <p:cNvGrpSpPr/>
            <p:nvPr userDrawn="1"/>
          </p:nvGrpSpPr>
          <p:grpSpPr>
            <a:xfrm>
              <a:off x="11465221" y="3182326"/>
              <a:ext cx="1170450" cy="736833"/>
              <a:chOff x="4783138" y="6640513"/>
              <a:chExt cx="1182688" cy="744537"/>
            </a:xfrm>
            <a:solidFill>
              <a:schemeClr val="bg1"/>
            </a:solidFill>
          </p:grpSpPr>
          <p:sp>
            <p:nvSpPr>
              <p:cNvPr id="40" name="Freeform 196">
                <a:extLst>
                  <a:ext uri="{FF2B5EF4-FFF2-40B4-BE49-F238E27FC236}">
                    <a16:creationId xmlns:a16="http://schemas.microsoft.com/office/drawing/2014/main" id="{74F071D8-74BA-0308-2C55-5505D187052B}"/>
                  </a:ext>
                </a:extLst>
              </p:cNvPr>
              <p:cNvSpPr>
                <a:spLocks noChangeArrowheads="1"/>
              </p:cNvSpPr>
              <p:nvPr/>
            </p:nvSpPr>
            <p:spPr bwMode="auto">
              <a:xfrm>
                <a:off x="5043488" y="6951663"/>
                <a:ext cx="201613" cy="158750"/>
              </a:xfrm>
              <a:custGeom>
                <a:avLst/>
                <a:gdLst>
                  <a:gd name="T0" fmla="*/ 512 w 571"/>
                  <a:gd name="T1" fmla="*/ 0 h 451"/>
                  <a:gd name="T2" fmla="*/ 0 w 571"/>
                  <a:gd name="T3" fmla="*/ 377 h 451"/>
                  <a:gd name="T4" fmla="*/ 52 w 571"/>
                  <a:gd name="T5" fmla="*/ 450 h 451"/>
                  <a:gd name="T6" fmla="*/ 570 w 571"/>
                  <a:gd name="T7" fmla="*/ 78 h 451"/>
                  <a:gd name="T8" fmla="*/ 512 w 571"/>
                  <a:gd name="T9" fmla="*/ 0 h 451"/>
                </a:gdLst>
                <a:ahLst/>
                <a:cxnLst>
                  <a:cxn ang="0">
                    <a:pos x="T0" y="T1"/>
                  </a:cxn>
                  <a:cxn ang="0">
                    <a:pos x="T2" y="T3"/>
                  </a:cxn>
                  <a:cxn ang="0">
                    <a:pos x="T4" y="T5"/>
                  </a:cxn>
                  <a:cxn ang="0">
                    <a:pos x="T6" y="T7"/>
                  </a:cxn>
                  <a:cxn ang="0">
                    <a:pos x="T8" y="T9"/>
                  </a:cxn>
                </a:cxnLst>
                <a:rect l="0" t="0" r="r" b="b"/>
                <a:pathLst>
                  <a:path w="571" h="451">
                    <a:moveTo>
                      <a:pt x="512" y="0"/>
                    </a:moveTo>
                    <a:cubicBezTo>
                      <a:pt x="342" y="126"/>
                      <a:pt x="171" y="251"/>
                      <a:pt x="0" y="377"/>
                    </a:cubicBezTo>
                    <a:cubicBezTo>
                      <a:pt x="18" y="401"/>
                      <a:pt x="35" y="426"/>
                      <a:pt x="52" y="450"/>
                    </a:cubicBezTo>
                    <a:cubicBezTo>
                      <a:pt x="225" y="326"/>
                      <a:pt x="398" y="202"/>
                      <a:pt x="570" y="78"/>
                    </a:cubicBezTo>
                    <a:cubicBezTo>
                      <a:pt x="551" y="52"/>
                      <a:pt x="532" y="26"/>
                      <a:pt x="512"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1" name="Freeform 197">
                <a:extLst>
                  <a:ext uri="{FF2B5EF4-FFF2-40B4-BE49-F238E27FC236}">
                    <a16:creationId xmlns:a16="http://schemas.microsoft.com/office/drawing/2014/main" id="{519CBA9D-3175-9984-4450-31A1684A1697}"/>
                  </a:ext>
                </a:extLst>
              </p:cNvPr>
              <p:cNvSpPr>
                <a:spLocks noChangeArrowheads="1"/>
              </p:cNvSpPr>
              <p:nvPr/>
            </p:nvSpPr>
            <p:spPr bwMode="auto">
              <a:xfrm>
                <a:off x="4783138" y="6640513"/>
                <a:ext cx="942975" cy="744537"/>
              </a:xfrm>
              <a:custGeom>
                <a:avLst/>
                <a:gdLst>
                  <a:gd name="T0" fmla="*/ 2156 w 2628"/>
                  <a:gd name="T1" fmla="*/ 136 h 2077"/>
                  <a:gd name="T2" fmla="*/ 1920 w 2628"/>
                  <a:gd name="T3" fmla="*/ 15 h 2077"/>
                  <a:gd name="T4" fmla="*/ 1790 w 2628"/>
                  <a:gd name="T5" fmla="*/ 220 h 2077"/>
                  <a:gd name="T6" fmla="*/ 278 w 2628"/>
                  <a:gd name="T7" fmla="*/ 1218 h 2077"/>
                  <a:gd name="T8" fmla="*/ 26 w 2628"/>
                  <a:gd name="T9" fmla="*/ 1297 h 2077"/>
                  <a:gd name="T10" fmla="*/ 116 w 2628"/>
                  <a:gd name="T11" fmla="*/ 1752 h 2077"/>
                  <a:gd name="T12" fmla="*/ 294 w 2628"/>
                  <a:gd name="T13" fmla="*/ 1883 h 2077"/>
                  <a:gd name="T14" fmla="*/ 461 w 2628"/>
                  <a:gd name="T15" fmla="*/ 1778 h 2077"/>
                  <a:gd name="T16" fmla="*/ 744 w 2628"/>
                  <a:gd name="T17" fmla="*/ 1700 h 2077"/>
                  <a:gd name="T18" fmla="*/ 963 w 2628"/>
                  <a:gd name="T19" fmla="*/ 2035 h 2077"/>
                  <a:gd name="T20" fmla="*/ 1272 w 2628"/>
                  <a:gd name="T21" fmla="*/ 2061 h 2077"/>
                  <a:gd name="T22" fmla="*/ 2271 w 2628"/>
                  <a:gd name="T23" fmla="*/ 1700 h 2077"/>
                  <a:gd name="T24" fmla="*/ 2439 w 2628"/>
                  <a:gd name="T25" fmla="*/ 1794 h 2077"/>
                  <a:gd name="T26" fmla="*/ 2496 w 2628"/>
                  <a:gd name="T27" fmla="*/ 1789 h 2077"/>
                  <a:gd name="T28" fmla="*/ 2611 w 2628"/>
                  <a:gd name="T29" fmla="*/ 1553 h 2077"/>
                  <a:gd name="T30" fmla="*/ 461 w 2628"/>
                  <a:gd name="T31" fmla="*/ 1606 h 2077"/>
                  <a:gd name="T32" fmla="*/ 377 w 2628"/>
                  <a:gd name="T33" fmla="*/ 1360 h 2077"/>
                  <a:gd name="T34" fmla="*/ 1816 w 2628"/>
                  <a:gd name="T35" fmla="*/ 1606 h 2077"/>
                  <a:gd name="T36" fmla="*/ 1560 w 2628"/>
                  <a:gd name="T37" fmla="*/ 502 h 2077"/>
                  <a:gd name="T38" fmla="*/ 1821 w 2628"/>
                  <a:gd name="T39" fmla="*/ 313 h 2077"/>
                  <a:gd name="T40" fmla="*/ 1915 w 2628"/>
                  <a:gd name="T41" fmla="*/ 1606 h 2077"/>
                  <a:gd name="T42" fmla="*/ 377 w 2628"/>
                  <a:gd name="T43" fmla="*/ 1736 h 2077"/>
                  <a:gd name="T44" fmla="*/ 325 w 2628"/>
                  <a:gd name="T45" fmla="*/ 1783 h 2077"/>
                  <a:gd name="T46" fmla="*/ 251 w 2628"/>
                  <a:gd name="T47" fmla="*/ 1778 h 2077"/>
                  <a:gd name="T48" fmla="*/ 105 w 2628"/>
                  <a:gd name="T49" fmla="*/ 1412 h 2077"/>
                  <a:gd name="T50" fmla="*/ 163 w 2628"/>
                  <a:gd name="T51" fmla="*/ 1297 h 2077"/>
                  <a:gd name="T52" fmla="*/ 236 w 2628"/>
                  <a:gd name="T53" fmla="*/ 1302 h 2077"/>
                  <a:gd name="T54" fmla="*/ 351 w 2628"/>
                  <a:gd name="T55" fmla="*/ 1569 h 2077"/>
                  <a:gd name="T56" fmla="*/ 377 w 2628"/>
                  <a:gd name="T57" fmla="*/ 1736 h 2077"/>
                  <a:gd name="T58" fmla="*/ 1240 w 2628"/>
                  <a:gd name="T59" fmla="*/ 1967 h 2077"/>
                  <a:gd name="T60" fmla="*/ 848 w 2628"/>
                  <a:gd name="T61" fmla="*/ 1768 h 2077"/>
                  <a:gd name="T62" fmla="*/ 1455 w 2628"/>
                  <a:gd name="T63" fmla="*/ 1700 h 2077"/>
                  <a:gd name="T64" fmla="*/ 2517 w 2628"/>
                  <a:gd name="T65" fmla="*/ 1653 h 2077"/>
                  <a:gd name="T66" fmla="*/ 2465 w 2628"/>
                  <a:gd name="T67" fmla="*/ 1700 h 2077"/>
                  <a:gd name="T68" fmla="*/ 2439 w 2628"/>
                  <a:gd name="T69" fmla="*/ 1700 h 2077"/>
                  <a:gd name="T70" fmla="*/ 2349 w 2628"/>
                  <a:gd name="T71" fmla="*/ 1637 h 2077"/>
                  <a:gd name="T72" fmla="*/ 1889 w 2628"/>
                  <a:gd name="T73" fmla="*/ 225 h 2077"/>
                  <a:gd name="T74" fmla="*/ 1946 w 2628"/>
                  <a:gd name="T75" fmla="*/ 104 h 2077"/>
                  <a:gd name="T76" fmla="*/ 2020 w 2628"/>
                  <a:gd name="T77" fmla="*/ 115 h 2077"/>
                  <a:gd name="T78" fmla="*/ 2522 w 2628"/>
                  <a:gd name="T79" fmla="*/ 1580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28" h="2077">
                    <a:moveTo>
                      <a:pt x="2156" y="136"/>
                    </a:moveTo>
                    <a:lnTo>
                      <a:pt x="2156" y="136"/>
                    </a:lnTo>
                    <a:cubicBezTo>
                      <a:pt x="2140" y="88"/>
                      <a:pt x="2104" y="52"/>
                      <a:pt x="2062" y="26"/>
                    </a:cubicBezTo>
                    <a:cubicBezTo>
                      <a:pt x="2015" y="5"/>
                      <a:pt x="1968" y="0"/>
                      <a:pt x="1920" y="15"/>
                    </a:cubicBezTo>
                    <a:cubicBezTo>
                      <a:pt x="1874" y="31"/>
                      <a:pt x="1831" y="67"/>
                      <a:pt x="1811" y="110"/>
                    </a:cubicBezTo>
                    <a:cubicBezTo>
                      <a:pt x="1795" y="141"/>
                      <a:pt x="1790" y="177"/>
                      <a:pt x="1790" y="220"/>
                    </a:cubicBezTo>
                    <a:cubicBezTo>
                      <a:pt x="340" y="1271"/>
                      <a:pt x="824" y="921"/>
                      <a:pt x="340" y="1271"/>
                    </a:cubicBezTo>
                    <a:cubicBezTo>
                      <a:pt x="325" y="1250"/>
                      <a:pt x="304" y="1229"/>
                      <a:pt x="278" y="1218"/>
                    </a:cubicBezTo>
                    <a:cubicBezTo>
                      <a:pt x="231" y="1192"/>
                      <a:pt x="184" y="1192"/>
                      <a:pt x="136" y="1203"/>
                    </a:cubicBezTo>
                    <a:cubicBezTo>
                      <a:pt x="89" y="1218"/>
                      <a:pt x="48" y="1255"/>
                      <a:pt x="26" y="1297"/>
                    </a:cubicBezTo>
                    <a:cubicBezTo>
                      <a:pt x="6" y="1344"/>
                      <a:pt x="0" y="1391"/>
                      <a:pt x="16" y="1438"/>
                    </a:cubicBezTo>
                    <a:cubicBezTo>
                      <a:pt x="116" y="1752"/>
                      <a:pt x="83" y="1647"/>
                      <a:pt x="116" y="1752"/>
                    </a:cubicBezTo>
                    <a:cubicBezTo>
                      <a:pt x="131" y="1799"/>
                      <a:pt x="163" y="1841"/>
                      <a:pt x="210" y="1862"/>
                    </a:cubicBezTo>
                    <a:cubicBezTo>
                      <a:pt x="236" y="1872"/>
                      <a:pt x="262" y="1883"/>
                      <a:pt x="294" y="1883"/>
                    </a:cubicBezTo>
                    <a:cubicBezTo>
                      <a:pt x="314" y="1883"/>
                      <a:pt x="330" y="1878"/>
                      <a:pt x="351" y="1872"/>
                    </a:cubicBezTo>
                    <a:cubicBezTo>
                      <a:pt x="398" y="1857"/>
                      <a:pt x="435" y="1825"/>
                      <a:pt x="461" y="1778"/>
                    </a:cubicBezTo>
                    <a:cubicBezTo>
                      <a:pt x="471" y="1757"/>
                      <a:pt x="476" y="1726"/>
                      <a:pt x="482" y="1700"/>
                    </a:cubicBezTo>
                    <a:cubicBezTo>
                      <a:pt x="744" y="1700"/>
                      <a:pt x="657" y="1700"/>
                      <a:pt x="744" y="1700"/>
                    </a:cubicBezTo>
                    <a:cubicBezTo>
                      <a:pt x="744" y="1731"/>
                      <a:pt x="749" y="1768"/>
                      <a:pt x="759" y="1799"/>
                    </a:cubicBezTo>
                    <a:cubicBezTo>
                      <a:pt x="796" y="1898"/>
                      <a:pt x="864" y="1987"/>
                      <a:pt x="963" y="2035"/>
                    </a:cubicBezTo>
                    <a:cubicBezTo>
                      <a:pt x="1021" y="2066"/>
                      <a:pt x="1084" y="2076"/>
                      <a:pt x="1146" y="2076"/>
                    </a:cubicBezTo>
                    <a:cubicBezTo>
                      <a:pt x="1188" y="2076"/>
                      <a:pt x="1230" y="2071"/>
                      <a:pt x="1272" y="2061"/>
                    </a:cubicBezTo>
                    <a:cubicBezTo>
                      <a:pt x="1429" y="2008"/>
                      <a:pt x="1539" y="1862"/>
                      <a:pt x="1549" y="1700"/>
                    </a:cubicBezTo>
                    <a:cubicBezTo>
                      <a:pt x="2271" y="1700"/>
                      <a:pt x="2031" y="1700"/>
                      <a:pt x="2271" y="1700"/>
                    </a:cubicBezTo>
                    <a:cubicBezTo>
                      <a:pt x="2292" y="1731"/>
                      <a:pt x="2318" y="1757"/>
                      <a:pt x="2349" y="1773"/>
                    </a:cubicBezTo>
                    <a:cubicBezTo>
                      <a:pt x="2376" y="1789"/>
                      <a:pt x="2407" y="1794"/>
                      <a:pt x="2439" y="1794"/>
                    </a:cubicBezTo>
                    <a:lnTo>
                      <a:pt x="2439" y="1794"/>
                    </a:lnTo>
                    <a:cubicBezTo>
                      <a:pt x="2454" y="1794"/>
                      <a:pt x="2475" y="1794"/>
                      <a:pt x="2496" y="1789"/>
                    </a:cubicBezTo>
                    <a:cubicBezTo>
                      <a:pt x="2543" y="1773"/>
                      <a:pt x="2580" y="1736"/>
                      <a:pt x="2600" y="1695"/>
                    </a:cubicBezTo>
                    <a:cubicBezTo>
                      <a:pt x="2627" y="1647"/>
                      <a:pt x="2627" y="1601"/>
                      <a:pt x="2611" y="1553"/>
                    </a:cubicBezTo>
                    <a:cubicBezTo>
                      <a:pt x="2460" y="1081"/>
                      <a:pt x="2308" y="608"/>
                      <a:pt x="2156" y="136"/>
                    </a:cubicBezTo>
                    <a:close/>
                    <a:moveTo>
                      <a:pt x="461" y="1606"/>
                    </a:moveTo>
                    <a:lnTo>
                      <a:pt x="461" y="1606"/>
                    </a:lnTo>
                    <a:cubicBezTo>
                      <a:pt x="377" y="1360"/>
                      <a:pt x="405" y="1442"/>
                      <a:pt x="377" y="1360"/>
                    </a:cubicBezTo>
                    <a:cubicBezTo>
                      <a:pt x="1476" y="560"/>
                      <a:pt x="1110" y="827"/>
                      <a:pt x="1476" y="560"/>
                    </a:cubicBezTo>
                    <a:cubicBezTo>
                      <a:pt x="1816" y="1606"/>
                      <a:pt x="1703" y="1257"/>
                      <a:pt x="1816" y="1606"/>
                    </a:cubicBezTo>
                    <a:cubicBezTo>
                      <a:pt x="1365" y="1606"/>
                      <a:pt x="913" y="1606"/>
                      <a:pt x="461" y="1606"/>
                    </a:cubicBezTo>
                    <a:close/>
                    <a:moveTo>
                      <a:pt x="1560" y="502"/>
                    </a:moveTo>
                    <a:lnTo>
                      <a:pt x="1560" y="502"/>
                    </a:lnTo>
                    <a:cubicBezTo>
                      <a:pt x="1821" y="313"/>
                      <a:pt x="1734" y="376"/>
                      <a:pt x="1821" y="313"/>
                    </a:cubicBezTo>
                    <a:cubicBezTo>
                      <a:pt x="2240" y="1606"/>
                      <a:pt x="2101" y="1175"/>
                      <a:pt x="2240" y="1606"/>
                    </a:cubicBezTo>
                    <a:cubicBezTo>
                      <a:pt x="1915" y="1606"/>
                      <a:pt x="2024" y="1606"/>
                      <a:pt x="1915" y="1606"/>
                    </a:cubicBezTo>
                    <a:cubicBezTo>
                      <a:pt x="1797" y="1238"/>
                      <a:pt x="1679" y="870"/>
                      <a:pt x="1560" y="502"/>
                    </a:cubicBezTo>
                    <a:close/>
                    <a:moveTo>
                      <a:pt x="377" y="1736"/>
                    </a:moveTo>
                    <a:lnTo>
                      <a:pt x="377" y="1736"/>
                    </a:lnTo>
                    <a:cubicBezTo>
                      <a:pt x="367" y="1757"/>
                      <a:pt x="346" y="1773"/>
                      <a:pt x="325" y="1783"/>
                    </a:cubicBezTo>
                    <a:cubicBezTo>
                      <a:pt x="314" y="1783"/>
                      <a:pt x="304" y="1789"/>
                      <a:pt x="294" y="1789"/>
                    </a:cubicBezTo>
                    <a:cubicBezTo>
                      <a:pt x="278" y="1789"/>
                      <a:pt x="268" y="1783"/>
                      <a:pt x="251" y="1778"/>
                    </a:cubicBezTo>
                    <a:cubicBezTo>
                      <a:pt x="231" y="1768"/>
                      <a:pt x="215" y="1747"/>
                      <a:pt x="205" y="1726"/>
                    </a:cubicBezTo>
                    <a:cubicBezTo>
                      <a:pt x="105" y="1412"/>
                      <a:pt x="139" y="1517"/>
                      <a:pt x="105" y="1412"/>
                    </a:cubicBezTo>
                    <a:cubicBezTo>
                      <a:pt x="95" y="1386"/>
                      <a:pt x="100" y="1360"/>
                      <a:pt x="110" y="1339"/>
                    </a:cubicBezTo>
                    <a:cubicBezTo>
                      <a:pt x="121" y="1318"/>
                      <a:pt x="142" y="1302"/>
                      <a:pt x="163" y="1297"/>
                    </a:cubicBezTo>
                    <a:cubicBezTo>
                      <a:pt x="173" y="1292"/>
                      <a:pt x="184" y="1292"/>
                      <a:pt x="194" y="1292"/>
                    </a:cubicBezTo>
                    <a:cubicBezTo>
                      <a:pt x="205" y="1292"/>
                      <a:pt x="220" y="1292"/>
                      <a:pt x="236" y="1302"/>
                    </a:cubicBezTo>
                    <a:cubicBezTo>
                      <a:pt x="257" y="1313"/>
                      <a:pt x="273" y="1328"/>
                      <a:pt x="278" y="1355"/>
                    </a:cubicBezTo>
                    <a:cubicBezTo>
                      <a:pt x="351" y="1569"/>
                      <a:pt x="327" y="1498"/>
                      <a:pt x="351" y="1569"/>
                    </a:cubicBezTo>
                    <a:cubicBezTo>
                      <a:pt x="383" y="1668"/>
                      <a:pt x="373" y="1635"/>
                      <a:pt x="383" y="1668"/>
                    </a:cubicBezTo>
                    <a:cubicBezTo>
                      <a:pt x="388" y="1690"/>
                      <a:pt x="388" y="1716"/>
                      <a:pt x="377" y="1736"/>
                    </a:cubicBezTo>
                    <a:close/>
                    <a:moveTo>
                      <a:pt x="1240" y="1967"/>
                    </a:moveTo>
                    <a:lnTo>
                      <a:pt x="1240" y="1967"/>
                    </a:lnTo>
                    <a:cubicBezTo>
                      <a:pt x="1162" y="1993"/>
                      <a:pt x="1078" y="1987"/>
                      <a:pt x="1005" y="1951"/>
                    </a:cubicBezTo>
                    <a:cubicBezTo>
                      <a:pt x="932" y="1915"/>
                      <a:pt x="874" y="1846"/>
                      <a:pt x="848" y="1768"/>
                    </a:cubicBezTo>
                    <a:cubicBezTo>
                      <a:pt x="843" y="1747"/>
                      <a:pt x="838" y="1721"/>
                      <a:pt x="838" y="1700"/>
                    </a:cubicBezTo>
                    <a:cubicBezTo>
                      <a:pt x="1455" y="1700"/>
                      <a:pt x="1250" y="1700"/>
                      <a:pt x="1455" y="1700"/>
                    </a:cubicBezTo>
                    <a:cubicBezTo>
                      <a:pt x="1444" y="1825"/>
                      <a:pt x="1361" y="1930"/>
                      <a:pt x="1240" y="1967"/>
                    </a:cubicBezTo>
                    <a:close/>
                    <a:moveTo>
                      <a:pt x="2517" y="1653"/>
                    </a:moveTo>
                    <a:lnTo>
                      <a:pt x="2517" y="1653"/>
                    </a:lnTo>
                    <a:cubicBezTo>
                      <a:pt x="2506" y="1673"/>
                      <a:pt x="2485" y="1690"/>
                      <a:pt x="2465" y="1700"/>
                    </a:cubicBezTo>
                    <a:cubicBezTo>
                      <a:pt x="2454" y="1700"/>
                      <a:pt x="2444" y="1700"/>
                      <a:pt x="2439" y="1700"/>
                    </a:cubicBezTo>
                    <a:lnTo>
                      <a:pt x="2439" y="1700"/>
                    </a:lnTo>
                    <a:cubicBezTo>
                      <a:pt x="2423" y="1700"/>
                      <a:pt x="2407" y="1700"/>
                      <a:pt x="2396" y="1690"/>
                    </a:cubicBezTo>
                    <a:cubicBezTo>
                      <a:pt x="2370" y="1679"/>
                      <a:pt x="2355" y="1663"/>
                      <a:pt x="2349" y="1637"/>
                    </a:cubicBezTo>
                    <a:cubicBezTo>
                      <a:pt x="2109" y="900"/>
                      <a:pt x="2189" y="1146"/>
                      <a:pt x="2109" y="900"/>
                    </a:cubicBezTo>
                    <a:cubicBezTo>
                      <a:pt x="1889" y="225"/>
                      <a:pt x="1963" y="450"/>
                      <a:pt x="1889" y="225"/>
                    </a:cubicBezTo>
                    <a:cubicBezTo>
                      <a:pt x="1884" y="198"/>
                      <a:pt x="1884" y="172"/>
                      <a:pt x="1894" y="151"/>
                    </a:cubicBezTo>
                    <a:cubicBezTo>
                      <a:pt x="1905" y="130"/>
                      <a:pt x="1926" y="115"/>
                      <a:pt x="1946" y="104"/>
                    </a:cubicBezTo>
                    <a:cubicBezTo>
                      <a:pt x="1957" y="104"/>
                      <a:pt x="1968" y="104"/>
                      <a:pt x="1978" y="104"/>
                    </a:cubicBezTo>
                    <a:cubicBezTo>
                      <a:pt x="1994" y="104"/>
                      <a:pt x="2004" y="104"/>
                      <a:pt x="2020" y="115"/>
                    </a:cubicBezTo>
                    <a:cubicBezTo>
                      <a:pt x="2041" y="125"/>
                      <a:pt x="2056" y="141"/>
                      <a:pt x="2062" y="167"/>
                    </a:cubicBezTo>
                    <a:cubicBezTo>
                      <a:pt x="2522" y="1580"/>
                      <a:pt x="2369" y="1109"/>
                      <a:pt x="2522" y="1580"/>
                    </a:cubicBezTo>
                    <a:cubicBezTo>
                      <a:pt x="2533" y="1606"/>
                      <a:pt x="2528" y="1632"/>
                      <a:pt x="2517" y="1653"/>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2" name="Freeform 198">
                <a:extLst>
                  <a:ext uri="{FF2B5EF4-FFF2-40B4-BE49-F238E27FC236}">
                    <a16:creationId xmlns:a16="http://schemas.microsoft.com/office/drawing/2014/main" id="{F3500157-FB1B-EB9F-E314-8641CF016878}"/>
                  </a:ext>
                </a:extLst>
              </p:cNvPr>
              <p:cNvSpPr>
                <a:spLocks noChangeArrowheads="1"/>
              </p:cNvSpPr>
              <p:nvPr/>
            </p:nvSpPr>
            <p:spPr bwMode="auto">
              <a:xfrm>
                <a:off x="5707063" y="6850063"/>
                <a:ext cx="179388" cy="85725"/>
              </a:xfrm>
              <a:custGeom>
                <a:avLst/>
                <a:gdLst>
                  <a:gd name="T0" fmla="*/ 31 w 508"/>
                  <a:gd name="T1" fmla="*/ 246 h 247"/>
                  <a:gd name="T2" fmla="*/ 507 w 508"/>
                  <a:gd name="T3" fmla="*/ 89 h 247"/>
                  <a:gd name="T4" fmla="*/ 476 w 508"/>
                  <a:gd name="T5" fmla="*/ 0 h 247"/>
                  <a:gd name="T6" fmla="*/ 0 w 508"/>
                  <a:gd name="T7" fmla="*/ 157 h 247"/>
                  <a:gd name="T8" fmla="*/ 31 w 508"/>
                  <a:gd name="T9" fmla="*/ 246 h 247"/>
                </a:gdLst>
                <a:ahLst/>
                <a:cxnLst>
                  <a:cxn ang="0">
                    <a:pos x="T0" y="T1"/>
                  </a:cxn>
                  <a:cxn ang="0">
                    <a:pos x="T2" y="T3"/>
                  </a:cxn>
                  <a:cxn ang="0">
                    <a:pos x="T4" y="T5"/>
                  </a:cxn>
                  <a:cxn ang="0">
                    <a:pos x="T6" y="T7"/>
                  </a:cxn>
                  <a:cxn ang="0">
                    <a:pos x="T8" y="T9"/>
                  </a:cxn>
                </a:cxnLst>
                <a:rect l="0" t="0" r="r" b="b"/>
                <a:pathLst>
                  <a:path w="508" h="247">
                    <a:moveTo>
                      <a:pt x="31" y="246"/>
                    </a:moveTo>
                    <a:cubicBezTo>
                      <a:pt x="190" y="194"/>
                      <a:pt x="349" y="141"/>
                      <a:pt x="507" y="89"/>
                    </a:cubicBezTo>
                    <a:cubicBezTo>
                      <a:pt x="497" y="59"/>
                      <a:pt x="487" y="30"/>
                      <a:pt x="476" y="0"/>
                    </a:cubicBezTo>
                    <a:cubicBezTo>
                      <a:pt x="318" y="52"/>
                      <a:pt x="159" y="105"/>
                      <a:pt x="0" y="157"/>
                    </a:cubicBezTo>
                    <a:cubicBezTo>
                      <a:pt x="11" y="187"/>
                      <a:pt x="21" y="216"/>
                      <a:pt x="31" y="24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3" name="Freeform 199">
                <a:extLst>
                  <a:ext uri="{FF2B5EF4-FFF2-40B4-BE49-F238E27FC236}">
                    <a16:creationId xmlns:a16="http://schemas.microsoft.com/office/drawing/2014/main" id="{C49E90A7-3BB6-7E1E-7681-E81827AAADBC}"/>
                  </a:ext>
                </a:extLst>
              </p:cNvPr>
              <p:cNvSpPr>
                <a:spLocks noChangeArrowheads="1"/>
              </p:cNvSpPr>
              <p:nvPr/>
            </p:nvSpPr>
            <p:spPr bwMode="auto">
              <a:xfrm>
                <a:off x="5707063" y="6970713"/>
                <a:ext cx="179388" cy="82550"/>
              </a:xfrm>
              <a:custGeom>
                <a:avLst/>
                <a:gdLst>
                  <a:gd name="T0" fmla="*/ 0 w 508"/>
                  <a:gd name="T1" fmla="*/ 89 h 237"/>
                  <a:gd name="T2" fmla="*/ 481 w 508"/>
                  <a:gd name="T3" fmla="*/ 236 h 237"/>
                  <a:gd name="T4" fmla="*/ 507 w 508"/>
                  <a:gd name="T5" fmla="*/ 147 h 237"/>
                  <a:gd name="T6" fmla="*/ 31 w 508"/>
                  <a:gd name="T7" fmla="*/ 0 h 237"/>
                  <a:gd name="T8" fmla="*/ 0 w 508"/>
                  <a:gd name="T9" fmla="*/ 89 h 237"/>
                </a:gdLst>
                <a:ahLst/>
                <a:cxnLst>
                  <a:cxn ang="0">
                    <a:pos x="T0" y="T1"/>
                  </a:cxn>
                  <a:cxn ang="0">
                    <a:pos x="T2" y="T3"/>
                  </a:cxn>
                  <a:cxn ang="0">
                    <a:pos x="T4" y="T5"/>
                  </a:cxn>
                  <a:cxn ang="0">
                    <a:pos x="T6" y="T7"/>
                  </a:cxn>
                  <a:cxn ang="0">
                    <a:pos x="T8" y="T9"/>
                  </a:cxn>
                </a:cxnLst>
                <a:rect l="0" t="0" r="r" b="b"/>
                <a:pathLst>
                  <a:path w="508" h="237">
                    <a:moveTo>
                      <a:pt x="0" y="89"/>
                    </a:moveTo>
                    <a:cubicBezTo>
                      <a:pt x="161" y="138"/>
                      <a:pt x="321" y="187"/>
                      <a:pt x="481" y="236"/>
                    </a:cubicBezTo>
                    <a:cubicBezTo>
                      <a:pt x="490" y="206"/>
                      <a:pt x="499" y="177"/>
                      <a:pt x="507" y="147"/>
                    </a:cubicBezTo>
                    <a:cubicBezTo>
                      <a:pt x="349" y="98"/>
                      <a:pt x="190" y="49"/>
                      <a:pt x="31" y="0"/>
                    </a:cubicBezTo>
                    <a:cubicBezTo>
                      <a:pt x="21" y="30"/>
                      <a:pt x="11" y="59"/>
                      <a:pt x="0"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4" name="Freeform 200">
                <a:extLst>
                  <a:ext uri="{FF2B5EF4-FFF2-40B4-BE49-F238E27FC236}">
                    <a16:creationId xmlns:a16="http://schemas.microsoft.com/office/drawing/2014/main" id="{9848090B-81DE-C094-2F98-7226086BA6E1}"/>
                  </a:ext>
                </a:extLst>
              </p:cNvPr>
              <p:cNvSpPr>
                <a:spLocks noChangeArrowheads="1"/>
              </p:cNvSpPr>
              <p:nvPr/>
            </p:nvSpPr>
            <p:spPr bwMode="auto">
              <a:xfrm>
                <a:off x="5662613" y="6715125"/>
                <a:ext cx="131763" cy="163512"/>
              </a:xfrm>
              <a:custGeom>
                <a:avLst/>
                <a:gdLst>
                  <a:gd name="T0" fmla="*/ 73 w 377"/>
                  <a:gd name="T1" fmla="*/ 461 h 462"/>
                  <a:gd name="T2" fmla="*/ 376 w 377"/>
                  <a:gd name="T3" fmla="*/ 58 h 462"/>
                  <a:gd name="T4" fmla="*/ 298 w 377"/>
                  <a:gd name="T5" fmla="*/ 0 h 462"/>
                  <a:gd name="T6" fmla="*/ 0 w 377"/>
                  <a:gd name="T7" fmla="*/ 403 h 462"/>
                  <a:gd name="T8" fmla="*/ 73 w 377"/>
                  <a:gd name="T9" fmla="*/ 461 h 462"/>
                </a:gdLst>
                <a:ahLst/>
                <a:cxnLst>
                  <a:cxn ang="0">
                    <a:pos x="T0" y="T1"/>
                  </a:cxn>
                  <a:cxn ang="0">
                    <a:pos x="T2" y="T3"/>
                  </a:cxn>
                  <a:cxn ang="0">
                    <a:pos x="T4" y="T5"/>
                  </a:cxn>
                  <a:cxn ang="0">
                    <a:pos x="T6" y="T7"/>
                  </a:cxn>
                  <a:cxn ang="0">
                    <a:pos x="T8" y="T9"/>
                  </a:cxn>
                </a:cxnLst>
                <a:rect l="0" t="0" r="r" b="b"/>
                <a:pathLst>
                  <a:path w="377" h="462">
                    <a:moveTo>
                      <a:pt x="73" y="461"/>
                    </a:moveTo>
                    <a:cubicBezTo>
                      <a:pt x="174" y="327"/>
                      <a:pt x="275" y="192"/>
                      <a:pt x="376" y="58"/>
                    </a:cubicBezTo>
                    <a:cubicBezTo>
                      <a:pt x="350" y="39"/>
                      <a:pt x="324" y="19"/>
                      <a:pt x="298" y="0"/>
                    </a:cubicBezTo>
                    <a:cubicBezTo>
                      <a:pt x="199" y="134"/>
                      <a:pt x="100" y="269"/>
                      <a:pt x="0" y="403"/>
                    </a:cubicBezTo>
                    <a:cubicBezTo>
                      <a:pt x="25" y="422"/>
                      <a:pt x="49" y="442"/>
                      <a:pt x="73" y="46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5" name="Freeform 201">
                <a:extLst>
                  <a:ext uri="{FF2B5EF4-FFF2-40B4-BE49-F238E27FC236}">
                    <a16:creationId xmlns:a16="http://schemas.microsoft.com/office/drawing/2014/main" id="{CF09D7F5-64FF-6446-8B00-BCE044EB6956}"/>
                  </a:ext>
                </a:extLst>
              </p:cNvPr>
              <p:cNvSpPr>
                <a:spLocks noChangeArrowheads="1"/>
              </p:cNvSpPr>
              <p:nvPr/>
            </p:nvSpPr>
            <p:spPr bwMode="auto">
              <a:xfrm>
                <a:off x="5767388" y="6811963"/>
                <a:ext cx="22225" cy="20637"/>
              </a:xfrm>
              <a:custGeom>
                <a:avLst/>
                <a:gdLst>
                  <a:gd name="T0" fmla="*/ 43 w 70"/>
                  <a:gd name="T1" fmla="*/ 62 h 68"/>
                  <a:gd name="T2" fmla="*/ 43 w 70"/>
                  <a:gd name="T3" fmla="*/ 62 h 68"/>
                  <a:gd name="T4" fmla="*/ 63 w 70"/>
                  <a:gd name="T5" fmla="*/ 26 h 68"/>
                  <a:gd name="T6" fmla="*/ 27 w 70"/>
                  <a:gd name="T7" fmla="*/ 5 h 68"/>
                  <a:gd name="T8" fmla="*/ 6 w 70"/>
                  <a:gd name="T9" fmla="*/ 41 h 68"/>
                  <a:gd name="T10" fmla="*/ 43 w 70"/>
                  <a:gd name="T11" fmla="*/ 62 h 68"/>
                </a:gdLst>
                <a:ahLst/>
                <a:cxnLst>
                  <a:cxn ang="0">
                    <a:pos x="T0" y="T1"/>
                  </a:cxn>
                  <a:cxn ang="0">
                    <a:pos x="T2" y="T3"/>
                  </a:cxn>
                  <a:cxn ang="0">
                    <a:pos x="T4" y="T5"/>
                  </a:cxn>
                  <a:cxn ang="0">
                    <a:pos x="T6" y="T7"/>
                  </a:cxn>
                  <a:cxn ang="0">
                    <a:pos x="T8" y="T9"/>
                  </a:cxn>
                  <a:cxn ang="0">
                    <a:pos x="T10" y="T11"/>
                  </a:cxn>
                </a:cxnLst>
                <a:rect l="0" t="0" r="r" b="b"/>
                <a:pathLst>
                  <a:path w="70" h="68">
                    <a:moveTo>
                      <a:pt x="43" y="62"/>
                    </a:moveTo>
                    <a:lnTo>
                      <a:pt x="43" y="62"/>
                    </a:lnTo>
                    <a:cubicBezTo>
                      <a:pt x="58" y="57"/>
                      <a:pt x="69" y="41"/>
                      <a:pt x="63" y="26"/>
                    </a:cubicBezTo>
                    <a:cubicBezTo>
                      <a:pt x="58" y="10"/>
                      <a:pt x="43" y="0"/>
                      <a:pt x="27" y="5"/>
                    </a:cubicBezTo>
                    <a:cubicBezTo>
                      <a:pt x="11" y="10"/>
                      <a:pt x="0" y="26"/>
                      <a:pt x="6" y="41"/>
                    </a:cubicBezTo>
                    <a:cubicBezTo>
                      <a:pt x="11" y="57"/>
                      <a:pt x="27" y="67"/>
                      <a:pt x="43" y="62"/>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6" name="Freeform 202">
                <a:extLst>
                  <a:ext uri="{FF2B5EF4-FFF2-40B4-BE49-F238E27FC236}">
                    <a16:creationId xmlns:a16="http://schemas.microsoft.com/office/drawing/2014/main" id="{810BA01C-1DBE-FE9A-15AC-8914A47119CB}"/>
                  </a:ext>
                </a:extLst>
              </p:cNvPr>
              <p:cNvSpPr>
                <a:spLocks noChangeArrowheads="1"/>
              </p:cNvSpPr>
              <p:nvPr/>
            </p:nvSpPr>
            <p:spPr bwMode="auto">
              <a:xfrm>
                <a:off x="5822951" y="6707188"/>
                <a:ext cx="53975" cy="53975"/>
              </a:xfrm>
              <a:custGeom>
                <a:avLst/>
                <a:gdLst>
                  <a:gd name="T0" fmla="*/ 100 w 158"/>
                  <a:gd name="T1" fmla="*/ 146 h 158"/>
                  <a:gd name="T2" fmla="*/ 100 w 158"/>
                  <a:gd name="T3" fmla="*/ 146 h 158"/>
                  <a:gd name="T4" fmla="*/ 142 w 158"/>
                  <a:gd name="T5" fmla="*/ 57 h 158"/>
                  <a:gd name="T6" fmla="*/ 58 w 158"/>
                  <a:gd name="T7" fmla="*/ 10 h 158"/>
                  <a:gd name="T8" fmla="*/ 11 w 158"/>
                  <a:gd name="T9" fmla="*/ 99 h 158"/>
                  <a:gd name="T10" fmla="*/ 100 w 158"/>
                  <a:gd name="T11" fmla="*/ 146 h 158"/>
                </a:gdLst>
                <a:ahLst/>
                <a:cxnLst>
                  <a:cxn ang="0">
                    <a:pos x="T0" y="T1"/>
                  </a:cxn>
                  <a:cxn ang="0">
                    <a:pos x="T2" y="T3"/>
                  </a:cxn>
                  <a:cxn ang="0">
                    <a:pos x="T4" y="T5"/>
                  </a:cxn>
                  <a:cxn ang="0">
                    <a:pos x="T6" y="T7"/>
                  </a:cxn>
                  <a:cxn ang="0">
                    <a:pos x="T8" y="T9"/>
                  </a:cxn>
                  <a:cxn ang="0">
                    <a:pos x="T10" y="T11"/>
                  </a:cxn>
                </a:cxnLst>
                <a:rect l="0" t="0" r="r" b="b"/>
                <a:pathLst>
                  <a:path w="158" h="158">
                    <a:moveTo>
                      <a:pt x="100" y="146"/>
                    </a:moveTo>
                    <a:lnTo>
                      <a:pt x="100" y="146"/>
                    </a:lnTo>
                    <a:cubicBezTo>
                      <a:pt x="136" y="130"/>
                      <a:pt x="157" y="94"/>
                      <a:pt x="142" y="57"/>
                    </a:cubicBezTo>
                    <a:cubicBezTo>
                      <a:pt x="131" y="20"/>
                      <a:pt x="95" y="0"/>
                      <a:pt x="58" y="10"/>
                    </a:cubicBezTo>
                    <a:cubicBezTo>
                      <a:pt x="21" y="26"/>
                      <a:pt x="0" y="63"/>
                      <a:pt x="11" y="99"/>
                    </a:cubicBezTo>
                    <a:cubicBezTo>
                      <a:pt x="21" y="135"/>
                      <a:pt x="63" y="157"/>
                      <a:pt x="100" y="14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7" name="Freeform 203">
                <a:extLst>
                  <a:ext uri="{FF2B5EF4-FFF2-40B4-BE49-F238E27FC236}">
                    <a16:creationId xmlns:a16="http://schemas.microsoft.com/office/drawing/2014/main" id="{CB7EDABE-C77C-6085-89AE-DF4269D74D07}"/>
                  </a:ext>
                </a:extLst>
              </p:cNvPr>
              <p:cNvSpPr>
                <a:spLocks noChangeArrowheads="1"/>
              </p:cNvSpPr>
              <p:nvPr/>
            </p:nvSpPr>
            <p:spPr bwMode="auto">
              <a:xfrm>
                <a:off x="5640388" y="6686550"/>
                <a:ext cx="28575" cy="28575"/>
              </a:xfrm>
              <a:custGeom>
                <a:avLst/>
                <a:gdLst>
                  <a:gd name="T0" fmla="*/ 58 w 90"/>
                  <a:gd name="T1" fmla="*/ 78 h 90"/>
                  <a:gd name="T2" fmla="*/ 58 w 90"/>
                  <a:gd name="T3" fmla="*/ 78 h 90"/>
                  <a:gd name="T4" fmla="*/ 84 w 90"/>
                  <a:gd name="T5" fmla="*/ 32 h 90"/>
                  <a:gd name="T6" fmla="*/ 37 w 90"/>
                  <a:gd name="T7" fmla="*/ 5 h 90"/>
                  <a:gd name="T8" fmla="*/ 10 w 90"/>
                  <a:gd name="T9" fmla="*/ 58 h 90"/>
                  <a:gd name="T10" fmla="*/ 58 w 90"/>
                  <a:gd name="T11" fmla="*/ 78 h 90"/>
                </a:gdLst>
                <a:ahLst/>
                <a:cxnLst>
                  <a:cxn ang="0">
                    <a:pos x="T0" y="T1"/>
                  </a:cxn>
                  <a:cxn ang="0">
                    <a:pos x="T2" y="T3"/>
                  </a:cxn>
                  <a:cxn ang="0">
                    <a:pos x="T4" y="T5"/>
                  </a:cxn>
                  <a:cxn ang="0">
                    <a:pos x="T6" y="T7"/>
                  </a:cxn>
                  <a:cxn ang="0">
                    <a:pos x="T8" y="T9"/>
                  </a:cxn>
                  <a:cxn ang="0">
                    <a:pos x="T10" y="T11"/>
                  </a:cxn>
                </a:cxnLst>
                <a:rect l="0" t="0" r="r" b="b"/>
                <a:pathLst>
                  <a:path w="90" h="90">
                    <a:moveTo>
                      <a:pt x="58" y="78"/>
                    </a:moveTo>
                    <a:lnTo>
                      <a:pt x="58" y="78"/>
                    </a:lnTo>
                    <a:cubicBezTo>
                      <a:pt x="78" y="73"/>
                      <a:pt x="89" y="52"/>
                      <a:pt x="84" y="32"/>
                    </a:cubicBezTo>
                    <a:cubicBezTo>
                      <a:pt x="78" y="11"/>
                      <a:pt x="58" y="0"/>
                      <a:pt x="37" y="5"/>
                    </a:cubicBezTo>
                    <a:cubicBezTo>
                      <a:pt x="15" y="11"/>
                      <a:pt x="0" y="37"/>
                      <a:pt x="10" y="58"/>
                    </a:cubicBezTo>
                    <a:cubicBezTo>
                      <a:pt x="15" y="73"/>
                      <a:pt x="37" y="89"/>
                      <a:pt x="58" y="7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8" name="Freeform 204">
                <a:extLst>
                  <a:ext uri="{FF2B5EF4-FFF2-40B4-BE49-F238E27FC236}">
                    <a16:creationId xmlns:a16="http://schemas.microsoft.com/office/drawing/2014/main" id="{7CE0C8CD-99CD-2F05-28B2-7C4A3FC06BBD}"/>
                  </a:ext>
                </a:extLst>
              </p:cNvPr>
              <p:cNvSpPr>
                <a:spLocks noChangeArrowheads="1"/>
              </p:cNvSpPr>
              <p:nvPr/>
            </p:nvSpPr>
            <p:spPr bwMode="auto">
              <a:xfrm>
                <a:off x="5922963" y="7059613"/>
                <a:ext cx="22225" cy="22225"/>
              </a:xfrm>
              <a:custGeom>
                <a:avLst/>
                <a:gdLst>
                  <a:gd name="T0" fmla="*/ 27 w 70"/>
                  <a:gd name="T1" fmla="*/ 5 h 69"/>
                  <a:gd name="T2" fmla="*/ 27 w 70"/>
                  <a:gd name="T3" fmla="*/ 5 h 69"/>
                  <a:gd name="T4" fmla="*/ 6 w 70"/>
                  <a:gd name="T5" fmla="*/ 42 h 69"/>
                  <a:gd name="T6" fmla="*/ 43 w 70"/>
                  <a:gd name="T7" fmla="*/ 63 h 69"/>
                  <a:gd name="T8" fmla="*/ 63 w 70"/>
                  <a:gd name="T9" fmla="*/ 21 h 69"/>
                  <a:gd name="T10" fmla="*/ 27 w 70"/>
                  <a:gd name="T11" fmla="*/ 5 h 69"/>
                </a:gdLst>
                <a:ahLst/>
                <a:cxnLst>
                  <a:cxn ang="0">
                    <a:pos x="T0" y="T1"/>
                  </a:cxn>
                  <a:cxn ang="0">
                    <a:pos x="T2" y="T3"/>
                  </a:cxn>
                  <a:cxn ang="0">
                    <a:pos x="T4" y="T5"/>
                  </a:cxn>
                  <a:cxn ang="0">
                    <a:pos x="T6" y="T7"/>
                  </a:cxn>
                  <a:cxn ang="0">
                    <a:pos x="T8" y="T9"/>
                  </a:cxn>
                  <a:cxn ang="0">
                    <a:pos x="T10" y="T11"/>
                  </a:cxn>
                </a:cxnLst>
                <a:rect l="0" t="0" r="r" b="b"/>
                <a:pathLst>
                  <a:path w="70" h="69">
                    <a:moveTo>
                      <a:pt x="27" y="5"/>
                    </a:moveTo>
                    <a:lnTo>
                      <a:pt x="27" y="5"/>
                    </a:lnTo>
                    <a:cubicBezTo>
                      <a:pt x="11" y="10"/>
                      <a:pt x="0" y="26"/>
                      <a:pt x="6" y="42"/>
                    </a:cubicBezTo>
                    <a:cubicBezTo>
                      <a:pt x="11" y="57"/>
                      <a:pt x="27" y="68"/>
                      <a:pt x="43" y="63"/>
                    </a:cubicBezTo>
                    <a:cubicBezTo>
                      <a:pt x="58" y="57"/>
                      <a:pt x="69" y="36"/>
                      <a:pt x="63" y="21"/>
                    </a:cubicBezTo>
                    <a:cubicBezTo>
                      <a:pt x="58" y="5"/>
                      <a:pt x="43" y="0"/>
                      <a:pt x="27" y="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49" name="Freeform 205">
                <a:extLst>
                  <a:ext uri="{FF2B5EF4-FFF2-40B4-BE49-F238E27FC236}">
                    <a16:creationId xmlns:a16="http://schemas.microsoft.com/office/drawing/2014/main" id="{2F4A4781-7888-F90F-BD58-484251BD658E}"/>
                  </a:ext>
                </a:extLst>
              </p:cNvPr>
              <p:cNvSpPr>
                <a:spLocks noChangeArrowheads="1"/>
              </p:cNvSpPr>
              <p:nvPr/>
            </p:nvSpPr>
            <p:spPr bwMode="auto">
              <a:xfrm>
                <a:off x="5895976" y="6911975"/>
                <a:ext cx="69850" cy="68262"/>
              </a:xfrm>
              <a:custGeom>
                <a:avLst/>
                <a:gdLst>
                  <a:gd name="T0" fmla="*/ 188 w 204"/>
                  <a:gd name="T1" fmla="*/ 73 h 200"/>
                  <a:gd name="T2" fmla="*/ 188 w 204"/>
                  <a:gd name="T3" fmla="*/ 73 h 200"/>
                  <a:gd name="T4" fmla="*/ 72 w 204"/>
                  <a:gd name="T5" fmla="*/ 15 h 200"/>
                  <a:gd name="T6" fmla="*/ 15 w 204"/>
                  <a:gd name="T7" fmla="*/ 125 h 200"/>
                  <a:gd name="T8" fmla="*/ 130 w 204"/>
                  <a:gd name="T9" fmla="*/ 183 h 200"/>
                  <a:gd name="T10" fmla="*/ 188 w 204"/>
                  <a:gd name="T11" fmla="*/ 73 h 200"/>
                </a:gdLst>
                <a:ahLst/>
                <a:cxnLst>
                  <a:cxn ang="0">
                    <a:pos x="T0" y="T1"/>
                  </a:cxn>
                  <a:cxn ang="0">
                    <a:pos x="T2" y="T3"/>
                  </a:cxn>
                  <a:cxn ang="0">
                    <a:pos x="T4" y="T5"/>
                  </a:cxn>
                  <a:cxn ang="0">
                    <a:pos x="T6" y="T7"/>
                  </a:cxn>
                  <a:cxn ang="0">
                    <a:pos x="T8" y="T9"/>
                  </a:cxn>
                  <a:cxn ang="0">
                    <a:pos x="T10" y="T11"/>
                  </a:cxn>
                </a:cxnLst>
                <a:rect l="0" t="0" r="r" b="b"/>
                <a:pathLst>
                  <a:path w="204" h="200">
                    <a:moveTo>
                      <a:pt x="188" y="73"/>
                    </a:moveTo>
                    <a:lnTo>
                      <a:pt x="188" y="73"/>
                    </a:lnTo>
                    <a:cubicBezTo>
                      <a:pt x="172" y="26"/>
                      <a:pt x="120" y="0"/>
                      <a:pt x="72" y="15"/>
                    </a:cubicBezTo>
                    <a:cubicBezTo>
                      <a:pt x="26" y="32"/>
                      <a:pt x="0" y="84"/>
                      <a:pt x="15" y="125"/>
                    </a:cubicBezTo>
                    <a:cubicBezTo>
                      <a:pt x="31" y="173"/>
                      <a:pt x="83" y="199"/>
                      <a:pt x="130" y="183"/>
                    </a:cubicBezTo>
                    <a:cubicBezTo>
                      <a:pt x="177" y="173"/>
                      <a:pt x="203" y="120"/>
                      <a:pt x="188" y="7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0" name="Freeform 206">
                <a:extLst>
                  <a:ext uri="{FF2B5EF4-FFF2-40B4-BE49-F238E27FC236}">
                    <a16:creationId xmlns:a16="http://schemas.microsoft.com/office/drawing/2014/main" id="{15A5ACFF-143A-69FF-6EB2-9D795BA6A916}"/>
                  </a:ext>
                </a:extLst>
              </p:cNvPr>
              <p:cNvSpPr>
                <a:spLocks noChangeArrowheads="1"/>
              </p:cNvSpPr>
              <p:nvPr/>
            </p:nvSpPr>
            <p:spPr bwMode="auto">
              <a:xfrm>
                <a:off x="5773738" y="7075488"/>
                <a:ext cx="60325" cy="61912"/>
              </a:xfrm>
              <a:custGeom>
                <a:avLst/>
                <a:gdLst>
                  <a:gd name="T0" fmla="*/ 62 w 178"/>
                  <a:gd name="T1" fmla="*/ 10 h 179"/>
                  <a:gd name="T2" fmla="*/ 62 w 178"/>
                  <a:gd name="T3" fmla="*/ 10 h 179"/>
                  <a:gd name="T4" fmla="*/ 15 w 178"/>
                  <a:gd name="T5" fmla="*/ 110 h 179"/>
                  <a:gd name="T6" fmla="*/ 115 w 178"/>
                  <a:gd name="T7" fmla="*/ 162 h 179"/>
                  <a:gd name="T8" fmla="*/ 167 w 178"/>
                  <a:gd name="T9" fmla="*/ 63 h 179"/>
                  <a:gd name="T10" fmla="*/ 62 w 178"/>
                  <a:gd name="T11" fmla="*/ 10 h 179"/>
                </a:gdLst>
                <a:ahLst/>
                <a:cxnLst>
                  <a:cxn ang="0">
                    <a:pos x="T0" y="T1"/>
                  </a:cxn>
                  <a:cxn ang="0">
                    <a:pos x="T2" y="T3"/>
                  </a:cxn>
                  <a:cxn ang="0">
                    <a:pos x="T4" y="T5"/>
                  </a:cxn>
                  <a:cxn ang="0">
                    <a:pos x="T6" y="T7"/>
                  </a:cxn>
                  <a:cxn ang="0">
                    <a:pos x="T8" y="T9"/>
                  </a:cxn>
                  <a:cxn ang="0">
                    <a:pos x="T10" y="T11"/>
                  </a:cxn>
                </a:cxnLst>
                <a:rect l="0" t="0" r="r" b="b"/>
                <a:pathLst>
                  <a:path w="178" h="179">
                    <a:moveTo>
                      <a:pt x="62" y="10"/>
                    </a:moveTo>
                    <a:lnTo>
                      <a:pt x="62" y="10"/>
                    </a:lnTo>
                    <a:cubicBezTo>
                      <a:pt x="20" y="26"/>
                      <a:pt x="0" y="68"/>
                      <a:pt x="15" y="110"/>
                    </a:cubicBezTo>
                    <a:cubicBezTo>
                      <a:pt x="26" y="152"/>
                      <a:pt x="72" y="178"/>
                      <a:pt x="115" y="162"/>
                    </a:cubicBezTo>
                    <a:cubicBezTo>
                      <a:pt x="156" y="152"/>
                      <a:pt x="177" y="105"/>
                      <a:pt x="167" y="63"/>
                    </a:cubicBezTo>
                    <a:cubicBezTo>
                      <a:pt x="151" y="21"/>
                      <a:pt x="104" y="0"/>
                      <a:pt x="62" y="1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nvGrpSpPr>
            <p:cNvPr id="51" name="Group 53">
              <a:extLst>
                <a:ext uri="{FF2B5EF4-FFF2-40B4-BE49-F238E27FC236}">
                  <a16:creationId xmlns:a16="http://schemas.microsoft.com/office/drawing/2014/main" id="{30D0DDD3-6410-7E9C-D08B-67E303AE6BF8}"/>
                </a:ext>
              </a:extLst>
            </p:cNvPr>
            <p:cNvGrpSpPr/>
            <p:nvPr userDrawn="1"/>
          </p:nvGrpSpPr>
          <p:grpSpPr>
            <a:xfrm>
              <a:off x="13217362" y="6283978"/>
              <a:ext cx="1013650" cy="953018"/>
              <a:chOff x="1643063" y="3300413"/>
              <a:chExt cx="1035049" cy="973137"/>
            </a:xfrm>
            <a:solidFill>
              <a:schemeClr val="bg1"/>
            </a:solidFill>
          </p:grpSpPr>
          <p:sp>
            <p:nvSpPr>
              <p:cNvPr id="52" name="Freeform 53">
                <a:extLst>
                  <a:ext uri="{FF2B5EF4-FFF2-40B4-BE49-F238E27FC236}">
                    <a16:creationId xmlns:a16="http://schemas.microsoft.com/office/drawing/2014/main" id="{868A089F-C993-4D87-04FA-D63D8008716F}"/>
                  </a:ext>
                </a:extLst>
              </p:cNvPr>
              <p:cNvSpPr>
                <a:spLocks noChangeArrowheads="1"/>
              </p:cNvSpPr>
              <p:nvPr/>
            </p:nvSpPr>
            <p:spPr bwMode="auto">
              <a:xfrm>
                <a:off x="2122488" y="3467100"/>
                <a:ext cx="104775" cy="49212"/>
              </a:xfrm>
              <a:custGeom>
                <a:avLst/>
                <a:gdLst>
                  <a:gd name="T0" fmla="*/ 37 w 300"/>
                  <a:gd name="T1" fmla="*/ 146 h 147"/>
                  <a:gd name="T2" fmla="*/ 37 w 300"/>
                  <a:gd name="T3" fmla="*/ 146 h 147"/>
                  <a:gd name="T4" fmla="*/ 299 w 300"/>
                  <a:gd name="T5" fmla="*/ 94 h 147"/>
                  <a:gd name="T6" fmla="*/ 299 w 300"/>
                  <a:gd name="T7" fmla="*/ 0 h 147"/>
                  <a:gd name="T8" fmla="*/ 0 w 300"/>
                  <a:gd name="T9" fmla="*/ 58 h 147"/>
                  <a:gd name="T10" fmla="*/ 37 w 300"/>
                  <a:gd name="T11" fmla="*/ 146 h 147"/>
                </a:gdLst>
                <a:ahLst/>
                <a:cxnLst>
                  <a:cxn ang="0">
                    <a:pos x="T0" y="T1"/>
                  </a:cxn>
                  <a:cxn ang="0">
                    <a:pos x="T2" y="T3"/>
                  </a:cxn>
                  <a:cxn ang="0">
                    <a:pos x="T4" y="T5"/>
                  </a:cxn>
                  <a:cxn ang="0">
                    <a:pos x="T6" y="T7"/>
                  </a:cxn>
                  <a:cxn ang="0">
                    <a:pos x="T8" y="T9"/>
                  </a:cxn>
                  <a:cxn ang="0">
                    <a:pos x="T10" y="T11"/>
                  </a:cxn>
                </a:cxnLst>
                <a:rect l="0" t="0" r="r" b="b"/>
                <a:pathLst>
                  <a:path w="300" h="147">
                    <a:moveTo>
                      <a:pt x="37" y="146"/>
                    </a:moveTo>
                    <a:lnTo>
                      <a:pt x="37" y="146"/>
                    </a:lnTo>
                    <a:cubicBezTo>
                      <a:pt x="121" y="110"/>
                      <a:pt x="210" y="94"/>
                      <a:pt x="299" y="94"/>
                    </a:cubicBezTo>
                    <a:cubicBezTo>
                      <a:pt x="299" y="0"/>
                      <a:pt x="299" y="31"/>
                      <a:pt x="299" y="0"/>
                    </a:cubicBezTo>
                    <a:cubicBezTo>
                      <a:pt x="194" y="0"/>
                      <a:pt x="95" y="21"/>
                      <a:pt x="0" y="58"/>
                    </a:cubicBezTo>
                    <a:cubicBezTo>
                      <a:pt x="12" y="87"/>
                      <a:pt x="24" y="116"/>
                      <a:pt x="37" y="14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3" name="Freeform 54">
                <a:extLst>
                  <a:ext uri="{FF2B5EF4-FFF2-40B4-BE49-F238E27FC236}">
                    <a16:creationId xmlns:a16="http://schemas.microsoft.com/office/drawing/2014/main" id="{FF39705A-76EF-5013-670E-8AE9147D3498}"/>
                  </a:ext>
                </a:extLst>
              </p:cNvPr>
              <p:cNvSpPr>
                <a:spLocks noChangeArrowheads="1"/>
              </p:cNvSpPr>
              <p:nvPr/>
            </p:nvSpPr>
            <p:spPr bwMode="auto">
              <a:xfrm>
                <a:off x="1944688" y="3509963"/>
                <a:ext cx="146050" cy="236537"/>
              </a:xfrm>
              <a:custGeom>
                <a:avLst/>
                <a:gdLst>
                  <a:gd name="T0" fmla="*/ 0 w 414"/>
                  <a:gd name="T1" fmla="*/ 665 h 666"/>
                  <a:gd name="T2" fmla="*/ 0 w 414"/>
                  <a:gd name="T3" fmla="*/ 665 h 666"/>
                  <a:gd name="T4" fmla="*/ 94 w 414"/>
                  <a:gd name="T5" fmla="*/ 665 h 666"/>
                  <a:gd name="T6" fmla="*/ 413 w 414"/>
                  <a:gd name="T7" fmla="*/ 79 h 666"/>
                  <a:gd name="T8" fmla="*/ 366 w 414"/>
                  <a:gd name="T9" fmla="*/ 0 h 666"/>
                  <a:gd name="T10" fmla="*/ 0 w 414"/>
                  <a:gd name="T11" fmla="*/ 665 h 666"/>
                </a:gdLst>
                <a:ahLst/>
                <a:cxnLst>
                  <a:cxn ang="0">
                    <a:pos x="T0" y="T1"/>
                  </a:cxn>
                  <a:cxn ang="0">
                    <a:pos x="T2" y="T3"/>
                  </a:cxn>
                  <a:cxn ang="0">
                    <a:pos x="T4" y="T5"/>
                  </a:cxn>
                  <a:cxn ang="0">
                    <a:pos x="T6" y="T7"/>
                  </a:cxn>
                  <a:cxn ang="0">
                    <a:pos x="T8" y="T9"/>
                  </a:cxn>
                  <a:cxn ang="0">
                    <a:pos x="T10" y="T11"/>
                  </a:cxn>
                </a:cxnLst>
                <a:rect l="0" t="0" r="r" b="b"/>
                <a:pathLst>
                  <a:path w="414" h="666">
                    <a:moveTo>
                      <a:pt x="0" y="665"/>
                    </a:moveTo>
                    <a:lnTo>
                      <a:pt x="0" y="665"/>
                    </a:lnTo>
                    <a:cubicBezTo>
                      <a:pt x="94" y="665"/>
                      <a:pt x="62" y="665"/>
                      <a:pt x="94" y="665"/>
                    </a:cubicBezTo>
                    <a:cubicBezTo>
                      <a:pt x="94" y="429"/>
                      <a:pt x="214" y="210"/>
                      <a:pt x="413" y="79"/>
                    </a:cubicBezTo>
                    <a:cubicBezTo>
                      <a:pt x="366" y="0"/>
                      <a:pt x="381" y="26"/>
                      <a:pt x="366" y="0"/>
                    </a:cubicBezTo>
                    <a:cubicBezTo>
                      <a:pt x="136" y="147"/>
                      <a:pt x="0" y="398"/>
                      <a:pt x="0" y="66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4" name="Freeform 55">
                <a:extLst>
                  <a:ext uri="{FF2B5EF4-FFF2-40B4-BE49-F238E27FC236}">
                    <a16:creationId xmlns:a16="http://schemas.microsoft.com/office/drawing/2014/main" id="{00166DE5-6B5A-401F-BCCC-FB821EA3E9CF}"/>
                  </a:ext>
                </a:extLst>
              </p:cNvPr>
              <p:cNvSpPr>
                <a:spLocks noChangeArrowheads="1"/>
              </p:cNvSpPr>
              <p:nvPr/>
            </p:nvSpPr>
            <p:spPr bwMode="auto">
              <a:xfrm>
                <a:off x="1812925" y="3335338"/>
                <a:ext cx="865187" cy="838200"/>
              </a:xfrm>
              <a:custGeom>
                <a:avLst/>
                <a:gdLst>
                  <a:gd name="T0" fmla="*/ 2275 w 2412"/>
                  <a:gd name="T1" fmla="*/ 36 h 2338"/>
                  <a:gd name="T2" fmla="*/ 2275 w 2412"/>
                  <a:gd name="T3" fmla="*/ 36 h 2338"/>
                  <a:gd name="T4" fmla="*/ 2228 w 2412"/>
                  <a:gd name="T5" fmla="*/ 0 h 2338"/>
                  <a:gd name="T6" fmla="*/ 2181 w 2412"/>
                  <a:gd name="T7" fmla="*/ 89 h 2338"/>
                  <a:gd name="T8" fmla="*/ 2207 w 2412"/>
                  <a:gd name="T9" fmla="*/ 104 h 2338"/>
                  <a:gd name="T10" fmla="*/ 2061 w 2412"/>
                  <a:gd name="T11" fmla="*/ 690 h 2338"/>
                  <a:gd name="T12" fmla="*/ 1156 w 2412"/>
                  <a:gd name="T13" fmla="*/ 136 h 2338"/>
                  <a:gd name="T14" fmla="*/ 136 w 2412"/>
                  <a:gd name="T15" fmla="*/ 1156 h 2338"/>
                  <a:gd name="T16" fmla="*/ 685 w 2412"/>
                  <a:gd name="T17" fmla="*/ 2060 h 2338"/>
                  <a:gd name="T18" fmla="*/ 104 w 2412"/>
                  <a:gd name="T19" fmla="*/ 2212 h 2338"/>
                  <a:gd name="T20" fmla="*/ 84 w 2412"/>
                  <a:gd name="T21" fmla="*/ 2185 h 2338"/>
                  <a:gd name="T22" fmla="*/ 0 w 2412"/>
                  <a:gd name="T23" fmla="*/ 2227 h 2338"/>
                  <a:gd name="T24" fmla="*/ 36 w 2412"/>
                  <a:gd name="T25" fmla="*/ 2274 h 2338"/>
                  <a:gd name="T26" fmla="*/ 209 w 2412"/>
                  <a:gd name="T27" fmla="*/ 2337 h 2338"/>
                  <a:gd name="T28" fmla="*/ 790 w 2412"/>
                  <a:gd name="T29" fmla="*/ 2107 h 2338"/>
                  <a:gd name="T30" fmla="*/ 1156 w 2412"/>
                  <a:gd name="T31" fmla="*/ 2175 h 2338"/>
                  <a:gd name="T32" fmla="*/ 2176 w 2412"/>
                  <a:gd name="T33" fmla="*/ 1156 h 2338"/>
                  <a:gd name="T34" fmla="*/ 2108 w 2412"/>
                  <a:gd name="T35" fmla="*/ 795 h 2338"/>
                  <a:gd name="T36" fmla="*/ 2275 w 2412"/>
                  <a:gd name="T37" fmla="*/ 36 h 2338"/>
                  <a:gd name="T38" fmla="*/ 230 w 2412"/>
                  <a:gd name="T39" fmla="*/ 1156 h 2338"/>
                  <a:gd name="T40" fmla="*/ 230 w 2412"/>
                  <a:gd name="T41" fmla="*/ 1156 h 2338"/>
                  <a:gd name="T42" fmla="*/ 1156 w 2412"/>
                  <a:gd name="T43" fmla="*/ 230 h 2338"/>
                  <a:gd name="T44" fmla="*/ 2003 w 2412"/>
                  <a:gd name="T45" fmla="*/ 784 h 2338"/>
                  <a:gd name="T46" fmla="*/ 1449 w 2412"/>
                  <a:gd name="T47" fmla="*/ 1448 h 2338"/>
                  <a:gd name="T48" fmla="*/ 779 w 2412"/>
                  <a:gd name="T49" fmla="*/ 2002 h 2338"/>
                  <a:gd name="T50" fmla="*/ 230 w 2412"/>
                  <a:gd name="T51" fmla="*/ 1156 h 2338"/>
                  <a:gd name="T52" fmla="*/ 2082 w 2412"/>
                  <a:gd name="T53" fmla="*/ 1156 h 2338"/>
                  <a:gd name="T54" fmla="*/ 2082 w 2412"/>
                  <a:gd name="T55" fmla="*/ 1156 h 2338"/>
                  <a:gd name="T56" fmla="*/ 1156 w 2412"/>
                  <a:gd name="T57" fmla="*/ 2081 h 2338"/>
                  <a:gd name="T58" fmla="*/ 889 w 2412"/>
                  <a:gd name="T59" fmla="*/ 2044 h 2338"/>
                  <a:gd name="T60" fmla="*/ 1517 w 2412"/>
                  <a:gd name="T61" fmla="*/ 1516 h 2338"/>
                  <a:gd name="T62" fmla="*/ 2045 w 2412"/>
                  <a:gd name="T63" fmla="*/ 889 h 2338"/>
                  <a:gd name="T64" fmla="*/ 2082 w 2412"/>
                  <a:gd name="T65" fmla="*/ 1156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2" h="2338">
                    <a:moveTo>
                      <a:pt x="2275" y="36"/>
                    </a:moveTo>
                    <a:lnTo>
                      <a:pt x="2275" y="36"/>
                    </a:lnTo>
                    <a:cubicBezTo>
                      <a:pt x="2260" y="26"/>
                      <a:pt x="2244" y="10"/>
                      <a:pt x="2228" y="0"/>
                    </a:cubicBezTo>
                    <a:cubicBezTo>
                      <a:pt x="2181" y="89"/>
                      <a:pt x="2196" y="59"/>
                      <a:pt x="2181" y="89"/>
                    </a:cubicBezTo>
                    <a:cubicBezTo>
                      <a:pt x="2191" y="94"/>
                      <a:pt x="2202" y="99"/>
                      <a:pt x="2207" y="104"/>
                    </a:cubicBezTo>
                    <a:cubicBezTo>
                      <a:pt x="2286" y="183"/>
                      <a:pt x="2234" y="402"/>
                      <a:pt x="2061" y="690"/>
                    </a:cubicBezTo>
                    <a:cubicBezTo>
                      <a:pt x="1894" y="361"/>
                      <a:pt x="1548" y="136"/>
                      <a:pt x="1156" y="136"/>
                    </a:cubicBezTo>
                    <a:cubicBezTo>
                      <a:pt x="596" y="136"/>
                      <a:pt x="136" y="596"/>
                      <a:pt x="136" y="1156"/>
                    </a:cubicBezTo>
                    <a:cubicBezTo>
                      <a:pt x="136" y="1553"/>
                      <a:pt x="361" y="1893"/>
                      <a:pt x="685" y="2060"/>
                    </a:cubicBezTo>
                    <a:cubicBezTo>
                      <a:pt x="402" y="2233"/>
                      <a:pt x="183" y="2290"/>
                      <a:pt x="104" y="2212"/>
                    </a:cubicBezTo>
                    <a:cubicBezTo>
                      <a:pt x="94" y="2201"/>
                      <a:pt x="89" y="2196"/>
                      <a:pt x="84" y="2185"/>
                    </a:cubicBezTo>
                    <a:cubicBezTo>
                      <a:pt x="0" y="2227"/>
                      <a:pt x="28" y="2213"/>
                      <a:pt x="0" y="2227"/>
                    </a:cubicBezTo>
                    <a:cubicBezTo>
                      <a:pt x="10" y="2243"/>
                      <a:pt x="21" y="2264"/>
                      <a:pt x="36" y="2274"/>
                    </a:cubicBezTo>
                    <a:cubicBezTo>
                      <a:pt x="78" y="2322"/>
                      <a:pt x="141" y="2337"/>
                      <a:pt x="209" y="2337"/>
                    </a:cubicBezTo>
                    <a:cubicBezTo>
                      <a:pt x="361" y="2337"/>
                      <a:pt x="570" y="2248"/>
                      <a:pt x="790" y="2107"/>
                    </a:cubicBezTo>
                    <a:cubicBezTo>
                      <a:pt x="905" y="2154"/>
                      <a:pt x="1030" y="2175"/>
                      <a:pt x="1156" y="2175"/>
                    </a:cubicBezTo>
                    <a:cubicBezTo>
                      <a:pt x="1721" y="2175"/>
                      <a:pt x="2176" y="1720"/>
                      <a:pt x="2176" y="1156"/>
                    </a:cubicBezTo>
                    <a:cubicBezTo>
                      <a:pt x="2176" y="1030"/>
                      <a:pt x="2150" y="905"/>
                      <a:pt x="2108" y="795"/>
                    </a:cubicBezTo>
                    <a:cubicBezTo>
                      <a:pt x="2317" y="465"/>
                      <a:pt x="2411" y="172"/>
                      <a:pt x="2275" y="36"/>
                    </a:cubicBezTo>
                    <a:close/>
                    <a:moveTo>
                      <a:pt x="230" y="1156"/>
                    </a:moveTo>
                    <a:lnTo>
                      <a:pt x="230" y="1156"/>
                    </a:lnTo>
                    <a:cubicBezTo>
                      <a:pt x="230" y="649"/>
                      <a:pt x="649" y="230"/>
                      <a:pt x="1156" y="230"/>
                    </a:cubicBezTo>
                    <a:cubicBezTo>
                      <a:pt x="1532" y="230"/>
                      <a:pt x="1857" y="460"/>
                      <a:pt x="2003" y="784"/>
                    </a:cubicBezTo>
                    <a:cubicBezTo>
                      <a:pt x="1867" y="983"/>
                      <a:pt x="1684" y="1214"/>
                      <a:pt x="1449" y="1448"/>
                    </a:cubicBezTo>
                    <a:cubicBezTo>
                      <a:pt x="1214" y="1683"/>
                      <a:pt x="983" y="1872"/>
                      <a:pt x="779" y="2002"/>
                    </a:cubicBezTo>
                    <a:cubicBezTo>
                      <a:pt x="455" y="1861"/>
                      <a:pt x="230" y="1532"/>
                      <a:pt x="230" y="1156"/>
                    </a:cubicBezTo>
                    <a:close/>
                    <a:moveTo>
                      <a:pt x="2082" y="1156"/>
                    </a:moveTo>
                    <a:lnTo>
                      <a:pt x="2082" y="1156"/>
                    </a:lnTo>
                    <a:cubicBezTo>
                      <a:pt x="2082" y="1668"/>
                      <a:pt x="1669" y="2081"/>
                      <a:pt x="1156" y="2081"/>
                    </a:cubicBezTo>
                    <a:cubicBezTo>
                      <a:pt x="1061" y="2081"/>
                      <a:pt x="972" y="2070"/>
                      <a:pt x="889" y="2044"/>
                    </a:cubicBezTo>
                    <a:cubicBezTo>
                      <a:pt x="1098" y="1898"/>
                      <a:pt x="1318" y="1715"/>
                      <a:pt x="1517" y="1516"/>
                    </a:cubicBezTo>
                    <a:cubicBezTo>
                      <a:pt x="1716" y="1317"/>
                      <a:pt x="1899" y="1098"/>
                      <a:pt x="2045" y="889"/>
                    </a:cubicBezTo>
                    <a:cubicBezTo>
                      <a:pt x="2066" y="978"/>
                      <a:pt x="2082" y="1067"/>
                      <a:pt x="2082" y="1156"/>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5" name="Freeform 56">
                <a:extLst>
                  <a:ext uri="{FF2B5EF4-FFF2-40B4-BE49-F238E27FC236}">
                    <a16:creationId xmlns:a16="http://schemas.microsoft.com/office/drawing/2014/main" id="{E47BF97B-EB98-0370-E387-DC5B30B100E5}"/>
                  </a:ext>
                </a:extLst>
              </p:cNvPr>
              <p:cNvSpPr>
                <a:spLocks noChangeArrowheads="1"/>
              </p:cNvSpPr>
              <p:nvPr/>
            </p:nvSpPr>
            <p:spPr bwMode="auto">
              <a:xfrm>
                <a:off x="1844675" y="3929063"/>
                <a:ext cx="42862" cy="42862"/>
              </a:xfrm>
              <a:custGeom>
                <a:avLst/>
                <a:gdLst>
                  <a:gd name="T0" fmla="*/ 125 w 126"/>
                  <a:gd name="T1" fmla="*/ 47 h 127"/>
                  <a:gd name="T2" fmla="*/ 125 w 126"/>
                  <a:gd name="T3" fmla="*/ 47 h 127"/>
                  <a:gd name="T4" fmla="*/ 41 w 126"/>
                  <a:gd name="T5" fmla="*/ 0 h 127"/>
                  <a:gd name="T6" fmla="*/ 0 w 126"/>
                  <a:gd name="T7" fmla="*/ 83 h 127"/>
                  <a:gd name="T8" fmla="*/ 83 w 126"/>
                  <a:gd name="T9" fmla="*/ 126 h 127"/>
                  <a:gd name="T10" fmla="*/ 125 w 126"/>
                  <a:gd name="T11" fmla="*/ 47 h 127"/>
                </a:gdLst>
                <a:ahLst/>
                <a:cxnLst>
                  <a:cxn ang="0">
                    <a:pos x="T0" y="T1"/>
                  </a:cxn>
                  <a:cxn ang="0">
                    <a:pos x="T2" y="T3"/>
                  </a:cxn>
                  <a:cxn ang="0">
                    <a:pos x="T4" y="T5"/>
                  </a:cxn>
                  <a:cxn ang="0">
                    <a:pos x="T6" y="T7"/>
                  </a:cxn>
                  <a:cxn ang="0">
                    <a:pos x="T8" y="T9"/>
                  </a:cxn>
                  <a:cxn ang="0">
                    <a:pos x="T10" y="T11"/>
                  </a:cxn>
                </a:cxnLst>
                <a:rect l="0" t="0" r="r" b="b"/>
                <a:pathLst>
                  <a:path w="126" h="127">
                    <a:moveTo>
                      <a:pt x="125" y="47"/>
                    </a:moveTo>
                    <a:lnTo>
                      <a:pt x="125" y="47"/>
                    </a:lnTo>
                    <a:cubicBezTo>
                      <a:pt x="41" y="0"/>
                      <a:pt x="69" y="16"/>
                      <a:pt x="41" y="0"/>
                    </a:cubicBezTo>
                    <a:cubicBezTo>
                      <a:pt x="26" y="31"/>
                      <a:pt x="10" y="57"/>
                      <a:pt x="0" y="83"/>
                    </a:cubicBezTo>
                    <a:cubicBezTo>
                      <a:pt x="83" y="126"/>
                      <a:pt x="55" y="112"/>
                      <a:pt x="83" y="126"/>
                    </a:cubicBezTo>
                    <a:cubicBezTo>
                      <a:pt x="99" y="99"/>
                      <a:pt x="109" y="73"/>
                      <a:pt x="125" y="4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6" name="Freeform 57">
                <a:extLst>
                  <a:ext uri="{FF2B5EF4-FFF2-40B4-BE49-F238E27FC236}">
                    <a16:creationId xmlns:a16="http://schemas.microsoft.com/office/drawing/2014/main" id="{831886EB-1179-DD28-93C1-E696FF4CB6AB}"/>
                  </a:ext>
                </a:extLst>
              </p:cNvPr>
              <p:cNvSpPr>
                <a:spLocks noChangeArrowheads="1"/>
              </p:cNvSpPr>
              <p:nvPr/>
            </p:nvSpPr>
            <p:spPr bwMode="auto">
              <a:xfrm>
                <a:off x="2471738" y="3338513"/>
                <a:ext cx="41275" cy="39687"/>
              </a:xfrm>
              <a:custGeom>
                <a:avLst/>
                <a:gdLst>
                  <a:gd name="T0" fmla="*/ 121 w 122"/>
                  <a:gd name="T1" fmla="*/ 89 h 121"/>
                  <a:gd name="T2" fmla="*/ 121 w 122"/>
                  <a:gd name="T3" fmla="*/ 89 h 121"/>
                  <a:gd name="T4" fmla="*/ 89 w 122"/>
                  <a:gd name="T5" fmla="*/ 0 h 121"/>
                  <a:gd name="T6" fmla="*/ 0 w 122"/>
                  <a:gd name="T7" fmla="*/ 37 h 121"/>
                  <a:gd name="T8" fmla="*/ 37 w 122"/>
                  <a:gd name="T9" fmla="*/ 120 h 121"/>
                  <a:gd name="T10" fmla="*/ 121 w 122"/>
                  <a:gd name="T11" fmla="*/ 89 h 121"/>
                </a:gdLst>
                <a:ahLst/>
                <a:cxnLst>
                  <a:cxn ang="0">
                    <a:pos x="T0" y="T1"/>
                  </a:cxn>
                  <a:cxn ang="0">
                    <a:pos x="T2" y="T3"/>
                  </a:cxn>
                  <a:cxn ang="0">
                    <a:pos x="T4" y="T5"/>
                  </a:cxn>
                  <a:cxn ang="0">
                    <a:pos x="T6" y="T7"/>
                  </a:cxn>
                  <a:cxn ang="0">
                    <a:pos x="T8" y="T9"/>
                  </a:cxn>
                  <a:cxn ang="0">
                    <a:pos x="T10" y="T11"/>
                  </a:cxn>
                </a:cxnLst>
                <a:rect l="0" t="0" r="r" b="b"/>
                <a:pathLst>
                  <a:path w="122" h="121">
                    <a:moveTo>
                      <a:pt x="121" y="89"/>
                    </a:moveTo>
                    <a:lnTo>
                      <a:pt x="121" y="89"/>
                    </a:lnTo>
                    <a:cubicBezTo>
                      <a:pt x="89" y="0"/>
                      <a:pt x="99" y="29"/>
                      <a:pt x="89" y="0"/>
                    </a:cubicBezTo>
                    <a:cubicBezTo>
                      <a:pt x="63" y="11"/>
                      <a:pt x="32" y="21"/>
                      <a:pt x="0" y="37"/>
                    </a:cubicBezTo>
                    <a:cubicBezTo>
                      <a:pt x="37" y="120"/>
                      <a:pt x="24" y="92"/>
                      <a:pt x="37" y="120"/>
                    </a:cubicBezTo>
                    <a:cubicBezTo>
                      <a:pt x="63" y="110"/>
                      <a:pt x="95" y="100"/>
                      <a:pt x="121"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7" name="Freeform 58">
                <a:extLst>
                  <a:ext uri="{FF2B5EF4-FFF2-40B4-BE49-F238E27FC236}">
                    <a16:creationId xmlns:a16="http://schemas.microsoft.com/office/drawing/2014/main" id="{3162DE56-2E47-45DE-0771-2BB905FED961}"/>
                  </a:ext>
                </a:extLst>
              </p:cNvPr>
              <p:cNvSpPr>
                <a:spLocks noChangeArrowheads="1"/>
              </p:cNvSpPr>
              <p:nvPr/>
            </p:nvSpPr>
            <p:spPr bwMode="auto">
              <a:xfrm>
                <a:off x="2409825" y="3365500"/>
                <a:ext cx="42862" cy="42862"/>
              </a:xfrm>
              <a:custGeom>
                <a:avLst/>
                <a:gdLst>
                  <a:gd name="T0" fmla="*/ 126 w 127"/>
                  <a:gd name="T1" fmla="*/ 83 h 126"/>
                  <a:gd name="T2" fmla="*/ 126 w 127"/>
                  <a:gd name="T3" fmla="*/ 83 h 126"/>
                  <a:gd name="T4" fmla="*/ 83 w 127"/>
                  <a:gd name="T5" fmla="*/ 0 h 126"/>
                  <a:gd name="T6" fmla="*/ 0 w 127"/>
                  <a:gd name="T7" fmla="*/ 46 h 126"/>
                  <a:gd name="T8" fmla="*/ 47 w 127"/>
                  <a:gd name="T9" fmla="*/ 125 h 126"/>
                  <a:gd name="T10" fmla="*/ 126 w 127"/>
                  <a:gd name="T11" fmla="*/ 83 h 126"/>
                </a:gdLst>
                <a:ahLst/>
                <a:cxnLst>
                  <a:cxn ang="0">
                    <a:pos x="T0" y="T1"/>
                  </a:cxn>
                  <a:cxn ang="0">
                    <a:pos x="T2" y="T3"/>
                  </a:cxn>
                  <a:cxn ang="0">
                    <a:pos x="T4" y="T5"/>
                  </a:cxn>
                  <a:cxn ang="0">
                    <a:pos x="T6" y="T7"/>
                  </a:cxn>
                  <a:cxn ang="0">
                    <a:pos x="T8" y="T9"/>
                  </a:cxn>
                  <a:cxn ang="0">
                    <a:pos x="T10" y="T11"/>
                  </a:cxn>
                </a:cxnLst>
                <a:rect l="0" t="0" r="r" b="b"/>
                <a:pathLst>
                  <a:path w="127" h="126">
                    <a:moveTo>
                      <a:pt x="126" y="83"/>
                    </a:moveTo>
                    <a:lnTo>
                      <a:pt x="126" y="83"/>
                    </a:lnTo>
                    <a:cubicBezTo>
                      <a:pt x="83" y="0"/>
                      <a:pt x="97" y="27"/>
                      <a:pt x="83" y="0"/>
                    </a:cubicBezTo>
                    <a:cubicBezTo>
                      <a:pt x="57" y="15"/>
                      <a:pt x="26" y="31"/>
                      <a:pt x="0" y="46"/>
                    </a:cubicBezTo>
                    <a:cubicBezTo>
                      <a:pt x="47" y="125"/>
                      <a:pt x="31" y="98"/>
                      <a:pt x="47" y="125"/>
                    </a:cubicBezTo>
                    <a:cubicBezTo>
                      <a:pt x="73" y="115"/>
                      <a:pt x="99" y="99"/>
                      <a:pt x="126" y="8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8" name="Freeform 59">
                <a:extLst>
                  <a:ext uri="{FF2B5EF4-FFF2-40B4-BE49-F238E27FC236}">
                    <a16:creationId xmlns:a16="http://schemas.microsoft.com/office/drawing/2014/main" id="{65D7D5F3-8816-69E3-E636-A0D6C249B9C6}"/>
                  </a:ext>
                </a:extLst>
              </p:cNvPr>
              <p:cNvSpPr>
                <a:spLocks noChangeArrowheads="1"/>
              </p:cNvSpPr>
              <p:nvPr/>
            </p:nvSpPr>
            <p:spPr bwMode="auto">
              <a:xfrm>
                <a:off x="2540000" y="3327400"/>
                <a:ext cx="33337" cy="33337"/>
              </a:xfrm>
              <a:custGeom>
                <a:avLst/>
                <a:gdLst>
                  <a:gd name="T0" fmla="*/ 88 w 100"/>
                  <a:gd name="T1" fmla="*/ 94 h 100"/>
                  <a:gd name="T2" fmla="*/ 88 w 100"/>
                  <a:gd name="T3" fmla="*/ 94 h 100"/>
                  <a:gd name="T4" fmla="*/ 99 w 100"/>
                  <a:gd name="T5" fmla="*/ 94 h 100"/>
                  <a:gd name="T6" fmla="*/ 99 w 100"/>
                  <a:gd name="T7" fmla="*/ 0 h 100"/>
                  <a:gd name="T8" fmla="*/ 88 w 100"/>
                  <a:gd name="T9" fmla="*/ 0 h 100"/>
                  <a:gd name="T10" fmla="*/ 0 w 100"/>
                  <a:gd name="T11" fmla="*/ 5 h 100"/>
                  <a:gd name="T12" fmla="*/ 16 w 100"/>
                  <a:gd name="T13" fmla="*/ 99 h 100"/>
                  <a:gd name="T14" fmla="*/ 88 w 100"/>
                  <a:gd name="T15" fmla="*/ 9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00">
                    <a:moveTo>
                      <a:pt x="88" y="94"/>
                    </a:moveTo>
                    <a:lnTo>
                      <a:pt x="88" y="94"/>
                    </a:lnTo>
                    <a:cubicBezTo>
                      <a:pt x="94" y="94"/>
                      <a:pt x="94" y="94"/>
                      <a:pt x="99" y="94"/>
                    </a:cubicBezTo>
                    <a:cubicBezTo>
                      <a:pt x="99" y="0"/>
                      <a:pt x="99" y="31"/>
                      <a:pt x="99" y="0"/>
                    </a:cubicBezTo>
                    <a:cubicBezTo>
                      <a:pt x="95" y="0"/>
                      <a:pt x="94" y="0"/>
                      <a:pt x="88" y="0"/>
                    </a:cubicBezTo>
                    <a:cubicBezTo>
                      <a:pt x="62" y="0"/>
                      <a:pt x="31" y="0"/>
                      <a:pt x="0" y="5"/>
                    </a:cubicBezTo>
                    <a:cubicBezTo>
                      <a:pt x="16" y="99"/>
                      <a:pt x="10" y="67"/>
                      <a:pt x="16" y="99"/>
                    </a:cubicBezTo>
                    <a:cubicBezTo>
                      <a:pt x="42" y="94"/>
                      <a:pt x="68" y="94"/>
                      <a:pt x="88"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9" name="Freeform 60">
                <a:extLst>
                  <a:ext uri="{FF2B5EF4-FFF2-40B4-BE49-F238E27FC236}">
                    <a16:creationId xmlns:a16="http://schemas.microsoft.com/office/drawing/2014/main" id="{D41CE42E-AA3F-FF12-FA46-51795E227D51}"/>
                  </a:ext>
                </a:extLst>
              </p:cNvPr>
              <p:cNvSpPr>
                <a:spLocks noChangeArrowheads="1"/>
              </p:cNvSpPr>
              <p:nvPr/>
            </p:nvSpPr>
            <p:spPr bwMode="auto">
              <a:xfrm>
                <a:off x="1804988" y="4057650"/>
                <a:ext cx="34925" cy="34925"/>
              </a:xfrm>
              <a:custGeom>
                <a:avLst/>
                <a:gdLst>
                  <a:gd name="T0" fmla="*/ 94 w 105"/>
                  <a:gd name="T1" fmla="*/ 89 h 106"/>
                  <a:gd name="T2" fmla="*/ 94 w 105"/>
                  <a:gd name="T3" fmla="*/ 89 h 106"/>
                  <a:gd name="T4" fmla="*/ 104 w 105"/>
                  <a:gd name="T5" fmla="*/ 16 h 106"/>
                  <a:gd name="T6" fmla="*/ 10 w 105"/>
                  <a:gd name="T7" fmla="*/ 0 h 106"/>
                  <a:gd name="T8" fmla="*/ 0 w 105"/>
                  <a:gd name="T9" fmla="*/ 89 h 106"/>
                  <a:gd name="T10" fmla="*/ 0 w 105"/>
                  <a:gd name="T11" fmla="*/ 105 h 106"/>
                  <a:gd name="T12" fmla="*/ 94 w 105"/>
                  <a:gd name="T13" fmla="*/ 99 h 106"/>
                  <a:gd name="T14" fmla="*/ 94 w 105"/>
                  <a:gd name="T15" fmla="*/ 89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6">
                    <a:moveTo>
                      <a:pt x="94" y="89"/>
                    </a:moveTo>
                    <a:lnTo>
                      <a:pt x="94" y="89"/>
                    </a:lnTo>
                    <a:cubicBezTo>
                      <a:pt x="94" y="68"/>
                      <a:pt x="99" y="42"/>
                      <a:pt x="104" y="16"/>
                    </a:cubicBezTo>
                    <a:cubicBezTo>
                      <a:pt x="10" y="0"/>
                      <a:pt x="41" y="6"/>
                      <a:pt x="10" y="0"/>
                    </a:cubicBezTo>
                    <a:cubicBezTo>
                      <a:pt x="5" y="31"/>
                      <a:pt x="0" y="62"/>
                      <a:pt x="0" y="89"/>
                    </a:cubicBezTo>
                    <a:cubicBezTo>
                      <a:pt x="0" y="94"/>
                      <a:pt x="0" y="99"/>
                      <a:pt x="0" y="105"/>
                    </a:cubicBezTo>
                    <a:cubicBezTo>
                      <a:pt x="94" y="99"/>
                      <a:pt x="62" y="101"/>
                      <a:pt x="94" y="99"/>
                    </a:cubicBezTo>
                    <a:cubicBezTo>
                      <a:pt x="94" y="96"/>
                      <a:pt x="94" y="94"/>
                      <a:pt x="94"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0" name="Freeform 61">
                <a:extLst>
                  <a:ext uri="{FF2B5EF4-FFF2-40B4-BE49-F238E27FC236}">
                    <a16:creationId xmlns:a16="http://schemas.microsoft.com/office/drawing/2014/main" id="{0BD09B17-FEF4-0F2A-51DB-FFF9CF67037A}"/>
                  </a:ext>
                </a:extLst>
              </p:cNvPr>
              <p:cNvSpPr>
                <a:spLocks noChangeArrowheads="1"/>
              </p:cNvSpPr>
              <p:nvPr/>
            </p:nvSpPr>
            <p:spPr bwMode="auto">
              <a:xfrm>
                <a:off x="1817688" y="3990975"/>
                <a:ext cx="39687" cy="41275"/>
              </a:xfrm>
              <a:custGeom>
                <a:avLst/>
                <a:gdLst>
                  <a:gd name="T0" fmla="*/ 120 w 121"/>
                  <a:gd name="T1" fmla="*/ 37 h 122"/>
                  <a:gd name="T2" fmla="*/ 120 w 121"/>
                  <a:gd name="T3" fmla="*/ 37 h 122"/>
                  <a:gd name="T4" fmla="*/ 31 w 121"/>
                  <a:gd name="T5" fmla="*/ 0 h 122"/>
                  <a:gd name="T6" fmla="*/ 0 w 121"/>
                  <a:gd name="T7" fmla="*/ 95 h 122"/>
                  <a:gd name="T8" fmla="*/ 89 w 121"/>
                  <a:gd name="T9" fmla="*/ 121 h 122"/>
                  <a:gd name="T10" fmla="*/ 120 w 121"/>
                  <a:gd name="T11" fmla="*/ 37 h 122"/>
                </a:gdLst>
                <a:ahLst/>
                <a:cxnLst>
                  <a:cxn ang="0">
                    <a:pos x="T0" y="T1"/>
                  </a:cxn>
                  <a:cxn ang="0">
                    <a:pos x="T2" y="T3"/>
                  </a:cxn>
                  <a:cxn ang="0">
                    <a:pos x="T4" y="T5"/>
                  </a:cxn>
                  <a:cxn ang="0">
                    <a:pos x="T6" y="T7"/>
                  </a:cxn>
                  <a:cxn ang="0">
                    <a:pos x="T8" y="T9"/>
                  </a:cxn>
                  <a:cxn ang="0">
                    <a:pos x="T10" y="T11"/>
                  </a:cxn>
                </a:cxnLst>
                <a:rect l="0" t="0" r="r" b="b"/>
                <a:pathLst>
                  <a:path w="121" h="122">
                    <a:moveTo>
                      <a:pt x="120" y="37"/>
                    </a:moveTo>
                    <a:lnTo>
                      <a:pt x="120" y="37"/>
                    </a:lnTo>
                    <a:cubicBezTo>
                      <a:pt x="31" y="0"/>
                      <a:pt x="60" y="13"/>
                      <a:pt x="31" y="0"/>
                    </a:cubicBezTo>
                    <a:cubicBezTo>
                      <a:pt x="21" y="32"/>
                      <a:pt x="11" y="63"/>
                      <a:pt x="0" y="95"/>
                    </a:cubicBezTo>
                    <a:cubicBezTo>
                      <a:pt x="89" y="121"/>
                      <a:pt x="59" y="113"/>
                      <a:pt x="89" y="121"/>
                    </a:cubicBezTo>
                    <a:cubicBezTo>
                      <a:pt x="100" y="95"/>
                      <a:pt x="110" y="69"/>
                      <a:pt x="120" y="3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1" name="Freeform 62">
                <a:extLst>
                  <a:ext uri="{FF2B5EF4-FFF2-40B4-BE49-F238E27FC236}">
                    <a16:creationId xmlns:a16="http://schemas.microsoft.com/office/drawing/2014/main" id="{A996A422-AF9E-18F3-632D-03071A873A72}"/>
                  </a:ext>
                </a:extLst>
              </p:cNvPr>
              <p:cNvSpPr>
                <a:spLocks noChangeArrowheads="1"/>
              </p:cNvSpPr>
              <p:nvPr/>
            </p:nvSpPr>
            <p:spPr bwMode="auto">
              <a:xfrm>
                <a:off x="1820863" y="3300413"/>
                <a:ext cx="138112" cy="138112"/>
              </a:xfrm>
              <a:custGeom>
                <a:avLst/>
                <a:gdLst>
                  <a:gd name="T0" fmla="*/ 198 w 393"/>
                  <a:gd name="T1" fmla="*/ 393 h 394"/>
                  <a:gd name="T2" fmla="*/ 198 w 393"/>
                  <a:gd name="T3" fmla="*/ 393 h 394"/>
                  <a:gd name="T4" fmla="*/ 392 w 393"/>
                  <a:gd name="T5" fmla="*/ 194 h 394"/>
                  <a:gd name="T6" fmla="*/ 198 w 393"/>
                  <a:gd name="T7" fmla="*/ 0 h 394"/>
                  <a:gd name="T8" fmla="*/ 0 w 393"/>
                  <a:gd name="T9" fmla="*/ 194 h 394"/>
                  <a:gd name="T10" fmla="*/ 198 w 393"/>
                  <a:gd name="T11" fmla="*/ 393 h 394"/>
                  <a:gd name="T12" fmla="*/ 198 w 393"/>
                  <a:gd name="T13" fmla="*/ 95 h 394"/>
                  <a:gd name="T14" fmla="*/ 198 w 393"/>
                  <a:gd name="T15" fmla="*/ 95 h 394"/>
                  <a:gd name="T16" fmla="*/ 298 w 393"/>
                  <a:gd name="T17" fmla="*/ 194 h 394"/>
                  <a:gd name="T18" fmla="*/ 198 w 393"/>
                  <a:gd name="T19" fmla="*/ 299 h 394"/>
                  <a:gd name="T20" fmla="*/ 94 w 393"/>
                  <a:gd name="T21" fmla="*/ 194 h 394"/>
                  <a:gd name="T22" fmla="*/ 198 w 393"/>
                  <a:gd name="T23" fmla="*/ 9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3" h="394">
                    <a:moveTo>
                      <a:pt x="198" y="393"/>
                    </a:moveTo>
                    <a:lnTo>
                      <a:pt x="198" y="393"/>
                    </a:lnTo>
                    <a:cubicBezTo>
                      <a:pt x="303" y="393"/>
                      <a:pt x="392" y="304"/>
                      <a:pt x="392" y="194"/>
                    </a:cubicBezTo>
                    <a:cubicBezTo>
                      <a:pt x="392" y="89"/>
                      <a:pt x="303" y="0"/>
                      <a:pt x="198" y="0"/>
                    </a:cubicBezTo>
                    <a:cubicBezTo>
                      <a:pt x="89" y="0"/>
                      <a:pt x="0" y="89"/>
                      <a:pt x="0" y="194"/>
                    </a:cubicBezTo>
                    <a:cubicBezTo>
                      <a:pt x="0" y="304"/>
                      <a:pt x="89" y="393"/>
                      <a:pt x="198" y="393"/>
                    </a:cubicBezTo>
                    <a:close/>
                    <a:moveTo>
                      <a:pt x="198" y="95"/>
                    </a:moveTo>
                    <a:lnTo>
                      <a:pt x="198" y="95"/>
                    </a:lnTo>
                    <a:cubicBezTo>
                      <a:pt x="251" y="95"/>
                      <a:pt x="298" y="142"/>
                      <a:pt x="298" y="194"/>
                    </a:cubicBezTo>
                    <a:cubicBezTo>
                      <a:pt x="298" y="251"/>
                      <a:pt x="251" y="299"/>
                      <a:pt x="198" y="299"/>
                    </a:cubicBezTo>
                    <a:cubicBezTo>
                      <a:pt x="141" y="299"/>
                      <a:pt x="94" y="251"/>
                      <a:pt x="94" y="194"/>
                    </a:cubicBezTo>
                    <a:cubicBezTo>
                      <a:pt x="94" y="142"/>
                      <a:pt x="141" y="95"/>
                      <a:pt x="198" y="95"/>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2" name="Freeform 63">
                <a:extLst>
                  <a:ext uri="{FF2B5EF4-FFF2-40B4-BE49-F238E27FC236}">
                    <a16:creationId xmlns:a16="http://schemas.microsoft.com/office/drawing/2014/main" id="{9069C22A-E993-057A-9983-A43AAFE781EE}"/>
                  </a:ext>
                </a:extLst>
              </p:cNvPr>
              <p:cNvSpPr>
                <a:spLocks noChangeArrowheads="1"/>
              </p:cNvSpPr>
              <p:nvPr/>
            </p:nvSpPr>
            <p:spPr bwMode="auto">
              <a:xfrm>
                <a:off x="1643063" y="3597275"/>
                <a:ext cx="95250" cy="95250"/>
              </a:xfrm>
              <a:custGeom>
                <a:avLst/>
                <a:gdLst>
                  <a:gd name="T0" fmla="*/ 136 w 273"/>
                  <a:gd name="T1" fmla="*/ 0 h 273"/>
                  <a:gd name="T2" fmla="*/ 136 w 273"/>
                  <a:gd name="T3" fmla="*/ 0 h 273"/>
                  <a:gd name="T4" fmla="*/ 0 w 273"/>
                  <a:gd name="T5" fmla="*/ 136 h 273"/>
                  <a:gd name="T6" fmla="*/ 136 w 273"/>
                  <a:gd name="T7" fmla="*/ 272 h 273"/>
                  <a:gd name="T8" fmla="*/ 272 w 273"/>
                  <a:gd name="T9" fmla="*/ 136 h 273"/>
                  <a:gd name="T10" fmla="*/ 136 w 273"/>
                  <a:gd name="T11" fmla="*/ 0 h 273"/>
                  <a:gd name="T12" fmla="*/ 136 w 273"/>
                  <a:gd name="T13" fmla="*/ 178 h 273"/>
                  <a:gd name="T14" fmla="*/ 136 w 273"/>
                  <a:gd name="T15" fmla="*/ 178 h 273"/>
                  <a:gd name="T16" fmla="*/ 94 w 273"/>
                  <a:gd name="T17" fmla="*/ 136 h 273"/>
                  <a:gd name="T18" fmla="*/ 136 w 273"/>
                  <a:gd name="T19" fmla="*/ 94 h 273"/>
                  <a:gd name="T20" fmla="*/ 177 w 273"/>
                  <a:gd name="T21" fmla="*/ 136 h 273"/>
                  <a:gd name="T22" fmla="*/ 136 w 273"/>
                  <a:gd name="T23" fmla="*/ 17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6" y="0"/>
                    </a:moveTo>
                    <a:lnTo>
                      <a:pt x="136" y="0"/>
                    </a:lnTo>
                    <a:cubicBezTo>
                      <a:pt x="62" y="0"/>
                      <a:pt x="0" y="57"/>
                      <a:pt x="0" y="136"/>
                    </a:cubicBezTo>
                    <a:cubicBezTo>
                      <a:pt x="0" y="209"/>
                      <a:pt x="62" y="272"/>
                      <a:pt x="136" y="272"/>
                    </a:cubicBezTo>
                    <a:cubicBezTo>
                      <a:pt x="209" y="272"/>
                      <a:pt x="272" y="209"/>
                      <a:pt x="272" y="136"/>
                    </a:cubicBezTo>
                    <a:cubicBezTo>
                      <a:pt x="272" y="57"/>
                      <a:pt x="209" y="0"/>
                      <a:pt x="136" y="0"/>
                    </a:cubicBezTo>
                    <a:close/>
                    <a:moveTo>
                      <a:pt x="136" y="178"/>
                    </a:moveTo>
                    <a:lnTo>
                      <a:pt x="136" y="178"/>
                    </a:lnTo>
                    <a:cubicBezTo>
                      <a:pt x="115" y="178"/>
                      <a:pt x="94" y="157"/>
                      <a:pt x="94" y="136"/>
                    </a:cubicBezTo>
                    <a:cubicBezTo>
                      <a:pt x="94" y="110"/>
                      <a:pt x="115" y="94"/>
                      <a:pt x="136" y="94"/>
                    </a:cubicBezTo>
                    <a:cubicBezTo>
                      <a:pt x="156" y="94"/>
                      <a:pt x="177" y="110"/>
                      <a:pt x="177" y="136"/>
                    </a:cubicBezTo>
                    <a:cubicBezTo>
                      <a:pt x="177" y="157"/>
                      <a:pt x="156" y="178"/>
                      <a:pt x="136" y="178"/>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3" name="Freeform 64">
                <a:extLst>
                  <a:ext uri="{FF2B5EF4-FFF2-40B4-BE49-F238E27FC236}">
                    <a16:creationId xmlns:a16="http://schemas.microsoft.com/office/drawing/2014/main" id="{EFDAE91F-6FF2-5224-0109-D3EA867D195C}"/>
                  </a:ext>
                </a:extLst>
              </p:cNvPr>
              <p:cNvSpPr>
                <a:spLocks noChangeArrowheads="1"/>
              </p:cNvSpPr>
              <p:nvPr/>
            </p:nvSpPr>
            <p:spPr bwMode="auto">
              <a:xfrm>
                <a:off x="2254250" y="4178300"/>
                <a:ext cx="95250" cy="95250"/>
              </a:xfrm>
              <a:custGeom>
                <a:avLst/>
                <a:gdLst>
                  <a:gd name="T0" fmla="*/ 136 w 273"/>
                  <a:gd name="T1" fmla="*/ 0 h 273"/>
                  <a:gd name="T2" fmla="*/ 136 w 273"/>
                  <a:gd name="T3" fmla="*/ 0 h 273"/>
                  <a:gd name="T4" fmla="*/ 0 w 273"/>
                  <a:gd name="T5" fmla="*/ 136 h 273"/>
                  <a:gd name="T6" fmla="*/ 136 w 273"/>
                  <a:gd name="T7" fmla="*/ 272 h 273"/>
                  <a:gd name="T8" fmla="*/ 272 w 273"/>
                  <a:gd name="T9" fmla="*/ 136 h 273"/>
                  <a:gd name="T10" fmla="*/ 136 w 273"/>
                  <a:gd name="T11" fmla="*/ 0 h 273"/>
                  <a:gd name="T12" fmla="*/ 136 w 273"/>
                  <a:gd name="T13" fmla="*/ 177 h 273"/>
                  <a:gd name="T14" fmla="*/ 136 w 273"/>
                  <a:gd name="T15" fmla="*/ 177 h 273"/>
                  <a:gd name="T16" fmla="*/ 94 w 273"/>
                  <a:gd name="T17" fmla="*/ 136 h 273"/>
                  <a:gd name="T18" fmla="*/ 136 w 273"/>
                  <a:gd name="T19" fmla="*/ 94 h 273"/>
                  <a:gd name="T20" fmla="*/ 178 w 273"/>
                  <a:gd name="T21" fmla="*/ 136 h 273"/>
                  <a:gd name="T22" fmla="*/ 136 w 273"/>
                  <a:gd name="T23" fmla="*/ 17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6" y="0"/>
                    </a:moveTo>
                    <a:lnTo>
                      <a:pt x="136" y="0"/>
                    </a:lnTo>
                    <a:cubicBezTo>
                      <a:pt x="57" y="0"/>
                      <a:pt x="0" y="62"/>
                      <a:pt x="0" y="136"/>
                    </a:cubicBezTo>
                    <a:cubicBezTo>
                      <a:pt x="0" y="209"/>
                      <a:pt x="57" y="272"/>
                      <a:pt x="136" y="272"/>
                    </a:cubicBezTo>
                    <a:cubicBezTo>
                      <a:pt x="209" y="272"/>
                      <a:pt x="272" y="209"/>
                      <a:pt x="272" y="136"/>
                    </a:cubicBezTo>
                    <a:cubicBezTo>
                      <a:pt x="272" y="62"/>
                      <a:pt x="209" y="0"/>
                      <a:pt x="136" y="0"/>
                    </a:cubicBezTo>
                    <a:close/>
                    <a:moveTo>
                      <a:pt x="136" y="177"/>
                    </a:moveTo>
                    <a:lnTo>
                      <a:pt x="136" y="177"/>
                    </a:lnTo>
                    <a:cubicBezTo>
                      <a:pt x="110" y="177"/>
                      <a:pt x="94" y="162"/>
                      <a:pt x="94" y="136"/>
                    </a:cubicBezTo>
                    <a:cubicBezTo>
                      <a:pt x="94" y="115"/>
                      <a:pt x="110" y="94"/>
                      <a:pt x="136" y="94"/>
                    </a:cubicBezTo>
                    <a:cubicBezTo>
                      <a:pt x="157" y="94"/>
                      <a:pt x="178" y="115"/>
                      <a:pt x="178" y="136"/>
                    </a:cubicBezTo>
                    <a:cubicBezTo>
                      <a:pt x="178" y="162"/>
                      <a:pt x="157" y="177"/>
                      <a:pt x="136" y="177"/>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nvGrpSpPr>
            <p:cNvPr id="64" name="Group 66">
              <a:extLst>
                <a:ext uri="{FF2B5EF4-FFF2-40B4-BE49-F238E27FC236}">
                  <a16:creationId xmlns:a16="http://schemas.microsoft.com/office/drawing/2014/main" id="{8E7E214C-2ED8-ECF0-0865-D279D5334264}"/>
                </a:ext>
              </a:extLst>
            </p:cNvPr>
            <p:cNvGrpSpPr/>
            <p:nvPr userDrawn="1"/>
          </p:nvGrpSpPr>
          <p:grpSpPr>
            <a:xfrm>
              <a:off x="11593002" y="6002217"/>
              <a:ext cx="825303" cy="787788"/>
              <a:chOff x="4763" y="6526213"/>
              <a:chExt cx="1047750" cy="1000124"/>
            </a:xfrm>
            <a:solidFill>
              <a:schemeClr val="bg1"/>
            </a:solidFill>
          </p:grpSpPr>
          <p:sp>
            <p:nvSpPr>
              <p:cNvPr id="65" name="Freeform 182">
                <a:extLst>
                  <a:ext uri="{FF2B5EF4-FFF2-40B4-BE49-F238E27FC236}">
                    <a16:creationId xmlns:a16="http://schemas.microsoft.com/office/drawing/2014/main" id="{2A9D8A12-E889-57C2-FAF0-BF05D3A40FF2}"/>
                  </a:ext>
                </a:extLst>
              </p:cNvPr>
              <p:cNvSpPr>
                <a:spLocks noChangeArrowheads="1"/>
              </p:cNvSpPr>
              <p:nvPr/>
            </p:nvSpPr>
            <p:spPr bwMode="auto">
              <a:xfrm>
                <a:off x="419100" y="6831013"/>
                <a:ext cx="219075" cy="219075"/>
              </a:xfrm>
              <a:custGeom>
                <a:avLst/>
                <a:gdLst>
                  <a:gd name="T0" fmla="*/ 309 w 618"/>
                  <a:gd name="T1" fmla="*/ 0 h 618"/>
                  <a:gd name="T2" fmla="*/ 309 w 618"/>
                  <a:gd name="T3" fmla="*/ 0 h 618"/>
                  <a:gd name="T4" fmla="*/ 0 w 618"/>
                  <a:gd name="T5" fmla="*/ 308 h 618"/>
                  <a:gd name="T6" fmla="*/ 309 w 618"/>
                  <a:gd name="T7" fmla="*/ 617 h 618"/>
                  <a:gd name="T8" fmla="*/ 617 w 618"/>
                  <a:gd name="T9" fmla="*/ 308 h 618"/>
                  <a:gd name="T10" fmla="*/ 309 w 618"/>
                  <a:gd name="T11" fmla="*/ 0 h 618"/>
                  <a:gd name="T12" fmla="*/ 309 w 618"/>
                  <a:gd name="T13" fmla="*/ 523 h 618"/>
                  <a:gd name="T14" fmla="*/ 309 w 618"/>
                  <a:gd name="T15" fmla="*/ 523 h 618"/>
                  <a:gd name="T16" fmla="*/ 95 w 618"/>
                  <a:gd name="T17" fmla="*/ 308 h 618"/>
                  <a:gd name="T18" fmla="*/ 309 w 618"/>
                  <a:gd name="T19" fmla="*/ 94 h 618"/>
                  <a:gd name="T20" fmla="*/ 523 w 618"/>
                  <a:gd name="T21" fmla="*/ 308 h 618"/>
                  <a:gd name="T22" fmla="*/ 309 w 618"/>
                  <a:gd name="T23" fmla="*/ 523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8" h="618">
                    <a:moveTo>
                      <a:pt x="309" y="0"/>
                    </a:moveTo>
                    <a:lnTo>
                      <a:pt x="309" y="0"/>
                    </a:lnTo>
                    <a:cubicBezTo>
                      <a:pt x="141" y="0"/>
                      <a:pt x="0" y="141"/>
                      <a:pt x="0" y="308"/>
                    </a:cubicBezTo>
                    <a:cubicBezTo>
                      <a:pt x="0" y="481"/>
                      <a:pt x="141" y="617"/>
                      <a:pt x="309" y="617"/>
                    </a:cubicBezTo>
                    <a:cubicBezTo>
                      <a:pt x="476" y="617"/>
                      <a:pt x="617" y="481"/>
                      <a:pt x="617" y="308"/>
                    </a:cubicBezTo>
                    <a:cubicBezTo>
                      <a:pt x="617" y="141"/>
                      <a:pt x="476" y="0"/>
                      <a:pt x="309" y="0"/>
                    </a:cubicBezTo>
                    <a:close/>
                    <a:moveTo>
                      <a:pt x="309" y="523"/>
                    </a:moveTo>
                    <a:lnTo>
                      <a:pt x="309" y="523"/>
                    </a:lnTo>
                    <a:cubicBezTo>
                      <a:pt x="188" y="523"/>
                      <a:pt x="95" y="429"/>
                      <a:pt x="95" y="308"/>
                    </a:cubicBezTo>
                    <a:cubicBezTo>
                      <a:pt x="95" y="193"/>
                      <a:pt x="188" y="94"/>
                      <a:pt x="309" y="94"/>
                    </a:cubicBezTo>
                    <a:cubicBezTo>
                      <a:pt x="429" y="94"/>
                      <a:pt x="523" y="193"/>
                      <a:pt x="523" y="308"/>
                    </a:cubicBezTo>
                    <a:cubicBezTo>
                      <a:pt x="523" y="429"/>
                      <a:pt x="429" y="523"/>
                      <a:pt x="309" y="523"/>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6" name="Freeform 183">
                <a:extLst>
                  <a:ext uri="{FF2B5EF4-FFF2-40B4-BE49-F238E27FC236}">
                    <a16:creationId xmlns:a16="http://schemas.microsoft.com/office/drawing/2014/main" id="{C531B5F3-065B-DFDF-C80E-8855F4B4C532}"/>
                  </a:ext>
                </a:extLst>
              </p:cNvPr>
              <p:cNvSpPr>
                <a:spLocks noChangeArrowheads="1"/>
              </p:cNvSpPr>
              <p:nvPr/>
            </p:nvSpPr>
            <p:spPr bwMode="auto">
              <a:xfrm>
                <a:off x="112713" y="6692900"/>
                <a:ext cx="31750" cy="31750"/>
              </a:xfrm>
              <a:custGeom>
                <a:avLst/>
                <a:gdLst>
                  <a:gd name="T0" fmla="*/ 48 w 96"/>
                  <a:gd name="T1" fmla="*/ 0 h 95"/>
                  <a:gd name="T2" fmla="*/ 48 w 96"/>
                  <a:gd name="T3" fmla="*/ 0 h 95"/>
                  <a:gd name="T4" fmla="*/ 0 w 96"/>
                  <a:gd name="T5" fmla="*/ 47 h 95"/>
                  <a:gd name="T6" fmla="*/ 48 w 96"/>
                  <a:gd name="T7" fmla="*/ 94 h 95"/>
                  <a:gd name="T8" fmla="*/ 95 w 96"/>
                  <a:gd name="T9" fmla="*/ 47 h 95"/>
                  <a:gd name="T10" fmla="*/ 48 w 96"/>
                  <a:gd name="T11" fmla="*/ 0 h 95"/>
                </a:gdLst>
                <a:ahLst/>
                <a:cxnLst>
                  <a:cxn ang="0">
                    <a:pos x="T0" y="T1"/>
                  </a:cxn>
                  <a:cxn ang="0">
                    <a:pos x="T2" y="T3"/>
                  </a:cxn>
                  <a:cxn ang="0">
                    <a:pos x="T4" y="T5"/>
                  </a:cxn>
                  <a:cxn ang="0">
                    <a:pos x="T6" y="T7"/>
                  </a:cxn>
                  <a:cxn ang="0">
                    <a:pos x="T8" y="T9"/>
                  </a:cxn>
                  <a:cxn ang="0">
                    <a:pos x="T10" y="T11"/>
                  </a:cxn>
                </a:cxnLst>
                <a:rect l="0" t="0" r="r" b="b"/>
                <a:pathLst>
                  <a:path w="96" h="95">
                    <a:moveTo>
                      <a:pt x="48" y="0"/>
                    </a:moveTo>
                    <a:lnTo>
                      <a:pt x="48" y="0"/>
                    </a:lnTo>
                    <a:cubicBezTo>
                      <a:pt x="21" y="0"/>
                      <a:pt x="0" y="21"/>
                      <a:pt x="0" y="47"/>
                    </a:cubicBezTo>
                    <a:cubicBezTo>
                      <a:pt x="0" y="73"/>
                      <a:pt x="21" y="94"/>
                      <a:pt x="48" y="94"/>
                    </a:cubicBezTo>
                    <a:cubicBezTo>
                      <a:pt x="74" y="94"/>
                      <a:pt x="95" y="73"/>
                      <a:pt x="95" y="47"/>
                    </a:cubicBezTo>
                    <a:cubicBezTo>
                      <a:pt x="95" y="21"/>
                      <a:pt x="74" y="0"/>
                      <a:pt x="48"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7" name="Freeform 184">
                <a:extLst>
                  <a:ext uri="{FF2B5EF4-FFF2-40B4-BE49-F238E27FC236}">
                    <a16:creationId xmlns:a16="http://schemas.microsoft.com/office/drawing/2014/main" id="{960A9B50-29CE-B038-E1BC-8A3151893DE4}"/>
                  </a:ext>
                </a:extLst>
              </p:cNvPr>
              <p:cNvSpPr>
                <a:spLocks noChangeArrowheads="1"/>
              </p:cNvSpPr>
              <p:nvPr/>
            </p:nvSpPr>
            <p:spPr bwMode="auto">
              <a:xfrm>
                <a:off x="914400" y="6692900"/>
                <a:ext cx="31750" cy="31750"/>
              </a:xfrm>
              <a:custGeom>
                <a:avLst/>
                <a:gdLst>
                  <a:gd name="T0" fmla="*/ 47 w 95"/>
                  <a:gd name="T1" fmla="*/ 0 h 95"/>
                  <a:gd name="T2" fmla="*/ 47 w 95"/>
                  <a:gd name="T3" fmla="*/ 0 h 95"/>
                  <a:gd name="T4" fmla="*/ 0 w 95"/>
                  <a:gd name="T5" fmla="*/ 47 h 95"/>
                  <a:gd name="T6" fmla="*/ 47 w 95"/>
                  <a:gd name="T7" fmla="*/ 94 h 95"/>
                  <a:gd name="T8" fmla="*/ 94 w 95"/>
                  <a:gd name="T9" fmla="*/ 47 h 95"/>
                  <a:gd name="T10" fmla="*/ 47 w 95"/>
                  <a:gd name="T11" fmla="*/ 0 h 95"/>
                </a:gdLst>
                <a:ahLst/>
                <a:cxnLst>
                  <a:cxn ang="0">
                    <a:pos x="T0" y="T1"/>
                  </a:cxn>
                  <a:cxn ang="0">
                    <a:pos x="T2" y="T3"/>
                  </a:cxn>
                  <a:cxn ang="0">
                    <a:pos x="T4" y="T5"/>
                  </a:cxn>
                  <a:cxn ang="0">
                    <a:pos x="T6" y="T7"/>
                  </a:cxn>
                  <a:cxn ang="0">
                    <a:pos x="T8" y="T9"/>
                  </a:cxn>
                  <a:cxn ang="0">
                    <a:pos x="T10" y="T11"/>
                  </a:cxn>
                </a:cxnLst>
                <a:rect l="0" t="0" r="r" b="b"/>
                <a:pathLst>
                  <a:path w="95" h="95">
                    <a:moveTo>
                      <a:pt x="47" y="0"/>
                    </a:moveTo>
                    <a:lnTo>
                      <a:pt x="47" y="0"/>
                    </a:lnTo>
                    <a:cubicBezTo>
                      <a:pt x="21" y="0"/>
                      <a:pt x="0" y="21"/>
                      <a:pt x="0" y="47"/>
                    </a:cubicBezTo>
                    <a:cubicBezTo>
                      <a:pt x="0" y="73"/>
                      <a:pt x="21" y="94"/>
                      <a:pt x="47" y="94"/>
                    </a:cubicBezTo>
                    <a:cubicBezTo>
                      <a:pt x="73" y="94"/>
                      <a:pt x="94" y="73"/>
                      <a:pt x="94" y="47"/>
                    </a:cubicBezTo>
                    <a:cubicBezTo>
                      <a:pt x="94" y="21"/>
                      <a:pt x="73" y="0"/>
                      <a:pt x="47"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8" name="Freeform 185">
                <a:extLst>
                  <a:ext uri="{FF2B5EF4-FFF2-40B4-BE49-F238E27FC236}">
                    <a16:creationId xmlns:a16="http://schemas.microsoft.com/office/drawing/2014/main" id="{06A58024-3ADD-63C0-86D1-102F784235FA}"/>
                  </a:ext>
                </a:extLst>
              </p:cNvPr>
              <p:cNvSpPr>
                <a:spLocks noChangeArrowheads="1"/>
              </p:cNvSpPr>
              <p:nvPr/>
            </p:nvSpPr>
            <p:spPr bwMode="auto">
              <a:xfrm>
                <a:off x="512763" y="7388225"/>
                <a:ext cx="31750" cy="31750"/>
              </a:xfrm>
              <a:custGeom>
                <a:avLst/>
                <a:gdLst>
                  <a:gd name="T0" fmla="*/ 0 w 95"/>
                  <a:gd name="T1" fmla="*/ 48 h 95"/>
                  <a:gd name="T2" fmla="*/ 0 w 95"/>
                  <a:gd name="T3" fmla="*/ 48 h 95"/>
                  <a:gd name="T4" fmla="*/ 47 w 95"/>
                  <a:gd name="T5" fmla="*/ 94 h 95"/>
                  <a:gd name="T6" fmla="*/ 94 w 95"/>
                  <a:gd name="T7" fmla="*/ 48 h 95"/>
                  <a:gd name="T8" fmla="*/ 47 w 95"/>
                  <a:gd name="T9" fmla="*/ 0 h 95"/>
                  <a:gd name="T10" fmla="*/ 0 w 95"/>
                  <a:gd name="T11" fmla="*/ 48 h 95"/>
                </a:gdLst>
                <a:ahLst/>
                <a:cxnLst>
                  <a:cxn ang="0">
                    <a:pos x="T0" y="T1"/>
                  </a:cxn>
                  <a:cxn ang="0">
                    <a:pos x="T2" y="T3"/>
                  </a:cxn>
                  <a:cxn ang="0">
                    <a:pos x="T4" y="T5"/>
                  </a:cxn>
                  <a:cxn ang="0">
                    <a:pos x="T6" y="T7"/>
                  </a:cxn>
                  <a:cxn ang="0">
                    <a:pos x="T8" y="T9"/>
                  </a:cxn>
                  <a:cxn ang="0">
                    <a:pos x="T10" y="T11"/>
                  </a:cxn>
                </a:cxnLst>
                <a:rect l="0" t="0" r="r" b="b"/>
                <a:pathLst>
                  <a:path w="95" h="95">
                    <a:moveTo>
                      <a:pt x="0" y="48"/>
                    </a:moveTo>
                    <a:lnTo>
                      <a:pt x="0" y="48"/>
                    </a:lnTo>
                    <a:cubicBezTo>
                      <a:pt x="0" y="74"/>
                      <a:pt x="21" y="94"/>
                      <a:pt x="47" y="94"/>
                    </a:cubicBezTo>
                    <a:cubicBezTo>
                      <a:pt x="73" y="94"/>
                      <a:pt x="94" y="74"/>
                      <a:pt x="94" y="48"/>
                    </a:cubicBezTo>
                    <a:cubicBezTo>
                      <a:pt x="94" y="21"/>
                      <a:pt x="73" y="0"/>
                      <a:pt x="47" y="0"/>
                    </a:cubicBezTo>
                    <a:cubicBezTo>
                      <a:pt x="21" y="0"/>
                      <a:pt x="0" y="21"/>
                      <a:pt x="0" y="4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9" name="Freeform 186">
                <a:extLst>
                  <a:ext uri="{FF2B5EF4-FFF2-40B4-BE49-F238E27FC236}">
                    <a16:creationId xmlns:a16="http://schemas.microsoft.com/office/drawing/2014/main" id="{32166986-6D5B-BAF3-FEAA-C9454EB3DADB}"/>
                  </a:ext>
                </a:extLst>
              </p:cNvPr>
              <p:cNvSpPr>
                <a:spLocks noChangeArrowheads="1"/>
              </p:cNvSpPr>
              <p:nvPr/>
            </p:nvSpPr>
            <p:spPr bwMode="auto">
              <a:xfrm>
                <a:off x="4763" y="6584950"/>
                <a:ext cx="1047750" cy="941387"/>
              </a:xfrm>
              <a:custGeom>
                <a:avLst/>
                <a:gdLst>
                  <a:gd name="T0" fmla="*/ 2574 w 2920"/>
                  <a:gd name="T1" fmla="*/ 0 h 2623"/>
                  <a:gd name="T2" fmla="*/ 2574 w 2920"/>
                  <a:gd name="T3" fmla="*/ 0 h 2623"/>
                  <a:gd name="T4" fmla="*/ 2224 w 2920"/>
                  <a:gd name="T5" fmla="*/ 346 h 2623"/>
                  <a:gd name="T6" fmla="*/ 2250 w 2920"/>
                  <a:gd name="T7" fmla="*/ 477 h 2623"/>
                  <a:gd name="T8" fmla="*/ 1847 w 2920"/>
                  <a:gd name="T9" fmla="*/ 712 h 2623"/>
                  <a:gd name="T10" fmla="*/ 1460 w 2920"/>
                  <a:gd name="T11" fmla="*/ 513 h 2623"/>
                  <a:gd name="T12" fmla="*/ 1073 w 2920"/>
                  <a:gd name="T13" fmla="*/ 712 h 2623"/>
                  <a:gd name="T14" fmla="*/ 670 w 2920"/>
                  <a:gd name="T15" fmla="*/ 477 h 2623"/>
                  <a:gd name="T16" fmla="*/ 696 w 2920"/>
                  <a:gd name="T17" fmla="*/ 346 h 2623"/>
                  <a:gd name="T18" fmla="*/ 346 w 2920"/>
                  <a:gd name="T19" fmla="*/ 0 h 2623"/>
                  <a:gd name="T20" fmla="*/ 0 w 2920"/>
                  <a:gd name="T21" fmla="*/ 346 h 2623"/>
                  <a:gd name="T22" fmla="*/ 346 w 2920"/>
                  <a:gd name="T23" fmla="*/ 697 h 2623"/>
                  <a:gd name="T24" fmla="*/ 623 w 2920"/>
                  <a:gd name="T25" fmla="*/ 560 h 2623"/>
                  <a:gd name="T26" fmla="*/ 1026 w 2920"/>
                  <a:gd name="T27" fmla="*/ 796 h 2623"/>
                  <a:gd name="T28" fmla="*/ 984 w 2920"/>
                  <a:gd name="T29" fmla="*/ 989 h 2623"/>
                  <a:gd name="T30" fmla="*/ 1413 w 2920"/>
                  <a:gd name="T31" fmla="*/ 1465 h 2623"/>
                  <a:gd name="T32" fmla="*/ 1413 w 2920"/>
                  <a:gd name="T33" fmla="*/ 1931 h 2623"/>
                  <a:gd name="T34" fmla="*/ 1114 w 2920"/>
                  <a:gd name="T35" fmla="*/ 2277 h 2623"/>
                  <a:gd name="T36" fmla="*/ 1460 w 2920"/>
                  <a:gd name="T37" fmla="*/ 2622 h 2623"/>
                  <a:gd name="T38" fmla="*/ 1805 w 2920"/>
                  <a:gd name="T39" fmla="*/ 2277 h 2623"/>
                  <a:gd name="T40" fmla="*/ 1507 w 2920"/>
                  <a:gd name="T41" fmla="*/ 1931 h 2623"/>
                  <a:gd name="T42" fmla="*/ 1507 w 2920"/>
                  <a:gd name="T43" fmla="*/ 1465 h 2623"/>
                  <a:gd name="T44" fmla="*/ 1936 w 2920"/>
                  <a:gd name="T45" fmla="*/ 989 h 2623"/>
                  <a:gd name="T46" fmla="*/ 1894 w 2920"/>
                  <a:gd name="T47" fmla="*/ 796 h 2623"/>
                  <a:gd name="T48" fmla="*/ 2297 w 2920"/>
                  <a:gd name="T49" fmla="*/ 560 h 2623"/>
                  <a:gd name="T50" fmla="*/ 2574 w 2920"/>
                  <a:gd name="T51" fmla="*/ 697 h 2623"/>
                  <a:gd name="T52" fmla="*/ 2919 w 2920"/>
                  <a:gd name="T53" fmla="*/ 346 h 2623"/>
                  <a:gd name="T54" fmla="*/ 2574 w 2920"/>
                  <a:gd name="T55" fmla="*/ 0 h 2623"/>
                  <a:gd name="T56" fmla="*/ 346 w 2920"/>
                  <a:gd name="T57" fmla="*/ 602 h 2623"/>
                  <a:gd name="T58" fmla="*/ 346 w 2920"/>
                  <a:gd name="T59" fmla="*/ 602 h 2623"/>
                  <a:gd name="T60" fmla="*/ 94 w 2920"/>
                  <a:gd name="T61" fmla="*/ 346 h 2623"/>
                  <a:gd name="T62" fmla="*/ 346 w 2920"/>
                  <a:gd name="T63" fmla="*/ 95 h 2623"/>
                  <a:gd name="T64" fmla="*/ 602 w 2920"/>
                  <a:gd name="T65" fmla="*/ 346 h 2623"/>
                  <a:gd name="T66" fmla="*/ 346 w 2920"/>
                  <a:gd name="T67" fmla="*/ 602 h 2623"/>
                  <a:gd name="T68" fmla="*/ 1711 w 2920"/>
                  <a:gd name="T69" fmla="*/ 2277 h 2623"/>
                  <a:gd name="T70" fmla="*/ 1711 w 2920"/>
                  <a:gd name="T71" fmla="*/ 2277 h 2623"/>
                  <a:gd name="T72" fmla="*/ 1460 w 2920"/>
                  <a:gd name="T73" fmla="*/ 2528 h 2623"/>
                  <a:gd name="T74" fmla="*/ 1209 w 2920"/>
                  <a:gd name="T75" fmla="*/ 2277 h 2623"/>
                  <a:gd name="T76" fmla="*/ 1460 w 2920"/>
                  <a:gd name="T77" fmla="*/ 2020 h 2623"/>
                  <a:gd name="T78" fmla="*/ 1711 w 2920"/>
                  <a:gd name="T79" fmla="*/ 2277 h 2623"/>
                  <a:gd name="T80" fmla="*/ 1460 w 2920"/>
                  <a:gd name="T81" fmla="*/ 1372 h 2623"/>
                  <a:gd name="T82" fmla="*/ 1460 w 2920"/>
                  <a:gd name="T83" fmla="*/ 1372 h 2623"/>
                  <a:gd name="T84" fmla="*/ 1078 w 2920"/>
                  <a:gd name="T85" fmla="*/ 989 h 2623"/>
                  <a:gd name="T86" fmla="*/ 1460 w 2920"/>
                  <a:gd name="T87" fmla="*/ 608 h 2623"/>
                  <a:gd name="T88" fmla="*/ 1842 w 2920"/>
                  <a:gd name="T89" fmla="*/ 989 h 2623"/>
                  <a:gd name="T90" fmla="*/ 1460 w 2920"/>
                  <a:gd name="T91" fmla="*/ 1372 h 2623"/>
                  <a:gd name="T92" fmla="*/ 2574 w 2920"/>
                  <a:gd name="T93" fmla="*/ 602 h 2623"/>
                  <a:gd name="T94" fmla="*/ 2574 w 2920"/>
                  <a:gd name="T95" fmla="*/ 602 h 2623"/>
                  <a:gd name="T96" fmla="*/ 2318 w 2920"/>
                  <a:gd name="T97" fmla="*/ 346 h 2623"/>
                  <a:gd name="T98" fmla="*/ 2574 w 2920"/>
                  <a:gd name="T99" fmla="*/ 95 h 2623"/>
                  <a:gd name="T100" fmla="*/ 2825 w 2920"/>
                  <a:gd name="T101" fmla="*/ 346 h 2623"/>
                  <a:gd name="T102" fmla="*/ 2574 w 2920"/>
                  <a:gd name="T103" fmla="*/ 602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20" h="2623">
                    <a:moveTo>
                      <a:pt x="2574" y="0"/>
                    </a:moveTo>
                    <a:lnTo>
                      <a:pt x="2574" y="0"/>
                    </a:lnTo>
                    <a:cubicBezTo>
                      <a:pt x="2381" y="0"/>
                      <a:pt x="2224" y="158"/>
                      <a:pt x="2224" y="346"/>
                    </a:cubicBezTo>
                    <a:cubicBezTo>
                      <a:pt x="2224" y="393"/>
                      <a:pt x="2234" y="440"/>
                      <a:pt x="2250" y="477"/>
                    </a:cubicBezTo>
                    <a:cubicBezTo>
                      <a:pt x="1847" y="712"/>
                      <a:pt x="1981" y="634"/>
                      <a:pt x="1847" y="712"/>
                    </a:cubicBezTo>
                    <a:cubicBezTo>
                      <a:pt x="1758" y="592"/>
                      <a:pt x="1617" y="513"/>
                      <a:pt x="1460" y="513"/>
                    </a:cubicBezTo>
                    <a:cubicBezTo>
                      <a:pt x="1303" y="513"/>
                      <a:pt x="1162" y="592"/>
                      <a:pt x="1073" y="712"/>
                    </a:cubicBezTo>
                    <a:cubicBezTo>
                      <a:pt x="670" y="477"/>
                      <a:pt x="804" y="555"/>
                      <a:pt x="670" y="477"/>
                    </a:cubicBezTo>
                    <a:cubicBezTo>
                      <a:pt x="686" y="440"/>
                      <a:pt x="696" y="393"/>
                      <a:pt x="696" y="346"/>
                    </a:cubicBezTo>
                    <a:cubicBezTo>
                      <a:pt x="696" y="158"/>
                      <a:pt x="539" y="0"/>
                      <a:pt x="346" y="0"/>
                    </a:cubicBezTo>
                    <a:cubicBezTo>
                      <a:pt x="157" y="0"/>
                      <a:pt x="0" y="158"/>
                      <a:pt x="0" y="346"/>
                    </a:cubicBezTo>
                    <a:cubicBezTo>
                      <a:pt x="0" y="539"/>
                      <a:pt x="157" y="697"/>
                      <a:pt x="346" y="697"/>
                    </a:cubicBezTo>
                    <a:cubicBezTo>
                      <a:pt x="461" y="697"/>
                      <a:pt x="555" y="644"/>
                      <a:pt x="623" y="560"/>
                    </a:cubicBezTo>
                    <a:cubicBezTo>
                      <a:pt x="1026" y="796"/>
                      <a:pt x="892" y="717"/>
                      <a:pt x="1026" y="796"/>
                    </a:cubicBezTo>
                    <a:cubicBezTo>
                      <a:pt x="999" y="853"/>
                      <a:pt x="984" y="922"/>
                      <a:pt x="984" y="989"/>
                    </a:cubicBezTo>
                    <a:cubicBezTo>
                      <a:pt x="984" y="1235"/>
                      <a:pt x="1172" y="1439"/>
                      <a:pt x="1413" y="1465"/>
                    </a:cubicBezTo>
                    <a:cubicBezTo>
                      <a:pt x="1413" y="1931"/>
                      <a:pt x="1413" y="1776"/>
                      <a:pt x="1413" y="1931"/>
                    </a:cubicBezTo>
                    <a:cubicBezTo>
                      <a:pt x="1246" y="1957"/>
                      <a:pt x="1114" y="2099"/>
                      <a:pt x="1114" y="2277"/>
                    </a:cubicBezTo>
                    <a:cubicBezTo>
                      <a:pt x="1114" y="2465"/>
                      <a:pt x="1266" y="2622"/>
                      <a:pt x="1460" y="2622"/>
                    </a:cubicBezTo>
                    <a:cubicBezTo>
                      <a:pt x="1653" y="2622"/>
                      <a:pt x="1805" y="2465"/>
                      <a:pt x="1805" y="2277"/>
                    </a:cubicBezTo>
                    <a:cubicBezTo>
                      <a:pt x="1805" y="2099"/>
                      <a:pt x="1674" y="1957"/>
                      <a:pt x="1507" y="1931"/>
                    </a:cubicBezTo>
                    <a:cubicBezTo>
                      <a:pt x="1507" y="1465"/>
                      <a:pt x="1507" y="1620"/>
                      <a:pt x="1507" y="1465"/>
                    </a:cubicBezTo>
                    <a:cubicBezTo>
                      <a:pt x="1748" y="1439"/>
                      <a:pt x="1936" y="1235"/>
                      <a:pt x="1936" y="989"/>
                    </a:cubicBezTo>
                    <a:cubicBezTo>
                      <a:pt x="1936" y="922"/>
                      <a:pt x="1920" y="853"/>
                      <a:pt x="1894" y="796"/>
                    </a:cubicBezTo>
                    <a:cubicBezTo>
                      <a:pt x="2297" y="560"/>
                      <a:pt x="2163" y="639"/>
                      <a:pt x="2297" y="560"/>
                    </a:cubicBezTo>
                    <a:cubicBezTo>
                      <a:pt x="2365" y="644"/>
                      <a:pt x="2459" y="697"/>
                      <a:pt x="2574" y="697"/>
                    </a:cubicBezTo>
                    <a:cubicBezTo>
                      <a:pt x="2762" y="697"/>
                      <a:pt x="2919" y="539"/>
                      <a:pt x="2919" y="346"/>
                    </a:cubicBezTo>
                    <a:cubicBezTo>
                      <a:pt x="2919" y="158"/>
                      <a:pt x="2762" y="0"/>
                      <a:pt x="2574" y="0"/>
                    </a:cubicBezTo>
                    <a:close/>
                    <a:moveTo>
                      <a:pt x="346" y="602"/>
                    </a:moveTo>
                    <a:lnTo>
                      <a:pt x="346" y="602"/>
                    </a:lnTo>
                    <a:cubicBezTo>
                      <a:pt x="209" y="602"/>
                      <a:pt x="94" y="487"/>
                      <a:pt x="94" y="346"/>
                    </a:cubicBezTo>
                    <a:cubicBezTo>
                      <a:pt x="94" y="210"/>
                      <a:pt x="209" y="95"/>
                      <a:pt x="346" y="95"/>
                    </a:cubicBezTo>
                    <a:cubicBezTo>
                      <a:pt x="487" y="95"/>
                      <a:pt x="602" y="210"/>
                      <a:pt x="602" y="346"/>
                    </a:cubicBezTo>
                    <a:cubicBezTo>
                      <a:pt x="602" y="487"/>
                      <a:pt x="487" y="602"/>
                      <a:pt x="346" y="602"/>
                    </a:cubicBezTo>
                    <a:close/>
                    <a:moveTo>
                      <a:pt x="1711" y="2277"/>
                    </a:moveTo>
                    <a:lnTo>
                      <a:pt x="1711" y="2277"/>
                    </a:lnTo>
                    <a:cubicBezTo>
                      <a:pt x="1711" y="2413"/>
                      <a:pt x="1601" y="2528"/>
                      <a:pt x="1460" y="2528"/>
                    </a:cubicBezTo>
                    <a:cubicBezTo>
                      <a:pt x="1318" y="2528"/>
                      <a:pt x="1209" y="2413"/>
                      <a:pt x="1209" y="2277"/>
                    </a:cubicBezTo>
                    <a:cubicBezTo>
                      <a:pt x="1209" y="2135"/>
                      <a:pt x="1318" y="2020"/>
                      <a:pt x="1460" y="2020"/>
                    </a:cubicBezTo>
                    <a:cubicBezTo>
                      <a:pt x="1601" y="2020"/>
                      <a:pt x="1711" y="2135"/>
                      <a:pt x="1711" y="2277"/>
                    </a:cubicBezTo>
                    <a:close/>
                    <a:moveTo>
                      <a:pt x="1460" y="1372"/>
                    </a:moveTo>
                    <a:lnTo>
                      <a:pt x="1460" y="1372"/>
                    </a:lnTo>
                    <a:cubicBezTo>
                      <a:pt x="1251" y="1372"/>
                      <a:pt x="1078" y="1199"/>
                      <a:pt x="1078" y="989"/>
                    </a:cubicBezTo>
                    <a:cubicBezTo>
                      <a:pt x="1078" y="780"/>
                      <a:pt x="1251" y="608"/>
                      <a:pt x="1460" y="608"/>
                    </a:cubicBezTo>
                    <a:cubicBezTo>
                      <a:pt x="1669" y="608"/>
                      <a:pt x="1842" y="780"/>
                      <a:pt x="1842" y="989"/>
                    </a:cubicBezTo>
                    <a:cubicBezTo>
                      <a:pt x="1842" y="1199"/>
                      <a:pt x="1669" y="1372"/>
                      <a:pt x="1460" y="1372"/>
                    </a:cubicBezTo>
                    <a:close/>
                    <a:moveTo>
                      <a:pt x="2574" y="602"/>
                    </a:moveTo>
                    <a:lnTo>
                      <a:pt x="2574" y="602"/>
                    </a:lnTo>
                    <a:cubicBezTo>
                      <a:pt x="2433" y="602"/>
                      <a:pt x="2318" y="487"/>
                      <a:pt x="2318" y="346"/>
                    </a:cubicBezTo>
                    <a:cubicBezTo>
                      <a:pt x="2318" y="210"/>
                      <a:pt x="2433" y="95"/>
                      <a:pt x="2574" y="95"/>
                    </a:cubicBezTo>
                    <a:cubicBezTo>
                      <a:pt x="2710" y="95"/>
                      <a:pt x="2825" y="210"/>
                      <a:pt x="2825" y="346"/>
                    </a:cubicBezTo>
                    <a:cubicBezTo>
                      <a:pt x="2825" y="487"/>
                      <a:pt x="2710" y="602"/>
                      <a:pt x="2574" y="602"/>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0" name="Freeform 187">
                <a:extLst>
                  <a:ext uri="{FF2B5EF4-FFF2-40B4-BE49-F238E27FC236}">
                    <a16:creationId xmlns:a16="http://schemas.microsoft.com/office/drawing/2014/main" id="{3D0C97CC-F86C-0E4E-BF00-6EA757F86B22}"/>
                  </a:ext>
                </a:extLst>
              </p:cNvPr>
              <p:cNvSpPr>
                <a:spLocks noChangeArrowheads="1"/>
              </p:cNvSpPr>
              <p:nvPr/>
            </p:nvSpPr>
            <p:spPr bwMode="auto">
              <a:xfrm>
                <a:off x="452438" y="6526213"/>
                <a:ext cx="150812" cy="152400"/>
              </a:xfrm>
              <a:custGeom>
                <a:avLst/>
                <a:gdLst>
                  <a:gd name="T0" fmla="*/ 214 w 429"/>
                  <a:gd name="T1" fmla="*/ 429 h 430"/>
                  <a:gd name="T2" fmla="*/ 214 w 429"/>
                  <a:gd name="T3" fmla="*/ 429 h 430"/>
                  <a:gd name="T4" fmla="*/ 428 w 429"/>
                  <a:gd name="T5" fmla="*/ 215 h 430"/>
                  <a:gd name="T6" fmla="*/ 214 w 429"/>
                  <a:gd name="T7" fmla="*/ 0 h 430"/>
                  <a:gd name="T8" fmla="*/ 0 w 429"/>
                  <a:gd name="T9" fmla="*/ 215 h 430"/>
                  <a:gd name="T10" fmla="*/ 214 w 429"/>
                  <a:gd name="T11" fmla="*/ 429 h 430"/>
                  <a:gd name="T12" fmla="*/ 214 w 429"/>
                  <a:gd name="T13" fmla="*/ 95 h 430"/>
                  <a:gd name="T14" fmla="*/ 214 w 429"/>
                  <a:gd name="T15" fmla="*/ 95 h 430"/>
                  <a:gd name="T16" fmla="*/ 334 w 429"/>
                  <a:gd name="T17" fmla="*/ 215 h 430"/>
                  <a:gd name="T18" fmla="*/ 214 w 429"/>
                  <a:gd name="T19" fmla="*/ 335 h 430"/>
                  <a:gd name="T20" fmla="*/ 93 w 429"/>
                  <a:gd name="T21" fmla="*/ 215 h 430"/>
                  <a:gd name="T22" fmla="*/ 214 w 429"/>
                  <a:gd name="T23"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430">
                    <a:moveTo>
                      <a:pt x="214" y="429"/>
                    </a:moveTo>
                    <a:lnTo>
                      <a:pt x="214" y="429"/>
                    </a:lnTo>
                    <a:cubicBezTo>
                      <a:pt x="334" y="429"/>
                      <a:pt x="428" y="335"/>
                      <a:pt x="428" y="215"/>
                    </a:cubicBezTo>
                    <a:cubicBezTo>
                      <a:pt x="428" y="95"/>
                      <a:pt x="334" y="0"/>
                      <a:pt x="214" y="0"/>
                    </a:cubicBezTo>
                    <a:cubicBezTo>
                      <a:pt x="93" y="0"/>
                      <a:pt x="0" y="95"/>
                      <a:pt x="0" y="215"/>
                    </a:cubicBezTo>
                    <a:cubicBezTo>
                      <a:pt x="0" y="335"/>
                      <a:pt x="93" y="429"/>
                      <a:pt x="214" y="429"/>
                    </a:cubicBezTo>
                    <a:close/>
                    <a:moveTo>
                      <a:pt x="214" y="95"/>
                    </a:moveTo>
                    <a:lnTo>
                      <a:pt x="214" y="95"/>
                    </a:lnTo>
                    <a:cubicBezTo>
                      <a:pt x="282" y="95"/>
                      <a:pt x="334" y="147"/>
                      <a:pt x="334" y="215"/>
                    </a:cubicBezTo>
                    <a:cubicBezTo>
                      <a:pt x="334" y="283"/>
                      <a:pt x="282" y="335"/>
                      <a:pt x="214" y="335"/>
                    </a:cubicBezTo>
                    <a:cubicBezTo>
                      <a:pt x="146" y="335"/>
                      <a:pt x="93" y="283"/>
                      <a:pt x="93" y="215"/>
                    </a:cubicBezTo>
                    <a:cubicBezTo>
                      <a:pt x="93" y="147"/>
                      <a:pt x="146" y="95"/>
                      <a:pt x="214" y="95"/>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1" name="Freeform 188">
                <a:extLst>
                  <a:ext uri="{FF2B5EF4-FFF2-40B4-BE49-F238E27FC236}">
                    <a16:creationId xmlns:a16="http://schemas.microsoft.com/office/drawing/2014/main" id="{7782636D-E6CC-1B03-7FC0-36065F8D4B97}"/>
                  </a:ext>
                </a:extLst>
              </p:cNvPr>
              <p:cNvSpPr>
                <a:spLocks noChangeArrowheads="1"/>
              </p:cNvSpPr>
              <p:nvPr/>
            </p:nvSpPr>
            <p:spPr bwMode="auto">
              <a:xfrm>
                <a:off x="157163" y="7034213"/>
                <a:ext cx="155575" cy="152400"/>
              </a:xfrm>
              <a:custGeom>
                <a:avLst/>
                <a:gdLst>
                  <a:gd name="T0" fmla="*/ 220 w 440"/>
                  <a:gd name="T1" fmla="*/ 0 h 430"/>
                  <a:gd name="T2" fmla="*/ 220 w 440"/>
                  <a:gd name="T3" fmla="*/ 0 h 430"/>
                  <a:gd name="T4" fmla="*/ 115 w 440"/>
                  <a:gd name="T5" fmla="*/ 31 h 430"/>
                  <a:gd name="T6" fmla="*/ 10 w 440"/>
                  <a:gd name="T7" fmla="*/ 162 h 430"/>
                  <a:gd name="T8" fmla="*/ 37 w 440"/>
                  <a:gd name="T9" fmla="*/ 324 h 430"/>
                  <a:gd name="T10" fmla="*/ 220 w 440"/>
                  <a:gd name="T11" fmla="*/ 429 h 430"/>
                  <a:gd name="T12" fmla="*/ 329 w 440"/>
                  <a:gd name="T13" fmla="*/ 403 h 430"/>
                  <a:gd name="T14" fmla="*/ 429 w 440"/>
                  <a:gd name="T15" fmla="*/ 272 h 430"/>
                  <a:gd name="T16" fmla="*/ 408 w 440"/>
                  <a:gd name="T17" fmla="*/ 109 h 430"/>
                  <a:gd name="T18" fmla="*/ 220 w 440"/>
                  <a:gd name="T19" fmla="*/ 0 h 430"/>
                  <a:gd name="T20" fmla="*/ 335 w 440"/>
                  <a:gd name="T21" fmla="*/ 246 h 430"/>
                  <a:gd name="T22" fmla="*/ 335 w 440"/>
                  <a:gd name="T23" fmla="*/ 246 h 430"/>
                  <a:gd name="T24" fmla="*/ 283 w 440"/>
                  <a:gd name="T25" fmla="*/ 319 h 430"/>
                  <a:gd name="T26" fmla="*/ 220 w 440"/>
                  <a:gd name="T27" fmla="*/ 334 h 430"/>
                  <a:gd name="T28" fmla="*/ 115 w 440"/>
                  <a:gd name="T29" fmla="*/ 277 h 430"/>
                  <a:gd name="T30" fmla="*/ 105 w 440"/>
                  <a:gd name="T31" fmla="*/ 183 h 430"/>
                  <a:gd name="T32" fmla="*/ 162 w 440"/>
                  <a:gd name="T33" fmla="*/ 109 h 430"/>
                  <a:gd name="T34" fmla="*/ 220 w 440"/>
                  <a:gd name="T35" fmla="*/ 94 h 430"/>
                  <a:gd name="T36" fmla="*/ 324 w 440"/>
                  <a:gd name="T37" fmla="*/ 157 h 430"/>
                  <a:gd name="T38" fmla="*/ 335 w 440"/>
                  <a:gd name="T39" fmla="*/ 24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 h="430">
                    <a:moveTo>
                      <a:pt x="220" y="0"/>
                    </a:moveTo>
                    <a:lnTo>
                      <a:pt x="220" y="0"/>
                    </a:lnTo>
                    <a:cubicBezTo>
                      <a:pt x="183" y="0"/>
                      <a:pt x="147" y="10"/>
                      <a:pt x="115" y="31"/>
                    </a:cubicBezTo>
                    <a:cubicBezTo>
                      <a:pt x="63" y="57"/>
                      <a:pt x="26" y="104"/>
                      <a:pt x="10" y="162"/>
                    </a:cubicBezTo>
                    <a:cubicBezTo>
                      <a:pt x="0" y="214"/>
                      <a:pt x="5" y="272"/>
                      <a:pt x="37" y="324"/>
                    </a:cubicBezTo>
                    <a:cubicBezTo>
                      <a:pt x="73" y="387"/>
                      <a:pt x="141" y="429"/>
                      <a:pt x="220" y="429"/>
                    </a:cubicBezTo>
                    <a:cubicBezTo>
                      <a:pt x="257" y="429"/>
                      <a:pt x="293" y="418"/>
                      <a:pt x="329" y="403"/>
                    </a:cubicBezTo>
                    <a:cubicBezTo>
                      <a:pt x="377" y="371"/>
                      <a:pt x="413" y="324"/>
                      <a:pt x="429" y="272"/>
                    </a:cubicBezTo>
                    <a:cubicBezTo>
                      <a:pt x="439" y="214"/>
                      <a:pt x="434" y="157"/>
                      <a:pt x="408" y="109"/>
                    </a:cubicBezTo>
                    <a:cubicBezTo>
                      <a:pt x="366" y="42"/>
                      <a:pt x="298" y="0"/>
                      <a:pt x="220" y="0"/>
                    </a:cubicBezTo>
                    <a:close/>
                    <a:moveTo>
                      <a:pt x="335" y="246"/>
                    </a:moveTo>
                    <a:lnTo>
                      <a:pt x="335" y="246"/>
                    </a:lnTo>
                    <a:cubicBezTo>
                      <a:pt x="329" y="277"/>
                      <a:pt x="309" y="303"/>
                      <a:pt x="283" y="319"/>
                    </a:cubicBezTo>
                    <a:cubicBezTo>
                      <a:pt x="262" y="329"/>
                      <a:pt x="240" y="334"/>
                      <a:pt x="220" y="334"/>
                    </a:cubicBezTo>
                    <a:cubicBezTo>
                      <a:pt x="178" y="334"/>
                      <a:pt x="136" y="314"/>
                      <a:pt x="115" y="277"/>
                    </a:cubicBezTo>
                    <a:cubicBezTo>
                      <a:pt x="99" y="246"/>
                      <a:pt x="94" y="214"/>
                      <a:pt x="105" y="183"/>
                    </a:cubicBezTo>
                    <a:cubicBezTo>
                      <a:pt x="110" y="152"/>
                      <a:pt x="131" y="126"/>
                      <a:pt x="162" y="109"/>
                    </a:cubicBezTo>
                    <a:cubicBezTo>
                      <a:pt x="178" y="99"/>
                      <a:pt x="199" y="94"/>
                      <a:pt x="220" y="94"/>
                    </a:cubicBezTo>
                    <a:cubicBezTo>
                      <a:pt x="262" y="94"/>
                      <a:pt x="303" y="120"/>
                      <a:pt x="324" y="157"/>
                    </a:cubicBezTo>
                    <a:cubicBezTo>
                      <a:pt x="340" y="183"/>
                      <a:pt x="345" y="214"/>
                      <a:pt x="335" y="246"/>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2" name="Freeform 189">
                <a:extLst>
                  <a:ext uri="{FF2B5EF4-FFF2-40B4-BE49-F238E27FC236}">
                    <a16:creationId xmlns:a16="http://schemas.microsoft.com/office/drawing/2014/main" id="{703AB392-FB89-1C80-8D8F-26606174F74E}"/>
                  </a:ext>
                </a:extLst>
              </p:cNvPr>
              <p:cNvSpPr>
                <a:spLocks noChangeArrowheads="1"/>
              </p:cNvSpPr>
              <p:nvPr/>
            </p:nvSpPr>
            <p:spPr bwMode="auto">
              <a:xfrm>
                <a:off x="744538" y="7034213"/>
                <a:ext cx="165100" cy="152400"/>
              </a:xfrm>
              <a:custGeom>
                <a:avLst/>
                <a:gdLst>
                  <a:gd name="T0" fmla="*/ 325 w 467"/>
                  <a:gd name="T1" fmla="*/ 31 h 430"/>
                  <a:gd name="T2" fmla="*/ 325 w 467"/>
                  <a:gd name="T3" fmla="*/ 31 h 430"/>
                  <a:gd name="T4" fmla="*/ 220 w 467"/>
                  <a:gd name="T5" fmla="*/ 0 h 430"/>
                  <a:gd name="T6" fmla="*/ 32 w 467"/>
                  <a:gd name="T7" fmla="*/ 109 h 430"/>
                  <a:gd name="T8" fmla="*/ 11 w 467"/>
                  <a:gd name="T9" fmla="*/ 272 h 430"/>
                  <a:gd name="T10" fmla="*/ 110 w 467"/>
                  <a:gd name="T11" fmla="*/ 403 h 430"/>
                  <a:gd name="T12" fmla="*/ 220 w 467"/>
                  <a:gd name="T13" fmla="*/ 429 h 430"/>
                  <a:gd name="T14" fmla="*/ 403 w 467"/>
                  <a:gd name="T15" fmla="*/ 324 h 430"/>
                  <a:gd name="T16" fmla="*/ 325 w 467"/>
                  <a:gd name="T17" fmla="*/ 31 h 430"/>
                  <a:gd name="T18" fmla="*/ 325 w 467"/>
                  <a:gd name="T19" fmla="*/ 277 h 430"/>
                  <a:gd name="T20" fmla="*/ 325 w 467"/>
                  <a:gd name="T21" fmla="*/ 277 h 430"/>
                  <a:gd name="T22" fmla="*/ 220 w 467"/>
                  <a:gd name="T23" fmla="*/ 334 h 430"/>
                  <a:gd name="T24" fmla="*/ 157 w 467"/>
                  <a:gd name="T25" fmla="*/ 319 h 430"/>
                  <a:gd name="T26" fmla="*/ 105 w 467"/>
                  <a:gd name="T27" fmla="*/ 246 h 430"/>
                  <a:gd name="T28" fmla="*/ 115 w 467"/>
                  <a:gd name="T29" fmla="*/ 157 h 430"/>
                  <a:gd name="T30" fmla="*/ 220 w 467"/>
                  <a:gd name="T31" fmla="*/ 94 h 430"/>
                  <a:gd name="T32" fmla="*/ 277 w 467"/>
                  <a:gd name="T33" fmla="*/ 109 h 430"/>
                  <a:gd name="T34" fmla="*/ 325 w 467"/>
                  <a:gd name="T35" fmla="*/ 27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7" h="430">
                    <a:moveTo>
                      <a:pt x="325" y="31"/>
                    </a:moveTo>
                    <a:lnTo>
                      <a:pt x="325" y="31"/>
                    </a:lnTo>
                    <a:cubicBezTo>
                      <a:pt x="293" y="10"/>
                      <a:pt x="257" y="0"/>
                      <a:pt x="220" y="0"/>
                    </a:cubicBezTo>
                    <a:cubicBezTo>
                      <a:pt x="141" y="0"/>
                      <a:pt x="73" y="42"/>
                      <a:pt x="32" y="109"/>
                    </a:cubicBezTo>
                    <a:cubicBezTo>
                      <a:pt x="6" y="157"/>
                      <a:pt x="0" y="214"/>
                      <a:pt x="11" y="272"/>
                    </a:cubicBezTo>
                    <a:cubicBezTo>
                      <a:pt x="26" y="324"/>
                      <a:pt x="63" y="371"/>
                      <a:pt x="110" y="403"/>
                    </a:cubicBezTo>
                    <a:cubicBezTo>
                      <a:pt x="147" y="418"/>
                      <a:pt x="183" y="429"/>
                      <a:pt x="220" y="429"/>
                    </a:cubicBezTo>
                    <a:cubicBezTo>
                      <a:pt x="298" y="429"/>
                      <a:pt x="366" y="387"/>
                      <a:pt x="403" y="324"/>
                    </a:cubicBezTo>
                    <a:cubicBezTo>
                      <a:pt x="466" y="219"/>
                      <a:pt x="429" y="89"/>
                      <a:pt x="325" y="31"/>
                    </a:cubicBezTo>
                    <a:close/>
                    <a:moveTo>
                      <a:pt x="325" y="277"/>
                    </a:moveTo>
                    <a:lnTo>
                      <a:pt x="325" y="277"/>
                    </a:lnTo>
                    <a:cubicBezTo>
                      <a:pt x="303" y="314"/>
                      <a:pt x="262" y="334"/>
                      <a:pt x="220" y="334"/>
                    </a:cubicBezTo>
                    <a:cubicBezTo>
                      <a:pt x="199" y="334"/>
                      <a:pt x="178" y="329"/>
                      <a:pt x="157" y="319"/>
                    </a:cubicBezTo>
                    <a:cubicBezTo>
                      <a:pt x="131" y="303"/>
                      <a:pt x="110" y="277"/>
                      <a:pt x="105" y="246"/>
                    </a:cubicBezTo>
                    <a:cubicBezTo>
                      <a:pt x="95" y="214"/>
                      <a:pt x="100" y="183"/>
                      <a:pt x="115" y="157"/>
                    </a:cubicBezTo>
                    <a:cubicBezTo>
                      <a:pt x="136" y="120"/>
                      <a:pt x="178" y="94"/>
                      <a:pt x="220" y="94"/>
                    </a:cubicBezTo>
                    <a:cubicBezTo>
                      <a:pt x="241" y="94"/>
                      <a:pt x="262" y="99"/>
                      <a:pt x="277" y="109"/>
                    </a:cubicBezTo>
                    <a:cubicBezTo>
                      <a:pt x="335" y="146"/>
                      <a:pt x="356" y="219"/>
                      <a:pt x="325" y="277"/>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nvGrpSpPr>
            <p:cNvPr id="73" name="Group 75">
              <a:extLst>
                <a:ext uri="{FF2B5EF4-FFF2-40B4-BE49-F238E27FC236}">
                  <a16:creationId xmlns:a16="http://schemas.microsoft.com/office/drawing/2014/main" id="{BABED65F-A116-C8D3-03F1-E1939728379D}"/>
                </a:ext>
              </a:extLst>
            </p:cNvPr>
            <p:cNvGrpSpPr/>
            <p:nvPr userDrawn="1"/>
          </p:nvGrpSpPr>
          <p:grpSpPr>
            <a:xfrm>
              <a:off x="9803776" y="6167955"/>
              <a:ext cx="980733" cy="894331"/>
              <a:chOff x="1630363" y="4967288"/>
              <a:chExt cx="1027113" cy="936625"/>
            </a:xfrm>
            <a:solidFill>
              <a:schemeClr val="bg1"/>
            </a:solidFill>
          </p:grpSpPr>
          <p:sp>
            <p:nvSpPr>
              <p:cNvPr id="74" name="Freeform 229">
                <a:extLst>
                  <a:ext uri="{FF2B5EF4-FFF2-40B4-BE49-F238E27FC236}">
                    <a16:creationId xmlns:a16="http://schemas.microsoft.com/office/drawing/2014/main" id="{0D2BFA1B-C9AE-E3E3-0547-B5A7CCFD5E0F}"/>
                  </a:ext>
                </a:extLst>
              </p:cNvPr>
              <p:cNvSpPr>
                <a:spLocks noChangeArrowheads="1"/>
              </p:cNvSpPr>
              <p:nvPr/>
            </p:nvSpPr>
            <p:spPr bwMode="auto">
              <a:xfrm>
                <a:off x="1997075" y="5808663"/>
                <a:ext cx="404813" cy="95250"/>
              </a:xfrm>
              <a:custGeom>
                <a:avLst/>
                <a:gdLst>
                  <a:gd name="T0" fmla="*/ 972 w 1133"/>
                  <a:gd name="T1" fmla="*/ 0 h 272"/>
                  <a:gd name="T2" fmla="*/ 877 w 1133"/>
                  <a:gd name="T3" fmla="*/ 0 h 272"/>
                  <a:gd name="T4" fmla="*/ 877 w 1133"/>
                  <a:gd name="T5" fmla="*/ 175 h 272"/>
                  <a:gd name="T6" fmla="*/ 255 w 1133"/>
                  <a:gd name="T7" fmla="*/ 175 h 272"/>
                  <a:gd name="T8" fmla="*/ 255 w 1133"/>
                  <a:gd name="T9" fmla="*/ 0 h 272"/>
                  <a:gd name="T10" fmla="*/ 159 w 1133"/>
                  <a:gd name="T11" fmla="*/ 0 h 272"/>
                  <a:gd name="T12" fmla="*/ 159 w 1133"/>
                  <a:gd name="T13" fmla="*/ 175 h 272"/>
                  <a:gd name="T14" fmla="*/ 0 w 1133"/>
                  <a:gd name="T15" fmla="*/ 175 h 272"/>
                  <a:gd name="T16" fmla="*/ 0 w 1133"/>
                  <a:gd name="T17" fmla="*/ 271 h 272"/>
                  <a:gd name="T18" fmla="*/ 159 w 1133"/>
                  <a:gd name="T19" fmla="*/ 271 h 272"/>
                  <a:gd name="T20" fmla="*/ 972 w 1133"/>
                  <a:gd name="T21" fmla="*/ 271 h 272"/>
                  <a:gd name="T22" fmla="*/ 1132 w 1133"/>
                  <a:gd name="T23" fmla="*/ 271 h 272"/>
                  <a:gd name="T24" fmla="*/ 1132 w 1133"/>
                  <a:gd name="T25" fmla="*/ 175 h 272"/>
                  <a:gd name="T26" fmla="*/ 972 w 1133"/>
                  <a:gd name="T27" fmla="*/ 175 h 272"/>
                  <a:gd name="T28" fmla="*/ 972 w 1133"/>
                  <a:gd name="T2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3" h="272">
                    <a:moveTo>
                      <a:pt x="972" y="0"/>
                    </a:moveTo>
                    <a:cubicBezTo>
                      <a:pt x="940" y="0"/>
                      <a:pt x="908" y="0"/>
                      <a:pt x="877" y="0"/>
                    </a:cubicBezTo>
                    <a:cubicBezTo>
                      <a:pt x="877" y="59"/>
                      <a:pt x="877" y="117"/>
                      <a:pt x="877" y="175"/>
                    </a:cubicBezTo>
                    <a:cubicBezTo>
                      <a:pt x="669" y="175"/>
                      <a:pt x="462" y="175"/>
                      <a:pt x="255" y="175"/>
                    </a:cubicBezTo>
                    <a:cubicBezTo>
                      <a:pt x="255" y="117"/>
                      <a:pt x="255" y="59"/>
                      <a:pt x="255" y="0"/>
                    </a:cubicBezTo>
                    <a:cubicBezTo>
                      <a:pt x="223" y="0"/>
                      <a:pt x="191" y="0"/>
                      <a:pt x="159" y="0"/>
                    </a:cubicBezTo>
                    <a:cubicBezTo>
                      <a:pt x="159" y="59"/>
                      <a:pt x="159" y="117"/>
                      <a:pt x="159" y="175"/>
                    </a:cubicBezTo>
                    <a:cubicBezTo>
                      <a:pt x="106" y="175"/>
                      <a:pt x="53" y="175"/>
                      <a:pt x="0" y="175"/>
                    </a:cubicBezTo>
                    <a:cubicBezTo>
                      <a:pt x="0" y="207"/>
                      <a:pt x="0" y="239"/>
                      <a:pt x="0" y="271"/>
                    </a:cubicBezTo>
                    <a:cubicBezTo>
                      <a:pt x="53" y="271"/>
                      <a:pt x="106" y="271"/>
                      <a:pt x="159" y="271"/>
                    </a:cubicBezTo>
                    <a:cubicBezTo>
                      <a:pt x="430" y="271"/>
                      <a:pt x="701" y="271"/>
                      <a:pt x="972" y="271"/>
                    </a:cubicBezTo>
                    <a:cubicBezTo>
                      <a:pt x="1025" y="271"/>
                      <a:pt x="1078" y="271"/>
                      <a:pt x="1132" y="271"/>
                    </a:cubicBezTo>
                    <a:cubicBezTo>
                      <a:pt x="1132" y="239"/>
                      <a:pt x="1132" y="207"/>
                      <a:pt x="1132" y="175"/>
                    </a:cubicBezTo>
                    <a:cubicBezTo>
                      <a:pt x="1078" y="175"/>
                      <a:pt x="1025" y="175"/>
                      <a:pt x="972" y="175"/>
                    </a:cubicBezTo>
                    <a:cubicBezTo>
                      <a:pt x="972" y="117"/>
                      <a:pt x="972" y="59"/>
                      <a:pt x="972"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5" name="Freeform 230">
                <a:extLst>
                  <a:ext uri="{FF2B5EF4-FFF2-40B4-BE49-F238E27FC236}">
                    <a16:creationId xmlns:a16="http://schemas.microsoft.com/office/drawing/2014/main" id="{AA003F62-615E-5B0D-F389-9355AB692256}"/>
                  </a:ext>
                </a:extLst>
              </p:cNvPr>
              <p:cNvSpPr>
                <a:spLocks noChangeArrowheads="1"/>
              </p:cNvSpPr>
              <p:nvPr/>
            </p:nvSpPr>
            <p:spPr bwMode="auto">
              <a:xfrm>
                <a:off x="1630363" y="4967288"/>
                <a:ext cx="1027113" cy="936625"/>
              </a:xfrm>
              <a:custGeom>
                <a:avLst/>
                <a:gdLst>
                  <a:gd name="T0" fmla="*/ 2822 w 2860"/>
                  <a:gd name="T1" fmla="*/ 244 h 2610"/>
                  <a:gd name="T2" fmla="*/ 2657 w 2860"/>
                  <a:gd name="T3" fmla="*/ 201 h 2610"/>
                  <a:gd name="T4" fmla="*/ 2487 w 2860"/>
                  <a:gd name="T5" fmla="*/ 0 h 2610"/>
                  <a:gd name="T6" fmla="*/ 1610 w 2860"/>
                  <a:gd name="T7" fmla="*/ 164 h 2610"/>
                  <a:gd name="T8" fmla="*/ 446 w 2860"/>
                  <a:gd name="T9" fmla="*/ 201 h 2610"/>
                  <a:gd name="T10" fmla="*/ 313 w 2860"/>
                  <a:gd name="T11" fmla="*/ 334 h 2610"/>
                  <a:gd name="T12" fmla="*/ 127 w 2860"/>
                  <a:gd name="T13" fmla="*/ 1392 h 2610"/>
                  <a:gd name="T14" fmla="*/ 0 w 2860"/>
                  <a:gd name="T15" fmla="*/ 2481 h 2610"/>
                  <a:gd name="T16" fmla="*/ 595 w 2860"/>
                  <a:gd name="T17" fmla="*/ 2609 h 2610"/>
                  <a:gd name="T18" fmla="*/ 723 w 2860"/>
                  <a:gd name="T19" fmla="*/ 2248 h 2610"/>
                  <a:gd name="T20" fmla="*/ 2822 w 2860"/>
                  <a:gd name="T21" fmla="*/ 2205 h 2610"/>
                  <a:gd name="T22" fmla="*/ 2859 w 2860"/>
                  <a:gd name="T23" fmla="*/ 1955 h 2610"/>
                  <a:gd name="T24" fmla="*/ 2859 w 2860"/>
                  <a:gd name="T25" fmla="*/ 334 h 2610"/>
                  <a:gd name="T26" fmla="*/ 1706 w 2860"/>
                  <a:gd name="T27" fmla="*/ 164 h 2610"/>
                  <a:gd name="T28" fmla="*/ 1780 w 2860"/>
                  <a:gd name="T29" fmla="*/ 95 h 2610"/>
                  <a:gd name="T30" fmla="*/ 2561 w 2860"/>
                  <a:gd name="T31" fmla="*/ 164 h 2610"/>
                  <a:gd name="T32" fmla="*/ 2487 w 2860"/>
                  <a:gd name="T33" fmla="*/ 1291 h 2610"/>
                  <a:gd name="T34" fmla="*/ 1706 w 2860"/>
                  <a:gd name="T35" fmla="*/ 1216 h 2610"/>
                  <a:gd name="T36" fmla="*/ 1780 w 2860"/>
                  <a:gd name="T37" fmla="*/ 1386 h 2610"/>
                  <a:gd name="T38" fmla="*/ 2487 w 2860"/>
                  <a:gd name="T39" fmla="*/ 1386 h 2610"/>
                  <a:gd name="T40" fmla="*/ 2561 w 2860"/>
                  <a:gd name="T41" fmla="*/ 1658 h 2610"/>
                  <a:gd name="T42" fmla="*/ 723 w 2860"/>
                  <a:gd name="T43" fmla="*/ 1519 h 2610"/>
                  <a:gd name="T44" fmla="*/ 616 w 2860"/>
                  <a:gd name="T45" fmla="*/ 504 h 2610"/>
                  <a:gd name="T46" fmla="*/ 1610 w 2860"/>
                  <a:gd name="T47" fmla="*/ 1216 h 2610"/>
                  <a:gd name="T48" fmla="*/ 409 w 2860"/>
                  <a:gd name="T49" fmla="*/ 334 h 2610"/>
                  <a:gd name="T50" fmla="*/ 419 w 2860"/>
                  <a:gd name="T51" fmla="*/ 308 h 2610"/>
                  <a:gd name="T52" fmla="*/ 1610 w 2860"/>
                  <a:gd name="T53" fmla="*/ 297 h 2610"/>
                  <a:gd name="T54" fmla="*/ 520 w 2860"/>
                  <a:gd name="T55" fmla="*/ 409 h 2610"/>
                  <a:gd name="T56" fmla="*/ 409 w 2860"/>
                  <a:gd name="T57" fmla="*/ 1392 h 2610"/>
                  <a:gd name="T58" fmla="*/ 627 w 2860"/>
                  <a:gd name="T59" fmla="*/ 2481 h 2610"/>
                  <a:gd name="T60" fmla="*/ 595 w 2860"/>
                  <a:gd name="T61" fmla="*/ 2513 h 2610"/>
                  <a:gd name="T62" fmla="*/ 95 w 2860"/>
                  <a:gd name="T63" fmla="*/ 2481 h 2610"/>
                  <a:gd name="T64" fmla="*/ 127 w 2860"/>
                  <a:gd name="T65" fmla="*/ 1487 h 2610"/>
                  <a:gd name="T66" fmla="*/ 595 w 2860"/>
                  <a:gd name="T67" fmla="*/ 1487 h 2610"/>
                  <a:gd name="T68" fmla="*/ 627 w 2860"/>
                  <a:gd name="T69" fmla="*/ 1859 h 2610"/>
                  <a:gd name="T70" fmla="*/ 627 w 2860"/>
                  <a:gd name="T71" fmla="*/ 2248 h 2610"/>
                  <a:gd name="T72" fmla="*/ 2763 w 2860"/>
                  <a:gd name="T73" fmla="*/ 2109 h 2610"/>
                  <a:gd name="T74" fmla="*/ 2753 w 2860"/>
                  <a:gd name="T75" fmla="*/ 2136 h 2610"/>
                  <a:gd name="T76" fmla="*/ 723 w 2860"/>
                  <a:gd name="T77" fmla="*/ 2152 h 2610"/>
                  <a:gd name="T78" fmla="*/ 2763 w 2860"/>
                  <a:gd name="T79" fmla="*/ 1955 h 2610"/>
                  <a:gd name="T80" fmla="*/ 723 w 2860"/>
                  <a:gd name="T81" fmla="*/ 1859 h 2610"/>
                  <a:gd name="T82" fmla="*/ 723 w 2860"/>
                  <a:gd name="T83" fmla="*/ 1753 h 2610"/>
                  <a:gd name="T84" fmla="*/ 2657 w 2860"/>
                  <a:gd name="T85" fmla="*/ 1216 h 2610"/>
                  <a:gd name="T86" fmla="*/ 2726 w 2860"/>
                  <a:gd name="T87" fmla="*/ 297 h 2610"/>
                  <a:gd name="T88" fmla="*/ 2763 w 2860"/>
                  <a:gd name="T89" fmla="*/ 334 h 2610"/>
                  <a:gd name="T90" fmla="*/ 723 w 2860"/>
                  <a:gd name="T91" fmla="*/ 1859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60" h="2610">
                    <a:moveTo>
                      <a:pt x="2822" y="244"/>
                    </a:moveTo>
                    <a:lnTo>
                      <a:pt x="2822" y="244"/>
                    </a:lnTo>
                    <a:cubicBezTo>
                      <a:pt x="2795" y="217"/>
                      <a:pt x="2763" y="201"/>
                      <a:pt x="2726" y="201"/>
                    </a:cubicBezTo>
                    <a:cubicBezTo>
                      <a:pt x="2657" y="201"/>
                      <a:pt x="2680" y="201"/>
                      <a:pt x="2657" y="201"/>
                    </a:cubicBezTo>
                    <a:cubicBezTo>
                      <a:pt x="2657" y="164"/>
                      <a:pt x="2657" y="177"/>
                      <a:pt x="2657" y="164"/>
                    </a:cubicBezTo>
                    <a:cubicBezTo>
                      <a:pt x="2657" y="73"/>
                      <a:pt x="2577" y="0"/>
                      <a:pt x="2487" y="0"/>
                    </a:cubicBezTo>
                    <a:cubicBezTo>
                      <a:pt x="1780" y="0"/>
                      <a:pt x="2015" y="0"/>
                      <a:pt x="1780" y="0"/>
                    </a:cubicBezTo>
                    <a:cubicBezTo>
                      <a:pt x="1684" y="0"/>
                      <a:pt x="1610" y="73"/>
                      <a:pt x="1610" y="164"/>
                    </a:cubicBezTo>
                    <a:cubicBezTo>
                      <a:pt x="1610" y="201"/>
                      <a:pt x="1610" y="189"/>
                      <a:pt x="1610" y="201"/>
                    </a:cubicBezTo>
                    <a:cubicBezTo>
                      <a:pt x="446" y="201"/>
                      <a:pt x="834" y="201"/>
                      <a:pt x="446" y="201"/>
                    </a:cubicBezTo>
                    <a:cubicBezTo>
                      <a:pt x="414" y="201"/>
                      <a:pt x="377" y="217"/>
                      <a:pt x="356" y="244"/>
                    </a:cubicBezTo>
                    <a:cubicBezTo>
                      <a:pt x="329" y="265"/>
                      <a:pt x="313" y="302"/>
                      <a:pt x="313" y="334"/>
                    </a:cubicBezTo>
                    <a:cubicBezTo>
                      <a:pt x="313" y="1392"/>
                      <a:pt x="313" y="1040"/>
                      <a:pt x="313" y="1392"/>
                    </a:cubicBezTo>
                    <a:cubicBezTo>
                      <a:pt x="127" y="1392"/>
                      <a:pt x="189" y="1392"/>
                      <a:pt x="127" y="1392"/>
                    </a:cubicBezTo>
                    <a:cubicBezTo>
                      <a:pt x="58" y="1392"/>
                      <a:pt x="0" y="1450"/>
                      <a:pt x="0" y="1519"/>
                    </a:cubicBezTo>
                    <a:cubicBezTo>
                      <a:pt x="0" y="2481"/>
                      <a:pt x="0" y="2161"/>
                      <a:pt x="0" y="2481"/>
                    </a:cubicBezTo>
                    <a:cubicBezTo>
                      <a:pt x="0" y="2556"/>
                      <a:pt x="58" y="2609"/>
                      <a:pt x="127" y="2609"/>
                    </a:cubicBezTo>
                    <a:cubicBezTo>
                      <a:pt x="595" y="2609"/>
                      <a:pt x="439" y="2609"/>
                      <a:pt x="595" y="2609"/>
                    </a:cubicBezTo>
                    <a:cubicBezTo>
                      <a:pt x="669" y="2609"/>
                      <a:pt x="723" y="2556"/>
                      <a:pt x="723" y="2481"/>
                    </a:cubicBezTo>
                    <a:cubicBezTo>
                      <a:pt x="723" y="2248"/>
                      <a:pt x="723" y="2326"/>
                      <a:pt x="723" y="2248"/>
                    </a:cubicBezTo>
                    <a:cubicBezTo>
                      <a:pt x="2726" y="2248"/>
                      <a:pt x="2058" y="2248"/>
                      <a:pt x="2726" y="2248"/>
                    </a:cubicBezTo>
                    <a:cubicBezTo>
                      <a:pt x="2763" y="2248"/>
                      <a:pt x="2795" y="2232"/>
                      <a:pt x="2822" y="2205"/>
                    </a:cubicBezTo>
                    <a:cubicBezTo>
                      <a:pt x="2843" y="2178"/>
                      <a:pt x="2859" y="2147"/>
                      <a:pt x="2859" y="2109"/>
                    </a:cubicBezTo>
                    <a:cubicBezTo>
                      <a:pt x="2859" y="1955"/>
                      <a:pt x="2859" y="2007"/>
                      <a:pt x="2859" y="1955"/>
                    </a:cubicBezTo>
                    <a:cubicBezTo>
                      <a:pt x="2859" y="1859"/>
                      <a:pt x="2859" y="1891"/>
                      <a:pt x="2859" y="1859"/>
                    </a:cubicBezTo>
                    <a:cubicBezTo>
                      <a:pt x="2859" y="334"/>
                      <a:pt x="2859" y="843"/>
                      <a:pt x="2859" y="334"/>
                    </a:cubicBezTo>
                    <a:cubicBezTo>
                      <a:pt x="2859" y="302"/>
                      <a:pt x="2843" y="265"/>
                      <a:pt x="2822" y="244"/>
                    </a:cubicBezTo>
                    <a:close/>
                    <a:moveTo>
                      <a:pt x="1706" y="164"/>
                    </a:moveTo>
                    <a:lnTo>
                      <a:pt x="1706" y="164"/>
                    </a:lnTo>
                    <a:cubicBezTo>
                      <a:pt x="1706" y="127"/>
                      <a:pt x="1737" y="95"/>
                      <a:pt x="1780" y="95"/>
                    </a:cubicBezTo>
                    <a:cubicBezTo>
                      <a:pt x="2487" y="95"/>
                      <a:pt x="2251" y="95"/>
                      <a:pt x="2487" y="95"/>
                    </a:cubicBezTo>
                    <a:cubicBezTo>
                      <a:pt x="2524" y="95"/>
                      <a:pt x="2561" y="127"/>
                      <a:pt x="2561" y="164"/>
                    </a:cubicBezTo>
                    <a:cubicBezTo>
                      <a:pt x="2561" y="1216"/>
                      <a:pt x="2561" y="866"/>
                      <a:pt x="2561" y="1216"/>
                    </a:cubicBezTo>
                    <a:cubicBezTo>
                      <a:pt x="2561" y="1259"/>
                      <a:pt x="2524" y="1291"/>
                      <a:pt x="2487" y="1291"/>
                    </a:cubicBezTo>
                    <a:cubicBezTo>
                      <a:pt x="1780" y="1291"/>
                      <a:pt x="2015" y="1291"/>
                      <a:pt x="1780" y="1291"/>
                    </a:cubicBezTo>
                    <a:cubicBezTo>
                      <a:pt x="1737" y="1291"/>
                      <a:pt x="1706" y="1259"/>
                      <a:pt x="1706" y="1216"/>
                    </a:cubicBezTo>
                    <a:cubicBezTo>
                      <a:pt x="1706" y="866"/>
                      <a:pt x="1706" y="515"/>
                      <a:pt x="1706" y="164"/>
                    </a:cubicBezTo>
                    <a:close/>
                    <a:moveTo>
                      <a:pt x="1780" y="1386"/>
                    </a:moveTo>
                    <a:lnTo>
                      <a:pt x="1780" y="1386"/>
                    </a:lnTo>
                    <a:cubicBezTo>
                      <a:pt x="2487" y="1386"/>
                      <a:pt x="2251" y="1386"/>
                      <a:pt x="2487" y="1386"/>
                    </a:cubicBezTo>
                    <a:cubicBezTo>
                      <a:pt x="2513" y="1386"/>
                      <a:pt x="2535" y="1381"/>
                      <a:pt x="2561" y="1370"/>
                    </a:cubicBezTo>
                    <a:cubicBezTo>
                      <a:pt x="2561" y="1658"/>
                      <a:pt x="2561" y="1562"/>
                      <a:pt x="2561" y="1658"/>
                    </a:cubicBezTo>
                    <a:cubicBezTo>
                      <a:pt x="723" y="1658"/>
                      <a:pt x="1335" y="1658"/>
                      <a:pt x="723" y="1658"/>
                    </a:cubicBezTo>
                    <a:cubicBezTo>
                      <a:pt x="723" y="1519"/>
                      <a:pt x="723" y="1566"/>
                      <a:pt x="723" y="1519"/>
                    </a:cubicBezTo>
                    <a:cubicBezTo>
                      <a:pt x="723" y="1456"/>
                      <a:pt x="675" y="1403"/>
                      <a:pt x="616" y="1397"/>
                    </a:cubicBezTo>
                    <a:cubicBezTo>
                      <a:pt x="616" y="504"/>
                      <a:pt x="616" y="802"/>
                      <a:pt x="616" y="504"/>
                    </a:cubicBezTo>
                    <a:cubicBezTo>
                      <a:pt x="1610" y="504"/>
                      <a:pt x="1278" y="504"/>
                      <a:pt x="1610" y="504"/>
                    </a:cubicBezTo>
                    <a:cubicBezTo>
                      <a:pt x="1610" y="1216"/>
                      <a:pt x="1610" y="979"/>
                      <a:pt x="1610" y="1216"/>
                    </a:cubicBezTo>
                    <a:cubicBezTo>
                      <a:pt x="1610" y="1312"/>
                      <a:pt x="1684" y="1386"/>
                      <a:pt x="1780" y="1386"/>
                    </a:cubicBezTo>
                    <a:close/>
                    <a:moveTo>
                      <a:pt x="409" y="334"/>
                    </a:moveTo>
                    <a:lnTo>
                      <a:pt x="409" y="334"/>
                    </a:lnTo>
                    <a:cubicBezTo>
                      <a:pt x="409" y="324"/>
                      <a:pt x="414" y="318"/>
                      <a:pt x="419" y="308"/>
                    </a:cubicBezTo>
                    <a:cubicBezTo>
                      <a:pt x="430" y="302"/>
                      <a:pt x="435" y="297"/>
                      <a:pt x="446" y="297"/>
                    </a:cubicBezTo>
                    <a:cubicBezTo>
                      <a:pt x="1610" y="297"/>
                      <a:pt x="1222" y="297"/>
                      <a:pt x="1610" y="297"/>
                    </a:cubicBezTo>
                    <a:cubicBezTo>
                      <a:pt x="1610" y="409"/>
                      <a:pt x="1610" y="372"/>
                      <a:pt x="1610" y="409"/>
                    </a:cubicBezTo>
                    <a:cubicBezTo>
                      <a:pt x="520" y="409"/>
                      <a:pt x="883" y="409"/>
                      <a:pt x="520" y="409"/>
                    </a:cubicBezTo>
                    <a:cubicBezTo>
                      <a:pt x="520" y="1392"/>
                      <a:pt x="520" y="1065"/>
                      <a:pt x="520" y="1392"/>
                    </a:cubicBezTo>
                    <a:cubicBezTo>
                      <a:pt x="409" y="1392"/>
                      <a:pt x="446" y="1392"/>
                      <a:pt x="409" y="1392"/>
                    </a:cubicBezTo>
                    <a:cubicBezTo>
                      <a:pt x="409" y="1040"/>
                      <a:pt x="409" y="687"/>
                      <a:pt x="409" y="334"/>
                    </a:cubicBezTo>
                    <a:close/>
                    <a:moveTo>
                      <a:pt x="627" y="2481"/>
                    </a:moveTo>
                    <a:lnTo>
                      <a:pt x="627" y="2481"/>
                    </a:lnTo>
                    <a:cubicBezTo>
                      <a:pt x="627" y="2503"/>
                      <a:pt x="616" y="2513"/>
                      <a:pt x="595" y="2513"/>
                    </a:cubicBezTo>
                    <a:cubicBezTo>
                      <a:pt x="127" y="2513"/>
                      <a:pt x="283" y="2513"/>
                      <a:pt x="127" y="2513"/>
                    </a:cubicBezTo>
                    <a:cubicBezTo>
                      <a:pt x="111" y="2513"/>
                      <a:pt x="95" y="2503"/>
                      <a:pt x="95" y="2481"/>
                    </a:cubicBezTo>
                    <a:cubicBezTo>
                      <a:pt x="95" y="1519"/>
                      <a:pt x="95" y="1840"/>
                      <a:pt x="95" y="1519"/>
                    </a:cubicBezTo>
                    <a:cubicBezTo>
                      <a:pt x="95" y="1503"/>
                      <a:pt x="111" y="1487"/>
                      <a:pt x="127" y="1487"/>
                    </a:cubicBezTo>
                    <a:cubicBezTo>
                      <a:pt x="313" y="1487"/>
                      <a:pt x="251" y="1487"/>
                      <a:pt x="313" y="1487"/>
                    </a:cubicBezTo>
                    <a:cubicBezTo>
                      <a:pt x="595" y="1487"/>
                      <a:pt x="501" y="1487"/>
                      <a:pt x="595" y="1487"/>
                    </a:cubicBezTo>
                    <a:cubicBezTo>
                      <a:pt x="616" y="1487"/>
                      <a:pt x="627" y="1503"/>
                      <a:pt x="627" y="1519"/>
                    </a:cubicBezTo>
                    <a:cubicBezTo>
                      <a:pt x="627" y="1859"/>
                      <a:pt x="627" y="1746"/>
                      <a:pt x="627" y="1859"/>
                    </a:cubicBezTo>
                    <a:cubicBezTo>
                      <a:pt x="627" y="1955"/>
                      <a:pt x="627" y="1923"/>
                      <a:pt x="627" y="1955"/>
                    </a:cubicBezTo>
                    <a:cubicBezTo>
                      <a:pt x="627" y="2248"/>
                      <a:pt x="627" y="2151"/>
                      <a:pt x="627" y="2248"/>
                    </a:cubicBezTo>
                    <a:cubicBezTo>
                      <a:pt x="627" y="2326"/>
                      <a:pt x="627" y="2404"/>
                      <a:pt x="627" y="2481"/>
                    </a:cubicBezTo>
                    <a:close/>
                    <a:moveTo>
                      <a:pt x="2763" y="2109"/>
                    </a:moveTo>
                    <a:lnTo>
                      <a:pt x="2763" y="2109"/>
                    </a:lnTo>
                    <a:cubicBezTo>
                      <a:pt x="2763" y="2120"/>
                      <a:pt x="2758" y="2131"/>
                      <a:pt x="2753" y="2136"/>
                    </a:cubicBezTo>
                    <a:cubicBezTo>
                      <a:pt x="2742" y="2147"/>
                      <a:pt x="2737" y="2152"/>
                      <a:pt x="2726" y="2152"/>
                    </a:cubicBezTo>
                    <a:cubicBezTo>
                      <a:pt x="723" y="2152"/>
                      <a:pt x="1390" y="2152"/>
                      <a:pt x="723" y="2152"/>
                    </a:cubicBezTo>
                    <a:cubicBezTo>
                      <a:pt x="723" y="1955"/>
                      <a:pt x="723" y="2021"/>
                      <a:pt x="723" y="1955"/>
                    </a:cubicBezTo>
                    <a:cubicBezTo>
                      <a:pt x="2763" y="1955"/>
                      <a:pt x="2083" y="1955"/>
                      <a:pt x="2763" y="1955"/>
                    </a:cubicBezTo>
                    <a:cubicBezTo>
                      <a:pt x="2763" y="2007"/>
                      <a:pt x="2763" y="2058"/>
                      <a:pt x="2763" y="2109"/>
                    </a:cubicBezTo>
                    <a:close/>
                    <a:moveTo>
                      <a:pt x="723" y="1859"/>
                    </a:moveTo>
                    <a:lnTo>
                      <a:pt x="723" y="1859"/>
                    </a:lnTo>
                    <a:cubicBezTo>
                      <a:pt x="723" y="1753"/>
                      <a:pt x="723" y="1789"/>
                      <a:pt x="723" y="1753"/>
                    </a:cubicBezTo>
                    <a:cubicBezTo>
                      <a:pt x="2657" y="1753"/>
                      <a:pt x="2012" y="1753"/>
                      <a:pt x="2657" y="1753"/>
                    </a:cubicBezTo>
                    <a:cubicBezTo>
                      <a:pt x="2657" y="1216"/>
                      <a:pt x="2657" y="1395"/>
                      <a:pt x="2657" y="1216"/>
                    </a:cubicBezTo>
                    <a:cubicBezTo>
                      <a:pt x="2657" y="297"/>
                      <a:pt x="2657" y="604"/>
                      <a:pt x="2657" y="297"/>
                    </a:cubicBezTo>
                    <a:cubicBezTo>
                      <a:pt x="2726" y="297"/>
                      <a:pt x="2703" y="297"/>
                      <a:pt x="2726" y="297"/>
                    </a:cubicBezTo>
                    <a:cubicBezTo>
                      <a:pt x="2737" y="297"/>
                      <a:pt x="2742" y="302"/>
                      <a:pt x="2753" y="308"/>
                    </a:cubicBezTo>
                    <a:cubicBezTo>
                      <a:pt x="2758" y="318"/>
                      <a:pt x="2763" y="324"/>
                      <a:pt x="2763" y="334"/>
                    </a:cubicBezTo>
                    <a:cubicBezTo>
                      <a:pt x="2763" y="1859"/>
                      <a:pt x="2763" y="1351"/>
                      <a:pt x="2763" y="1859"/>
                    </a:cubicBezTo>
                    <a:cubicBezTo>
                      <a:pt x="2083" y="1859"/>
                      <a:pt x="1403" y="1859"/>
                      <a:pt x="723" y="1859"/>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6" name="Freeform 231">
                <a:extLst>
                  <a:ext uri="{FF2B5EF4-FFF2-40B4-BE49-F238E27FC236}">
                    <a16:creationId xmlns:a16="http://schemas.microsoft.com/office/drawing/2014/main" id="{C7690791-BF66-DD44-FC2A-43B4C9C93EC2}"/>
                  </a:ext>
                </a:extLst>
              </p:cNvPr>
              <p:cNvSpPr>
                <a:spLocks noChangeArrowheads="1"/>
              </p:cNvSpPr>
              <p:nvPr/>
            </p:nvSpPr>
            <p:spPr bwMode="auto">
              <a:xfrm>
                <a:off x="1741488" y="5527675"/>
                <a:ext cx="33338" cy="31750"/>
              </a:xfrm>
              <a:custGeom>
                <a:avLst/>
                <a:gdLst>
                  <a:gd name="T0" fmla="*/ 101 w 102"/>
                  <a:gd name="T1" fmla="*/ 0 h 96"/>
                  <a:gd name="T2" fmla="*/ 0 w 102"/>
                  <a:gd name="T3" fmla="*/ 0 h 96"/>
                  <a:gd name="T4" fmla="*/ 0 w 102"/>
                  <a:gd name="T5" fmla="*/ 95 h 96"/>
                  <a:gd name="T6" fmla="*/ 101 w 102"/>
                  <a:gd name="T7" fmla="*/ 95 h 96"/>
                  <a:gd name="T8" fmla="*/ 101 w 102"/>
                  <a:gd name="T9" fmla="*/ 0 h 96"/>
                </a:gdLst>
                <a:ahLst/>
                <a:cxnLst>
                  <a:cxn ang="0">
                    <a:pos x="T0" y="T1"/>
                  </a:cxn>
                  <a:cxn ang="0">
                    <a:pos x="T2" y="T3"/>
                  </a:cxn>
                  <a:cxn ang="0">
                    <a:pos x="T4" y="T5"/>
                  </a:cxn>
                  <a:cxn ang="0">
                    <a:pos x="T6" y="T7"/>
                  </a:cxn>
                  <a:cxn ang="0">
                    <a:pos x="T8" y="T9"/>
                  </a:cxn>
                </a:cxnLst>
                <a:rect l="0" t="0" r="r" b="b"/>
                <a:pathLst>
                  <a:path w="102" h="96">
                    <a:moveTo>
                      <a:pt x="101" y="0"/>
                    </a:moveTo>
                    <a:cubicBezTo>
                      <a:pt x="67" y="0"/>
                      <a:pt x="33" y="0"/>
                      <a:pt x="0" y="0"/>
                    </a:cubicBezTo>
                    <a:cubicBezTo>
                      <a:pt x="0" y="32"/>
                      <a:pt x="0" y="64"/>
                      <a:pt x="0" y="95"/>
                    </a:cubicBezTo>
                    <a:cubicBezTo>
                      <a:pt x="33" y="95"/>
                      <a:pt x="67" y="95"/>
                      <a:pt x="101" y="95"/>
                    </a:cubicBezTo>
                    <a:cubicBezTo>
                      <a:pt x="101" y="64"/>
                      <a:pt x="101" y="32"/>
                      <a:pt x="101"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7" name="Freeform 232">
                <a:extLst>
                  <a:ext uri="{FF2B5EF4-FFF2-40B4-BE49-F238E27FC236}">
                    <a16:creationId xmlns:a16="http://schemas.microsoft.com/office/drawing/2014/main" id="{DD669042-4548-1C33-68ED-157C42C249A4}"/>
                  </a:ext>
                </a:extLst>
              </p:cNvPr>
              <p:cNvSpPr>
                <a:spLocks noChangeArrowheads="1"/>
              </p:cNvSpPr>
              <p:nvPr/>
            </p:nvSpPr>
            <p:spPr bwMode="auto">
              <a:xfrm>
                <a:off x="1719263" y="5815013"/>
                <a:ext cx="77788" cy="31750"/>
              </a:xfrm>
              <a:custGeom>
                <a:avLst/>
                <a:gdLst>
                  <a:gd name="T0" fmla="*/ 0 w 224"/>
                  <a:gd name="T1" fmla="*/ 96 h 97"/>
                  <a:gd name="T2" fmla="*/ 223 w 224"/>
                  <a:gd name="T3" fmla="*/ 96 h 97"/>
                  <a:gd name="T4" fmla="*/ 223 w 224"/>
                  <a:gd name="T5" fmla="*/ 0 h 97"/>
                  <a:gd name="T6" fmla="*/ 0 w 224"/>
                  <a:gd name="T7" fmla="*/ 0 h 97"/>
                  <a:gd name="T8" fmla="*/ 0 w 224"/>
                  <a:gd name="T9" fmla="*/ 96 h 97"/>
                </a:gdLst>
                <a:ahLst/>
                <a:cxnLst>
                  <a:cxn ang="0">
                    <a:pos x="T0" y="T1"/>
                  </a:cxn>
                  <a:cxn ang="0">
                    <a:pos x="T2" y="T3"/>
                  </a:cxn>
                  <a:cxn ang="0">
                    <a:pos x="T4" y="T5"/>
                  </a:cxn>
                  <a:cxn ang="0">
                    <a:pos x="T6" y="T7"/>
                  </a:cxn>
                  <a:cxn ang="0">
                    <a:pos x="T8" y="T9"/>
                  </a:cxn>
                </a:cxnLst>
                <a:rect l="0" t="0" r="r" b="b"/>
                <a:pathLst>
                  <a:path w="224" h="97">
                    <a:moveTo>
                      <a:pt x="0" y="96"/>
                    </a:moveTo>
                    <a:cubicBezTo>
                      <a:pt x="74" y="96"/>
                      <a:pt x="148" y="96"/>
                      <a:pt x="223" y="96"/>
                    </a:cubicBezTo>
                    <a:cubicBezTo>
                      <a:pt x="223" y="64"/>
                      <a:pt x="223" y="32"/>
                      <a:pt x="223" y="0"/>
                    </a:cubicBezTo>
                    <a:cubicBezTo>
                      <a:pt x="148" y="0"/>
                      <a:pt x="74" y="0"/>
                      <a:pt x="0" y="0"/>
                    </a:cubicBezTo>
                    <a:cubicBezTo>
                      <a:pt x="0" y="32"/>
                      <a:pt x="0" y="64"/>
                      <a:pt x="0" y="9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8" name="Freeform 233">
                <a:extLst>
                  <a:ext uri="{FF2B5EF4-FFF2-40B4-BE49-F238E27FC236}">
                    <a16:creationId xmlns:a16="http://schemas.microsoft.com/office/drawing/2014/main" id="{600B2731-1454-E232-C981-A616B41C7177}"/>
                  </a:ext>
                </a:extLst>
              </p:cNvPr>
              <p:cNvSpPr>
                <a:spLocks noChangeArrowheads="1"/>
              </p:cNvSpPr>
              <p:nvPr/>
            </p:nvSpPr>
            <p:spPr bwMode="auto">
              <a:xfrm>
                <a:off x="2379663" y="5038725"/>
                <a:ext cx="33338" cy="31750"/>
              </a:xfrm>
              <a:custGeom>
                <a:avLst/>
                <a:gdLst>
                  <a:gd name="T0" fmla="*/ 101 w 102"/>
                  <a:gd name="T1" fmla="*/ 0 h 97"/>
                  <a:gd name="T2" fmla="*/ 0 w 102"/>
                  <a:gd name="T3" fmla="*/ 0 h 97"/>
                  <a:gd name="T4" fmla="*/ 0 w 102"/>
                  <a:gd name="T5" fmla="*/ 96 h 97"/>
                  <a:gd name="T6" fmla="*/ 101 w 102"/>
                  <a:gd name="T7" fmla="*/ 96 h 97"/>
                  <a:gd name="T8" fmla="*/ 101 w 102"/>
                  <a:gd name="T9" fmla="*/ 0 h 97"/>
                </a:gdLst>
                <a:ahLst/>
                <a:cxnLst>
                  <a:cxn ang="0">
                    <a:pos x="T0" y="T1"/>
                  </a:cxn>
                  <a:cxn ang="0">
                    <a:pos x="T2" y="T3"/>
                  </a:cxn>
                  <a:cxn ang="0">
                    <a:pos x="T4" y="T5"/>
                  </a:cxn>
                  <a:cxn ang="0">
                    <a:pos x="T6" y="T7"/>
                  </a:cxn>
                  <a:cxn ang="0">
                    <a:pos x="T8" y="T9"/>
                  </a:cxn>
                </a:cxnLst>
                <a:rect l="0" t="0" r="r" b="b"/>
                <a:pathLst>
                  <a:path w="102" h="97">
                    <a:moveTo>
                      <a:pt x="101" y="0"/>
                    </a:moveTo>
                    <a:cubicBezTo>
                      <a:pt x="67" y="0"/>
                      <a:pt x="33" y="0"/>
                      <a:pt x="0" y="0"/>
                    </a:cubicBezTo>
                    <a:cubicBezTo>
                      <a:pt x="0" y="32"/>
                      <a:pt x="0" y="64"/>
                      <a:pt x="0" y="96"/>
                    </a:cubicBezTo>
                    <a:cubicBezTo>
                      <a:pt x="33" y="96"/>
                      <a:pt x="67" y="96"/>
                      <a:pt x="101" y="96"/>
                    </a:cubicBezTo>
                    <a:cubicBezTo>
                      <a:pt x="101" y="64"/>
                      <a:pt x="101" y="32"/>
                      <a:pt x="101"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9" name="Freeform 234">
                <a:extLst>
                  <a:ext uri="{FF2B5EF4-FFF2-40B4-BE49-F238E27FC236}">
                    <a16:creationId xmlns:a16="http://schemas.microsoft.com/office/drawing/2014/main" id="{A14F8EB4-C434-A067-BF3C-0F5AF1A38449}"/>
                  </a:ext>
                </a:extLst>
              </p:cNvPr>
              <p:cNvSpPr>
                <a:spLocks noChangeArrowheads="1"/>
              </p:cNvSpPr>
              <p:nvPr/>
            </p:nvSpPr>
            <p:spPr bwMode="auto">
              <a:xfrm>
                <a:off x="2343150" y="5359400"/>
                <a:ext cx="106363" cy="31750"/>
              </a:xfrm>
              <a:custGeom>
                <a:avLst/>
                <a:gdLst>
                  <a:gd name="T0" fmla="*/ 303 w 304"/>
                  <a:gd name="T1" fmla="*/ 0 h 96"/>
                  <a:gd name="T2" fmla="*/ 0 w 304"/>
                  <a:gd name="T3" fmla="*/ 0 h 96"/>
                  <a:gd name="T4" fmla="*/ 0 w 304"/>
                  <a:gd name="T5" fmla="*/ 95 h 96"/>
                  <a:gd name="T6" fmla="*/ 303 w 304"/>
                  <a:gd name="T7" fmla="*/ 95 h 96"/>
                  <a:gd name="T8" fmla="*/ 303 w 304"/>
                  <a:gd name="T9" fmla="*/ 0 h 96"/>
                </a:gdLst>
                <a:ahLst/>
                <a:cxnLst>
                  <a:cxn ang="0">
                    <a:pos x="T0" y="T1"/>
                  </a:cxn>
                  <a:cxn ang="0">
                    <a:pos x="T2" y="T3"/>
                  </a:cxn>
                  <a:cxn ang="0">
                    <a:pos x="T4" y="T5"/>
                  </a:cxn>
                  <a:cxn ang="0">
                    <a:pos x="T6" y="T7"/>
                  </a:cxn>
                  <a:cxn ang="0">
                    <a:pos x="T8" y="T9"/>
                  </a:cxn>
                </a:cxnLst>
                <a:rect l="0" t="0" r="r" b="b"/>
                <a:pathLst>
                  <a:path w="304" h="96">
                    <a:moveTo>
                      <a:pt x="303" y="0"/>
                    </a:moveTo>
                    <a:cubicBezTo>
                      <a:pt x="202" y="0"/>
                      <a:pt x="101" y="0"/>
                      <a:pt x="0" y="0"/>
                    </a:cubicBezTo>
                    <a:cubicBezTo>
                      <a:pt x="0" y="32"/>
                      <a:pt x="0" y="64"/>
                      <a:pt x="0" y="95"/>
                    </a:cubicBezTo>
                    <a:cubicBezTo>
                      <a:pt x="101" y="95"/>
                      <a:pt x="202" y="95"/>
                      <a:pt x="303" y="95"/>
                    </a:cubicBezTo>
                    <a:cubicBezTo>
                      <a:pt x="303" y="64"/>
                      <a:pt x="303" y="32"/>
                      <a:pt x="303"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sp>
        <p:nvSpPr>
          <p:cNvPr id="81" name="Titel 13">
            <a:extLst>
              <a:ext uri="{FF2B5EF4-FFF2-40B4-BE49-F238E27FC236}">
                <a16:creationId xmlns:a16="http://schemas.microsoft.com/office/drawing/2014/main" id="{E0F4DF15-6AD8-8A29-BFE9-7B8957A8BAC7}"/>
              </a:ext>
            </a:extLst>
          </p:cNvPr>
          <p:cNvSpPr>
            <a:spLocks noGrp="1"/>
          </p:cNvSpPr>
          <p:nvPr>
            <p:ph type="title" hasCustomPrompt="1"/>
          </p:nvPr>
        </p:nvSpPr>
        <p:spPr>
          <a:xfrm>
            <a:off x="550863" y="549276"/>
            <a:ext cx="10477355" cy="827087"/>
          </a:xfrm>
        </p:spPr>
        <p:txBody>
          <a:bodyPr numCol="1"/>
          <a:lstStyle>
            <a:lvl1pPr>
              <a:lnSpc>
                <a:spcPct val="100000"/>
              </a:lnSpc>
              <a:defRPr/>
            </a:lvl1pPr>
          </a:lstStyle>
          <a:p>
            <a:r>
              <a:rPr lang="nl-NL"/>
              <a:t>CLICK TO EDIT </a:t>
            </a:r>
            <a:endParaRPr lang="en-GB"/>
          </a:p>
        </p:txBody>
      </p:sp>
      <p:sp>
        <p:nvSpPr>
          <p:cNvPr id="83" name="Segnaposto testo 4">
            <a:extLst>
              <a:ext uri="{FF2B5EF4-FFF2-40B4-BE49-F238E27FC236}">
                <a16:creationId xmlns:a16="http://schemas.microsoft.com/office/drawing/2014/main" id="{3EB4617F-24A4-6106-85B8-B802914309B8}"/>
              </a:ext>
            </a:extLst>
          </p:cNvPr>
          <p:cNvSpPr>
            <a:spLocks noGrp="1"/>
          </p:cNvSpPr>
          <p:nvPr>
            <p:ph type="body" sz="quarter" idx="16" hasCustomPrompt="1"/>
          </p:nvPr>
        </p:nvSpPr>
        <p:spPr>
          <a:xfrm>
            <a:off x="1113607" y="3057525"/>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84" name="Segnaposto testo 4">
            <a:extLst>
              <a:ext uri="{FF2B5EF4-FFF2-40B4-BE49-F238E27FC236}">
                <a16:creationId xmlns:a16="http://schemas.microsoft.com/office/drawing/2014/main" id="{1B9C2199-C88B-8CB4-350B-DE5F184BD8A7}"/>
              </a:ext>
            </a:extLst>
          </p:cNvPr>
          <p:cNvSpPr>
            <a:spLocks noGrp="1"/>
          </p:cNvSpPr>
          <p:nvPr>
            <p:ph type="body" sz="quarter" idx="17" hasCustomPrompt="1"/>
          </p:nvPr>
        </p:nvSpPr>
        <p:spPr>
          <a:xfrm>
            <a:off x="1096233" y="3785741"/>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85" name="Segnaposto testo 4">
            <a:extLst>
              <a:ext uri="{FF2B5EF4-FFF2-40B4-BE49-F238E27FC236}">
                <a16:creationId xmlns:a16="http://schemas.microsoft.com/office/drawing/2014/main" id="{0F30DA51-55C3-4D6D-891E-699546AC5725}"/>
              </a:ext>
            </a:extLst>
          </p:cNvPr>
          <p:cNvSpPr>
            <a:spLocks noGrp="1"/>
          </p:cNvSpPr>
          <p:nvPr>
            <p:ph type="body" sz="quarter" idx="19" hasCustomPrompt="1"/>
          </p:nvPr>
        </p:nvSpPr>
        <p:spPr>
          <a:xfrm>
            <a:off x="1096233" y="4506159"/>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86" name="Segnaposto testo 4">
            <a:extLst>
              <a:ext uri="{FF2B5EF4-FFF2-40B4-BE49-F238E27FC236}">
                <a16:creationId xmlns:a16="http://schemas.microsoft.com/office/drawing/2014/main" id="{7674044C-32BE-93E3-9F47-B2E0F41C8934}"/>
              </a:ext>
            </a:extLst>
          </p:cNvPr>
          <p:cNvSpPr>
            <a:spLocks noGrp="1"/>
          </p:cNvSpPr>
          <p:nvPr>
            <p:ph type="body" sz="quarter" idx="20" hasCustomPrompt="1"/>
          </p:nvPr>
        </p:nvSpPr>
        <p:spPr>
          <a:xfrm>
            <a:off x="1096232" y="5218107"/>
            <a:ext cx="3815582" cy="432523"/>
          </a:xfrm>
        </p:spPr>
        <p:txBody>
          <a:bodyPr numCol="1" spcCol="360000">
            <a:normAutofit/>
          </a:bodyPr>
          <a:lstStyle>
            <a:lvl1pPr marL="0" indent="0" algn="just">
              <a:lnSpc>
                <a:spcPct val="100000"/>
              </a:lnSpc>
              <a:buNone/>
              <a:defRPr sz="1200" b="1" i="0">
                <a:latin typeface="Arial" panose="020B0604020202020204" pitchFamily="34" charset="0"/>
                <a:cs typeface="Arial" panose="020B0604020202020204" pitchFamily="34" charset="0"/>
              </a:defRPr>
            </a:lvl1pPr>
          </a:lstStyle>
          <a:p>
            <a:pPr lvl="0"/>
            <a:r>
              <a:rPr lang="en-US" noProof="0"/>
              <a:t>Your text here</a:t>
            </a:r>
          </a:p>
        </p:txBody>
      </p:sp>
      <p:sp>
        <p:nvSpPr>
          <p:cNvPr id="87" name="Freeform 25">
            <a:extLst>
              <a:ext uri="{FF2B5EF4-FFF2-40B4-BE49-F238E27FC236}">
                <a16:creationId xmlns:a16="http://schemas.microsoft.com/office/drawing/2014/main" id="{5FCF5C36-B0C3-A89C-A47C-EDA64323385B}"/>
              </a:ext>
            </a:extLst>
          </p:cNvPr>
          <p:cNvSpPr/>
          <p:nvPr userDrawn="1"/>
        </p:nvSpPr>
        <p:spPr>
          <a:xfrm>
            <a:off x="550863" y="2993918"/>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88" name="Freeform 26">
            <a:extLst>
              <a:ext uri="{FF2B5EF4-FFF2-40B4-BE49-F238E27FC236}">
                <a16:creationId xmlns:a16="http://schemas.microsoft.com/office/drawing/2014/main" id="{E21F8B9E-E46C-E4DA-D760-412070E4D577}"/>
              </a:ext>
            </a:extLst>
          </p:cNvPr>
          <p:cNvSpPr/>
          <p:nvPr userDrawn="1"/>
        </p:nvSpPr>
        <p:spPr>
          <a:xfrm>
            <a:off x="550862" y="3699728"/>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89" name="Freeform 27">
            <a:extLst>
              <a:ext uri="{FF2B5EF4-FFF2-40B4-BE49-F238E27FC236}">
                <a16:creationId xmlns:a16="http://schemas.microsoft.com/office/drawing/2014/main" id="{7AA11D10-B859-E252-33E1-D45977D0286C}"/>
              </a:ext>
            </a:extLst>
          </p:cNvPr>
          <p:cNvSpPr/>
          <p:nvPr userDrawn="1"/>
        </p:nvSpPr>
        <p:spPr>
          <a:xfrm>
            <a:off x="550861" y="4411391"/>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3"/>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90" name="Freeform 28">
            <a:extLst>
              <a:ext uri="{FF2B5EF4-FFF2-40B4-BE49-F238E27FC236}">
                <a16:creationId xmlns:a16="http://schemas.microsoft.com/office/drawing/2014/main" id="{198494B4-E0DC-8215-F54C-C5EC9A84F380}"/>
              </a:ext>
            </a:extLst>
          </p:cNvPr>
          <p:cNvSpPr/>
          <p:nvPr userDrawn="1"/>
        </p:nvSpPr>
        <p:spPr>
          <a:xfrm>
            <a:off x="550860" y="5154081"/>
            <a:ext cx="341525" cy="341525"/>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tx1"/>
          </a:solidFill>
          <a:ln w="12700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92" name="Segnaposto testo 4">
            <a:extLst>
              <a:ext uri="{FF2B5EF4-FFF2-40B4-BE49-F238E27FC236}">
                <a16:creationId xmlns:a16="http://schemas.microsoft.com/office/drawing/2014/main" id="{1C8E5AB1-6F9A-FFA4-B8AF-DE8C1A28BFAC}"/>
              </a:ext>
            </a:extLst>
          </p:cNvPr>
          <p:cNvSpPr>
            <a:spLocks noGrp="1"/>
          </p:cNvSpPr>
          <p:nvPr>
            <p:ph type="body" sz="quarter" idx="43" hasCustomPrompt="1"/>
          </p:nvPr>
        </p:nvSpPr>
        <p:spPr>
          <a:xfrm>
            <a:off x="7046201" y="3201268"/>
            <a:ext cx="2449251" cy="414744"/>
          </a:xfrm>
        </p:spPr>
        <p:txBody>
          <a:bodyPr numCol="1" spcCol="360000" anchor="ctr">
            <a:norm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93" name="Segnaposto testo 4">
            <a:extLst>
              <a:ext uri="{FF2B5EF4-FFF2-40B4-BE49-F238E27FC236}">
                <a16:creationId xmlns:a16="http://schemas.microsoft.com/office/drawing/2014/main" id="{F6409563-82D3-2928-8AA4-6887B9D2EB11}"/>
              </a:ext>
            </a:extLst>
          </p:cNvPr>
          <p:cNvSpPr>
            <a:spLocks noGrp="1"/>
          </p:cNvSpPr>
          <p:nvPr>
            <p:ph type="body" sz="quarter" idx="44" hasCustomPrompt="1"/>
          </p:nvPr>
        </p:nvSpPr>
        <p:spPr>
          <a:xfrm>
            <a:off x="5749583" y="5610726"/>
            <a:ext cx="2449251" cy="414744"/>
          </a:xfrm>
        </p:spPr>
        <p:txBody>
          <a:bodyPr numCol="1" spcCol="360000" anchor="ctr">
            <a:norm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94" name="Segnaposto testo 4">
            <a:extLst>
              <a:ext uri="{FF2B5EF4-FFF2-40B4-BE49-F238E27FC236}">
                <a16:creationId xmlns:a16="http://schemas.microsoft.com/office/drawing/2014/main" id="{C9DF0D78-2FEE-41A5-CF0D-0ECD21B865AE}"/>
              </a:ext>
            </a:extLst>
          </p:cNvPr>
          <p:cNvSpPr>
            <a:spLocks noGrp="1"/>
          </p:cNvSpPr>
          <p:nvPr>
            <p:ph type="body" sz="quarter" idx="45" hasCustomPrompt="1"/>
          </p:nvPr>
        </p:nvSpPr>
        <p:spPr>
          <a:xfrm>
            <a:off x="8369678" y="5619828"/>
            <a:ext cx="2449251" cy="414744"/>
          </a:xfrm>
        </p:spPr>
        <p:txBody>
          <a:bodyPr numCol="1" spcCol="360000" anchor="ctr">
            <a:norm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stStyle>
          <a:p>
            <a:pPr lvl="0"/>
            <a:r>
              <a:rPr lang="en-US" noProof="0"/>
              <a:t>Your text here</a:t>
            </a:r>
          </a:p>
        </p:txBody>
      </p:sp>
      <p:sp>
        <p:nvSpPr>
          <p:cNvPr id="95" name="Segnaposto testo 4">
            <a:extLst>
              <a:ext uri="{FF2B5EF4-FFF2-40B4-BE49-F238E27FC236}">
                <a16:creationId xmlns:a16="http://schemas.microsoft.com/office/drawing/2014/main" id="{E950503D-8984-06A4-4518-60CCEC9FEF47}"/>
              </a:ext>
            </a:extLst>
          </p:cNvPr>
          <p:cNvSpPr>
            <a:spLocks noGrp="1"/>
          </p:cNvSpPr>
          <p:nvPr>
            <p:ph type="body" sz="quarter" idx="46" hasCustomPrompt="1"/>
          </p:nvPr>
        </p:nvSpPr>
        <p:spPr>
          <a:xfrm>
            <a:off x="7339327" y="3857933"/>
            <a:ext cx="1881531" cy="414744"/>
          </a:xfrm>
        </p:spPr>
        <p:txBody>
          <a:bodyPr numCol="1" spcCol="360000" anchor="ctr">
            <a:norm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stStyle>
          <a:p>
            <a:pPr lvl="0"/>
            <a:r>
              <a:rPr lang="en-US" noProof="0"/>
              <a:t>Your text</a:t>
            </a:r>
          </a:p>
        </p:txBody>
      </p:sp>
    </p:spTree>
    <p:extLst>
      <p:ext uri="{BB962C8B-B14F-4D97-AF65-F5344CB8AC3E}">
        <p14:creationId xmlns:p14="http://schemas.microsoft.com/office/powerpoint/2010/main" val="22094824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ext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8AC5B24-574F-DC78-E2D7-AFB3ECB2C01A}"/>
              </a:ext>
            </a:extLst>
          </p:cNvPr>
          <p:cNvSpPr>
            <a:spLocks noGrp="1"/>
          </p:cNvSpPr>
          <p:nvPr>
            <p:ph type="sldNum" sz="quarter" idx="4"/>
          </p:nvPr>
        </p:nvSpPr>
        <p:spPr>
          <a:xfrm>
            <a:off x="11322051" y="6431096"/>
            <a:ext cx="319088" cy="130042"/>
          </a:xfrm>
          <a:prstGeom prst="rect">
            <a:avLst/>
          </a:prstGeom>
        </p:spPr>
        <p:txBody>
          <a:bodyPr vert="horz" lIns="0" tIns="0" rIns="0" bIns="0" numCol="1" rtlCol="0" anchor="b"/>
          <a:lstStyle>
            <a:lvl1pPr algn="r">
              <a:lnSpc>
                <a:spcPct val="100000"/>
              </a:lnSpc>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sp>
        <p:nvSpPr>
          <p:cNvPr id="4" name="Segnaposto piè di pagina 7">
            <a:extLst>
              <a:ext uri="{FF2B5EF4-FFF2-40B4-BE49-F238E27FC236}">
                <a16:creationId xmlns:a16="http://schemas.microsoft.com/office/drawing/2014/main" id="{BCF5948B-9940-F3EF-1105-96171E6C5DEA}"/>
              </a:ext>
            </a:extLst>
          </p:cNvPr>
          <p:cNvSpPr>
            <a:spLocks noGrp="1"/>
          </p:cNvSpPr>
          <p:nvPr>
            <p:ph type="ftr" sz="quarter" idx="3"/>
          </p:nvPr>
        </p:nvSpPr>
        <p:spPr>
          <a:xfrm>
            <a:off x="9896079" y="6431095"/>
            <a:ext cx="1425971" cy="130043"/>
          </a:xfrm>
          <a:prstGeom prst="rect">
            <a:avLst/>
          </a:prstGeom>
        </p:spPr>
        <p:txBody>
          <a:bodyPr vert="horz" lIns="91440" tIns="45720" rIns="91440" bIns="45720" numCol="1" rtlCol="0" anchor="ctr"/>
          <a:lstStyle>
            <a:lvl1pPr algn="r">
              <a:lnSpc>
                <a:spcPct val="100000"/>
              </a:lnSpc>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
        <p:nvSpPr>
          <p:cNvPr id="14" name="Titel 13">
            <a:extLst>
              <a:ext uri="{FF2B5EF4-FFF2-40B4-BE49-F238E27FC236}">
                <a16:creationId xmlns:a16="http://schemas.microsoft.com/office/drawing/2014/main" id="{4EF09AFA-E38D-24CD-85F2-90902451C398}"/>
              </a:ext>
            </a:extLst>
          </p:cNvPr>
          <p:cNvSpPr>
            <a:spLocks noGrp="1"/>
          </p:cNvSpPr>
          <p:nvPr>
            <p:ph type="title" hasCustomPrompt="1"/>
          </p:nvPr>
        </p:nvSpPr>
        <p:spPr>
          <a:xfrm>
            <a:off x="550864" y="549276"/>
            <a:ext cx="4749800" cy="827087"/>
          </a:xfrm>
        </p:spPr>
        <p:txBody>
          <a:bodyPr numCol="1"/>
          <a:lstStyle>
            <a:lvl1pPr>
              <a:lnSpc>
                <a:spcPct val="100000"/>
              </a:lnSpc>
              <a:defRPr/>
            </a:lvl1pPr>
          </a:lstStyle>
          <a:p>
            <a:r>
              <a:rPr lang="nl-NL"/>
              <a:t>CLICK TO EDIT </a:t>
            </a:r>
            <a:endParaRPr lang="en-GB"/>
          </a:p>
        </p:txBody>
      </p:sp>
      <p:grpSp>
        <p:nvGrpSpPr>
          <p:cNvPr id="2" name="Group 1">
            <a:extLst>
              <a:ext uri="{FF2B5EF4-FFF2-40B4-BE49-F238E27FC236}">
                <a16:creationId xmlns:a16="http://schemas.microsoft.com/office/drawing/2014/main" id="{6AA41A7B-EF94-65EC-23A2-2BC1C807A390}"/>
              </a:ext>
            </a:extLst>
          </p:cNvPr>
          <p:cNvGrpSpPr>
            <a:grpSpLocks noChangeAspect="1"/>
          </p:cNvGrpSpPr>
          <p:nvPr userDrawn="1"/>
        </p:nvGrpSpPr>
        <p:grpSpPr>
          <a:xfrm rot="10800000">
            <a:off x="5629274" y="549275"/>
            <a:ext cx="4541581" cy="4057998"/>
            <a:chOff x="5503030" y="1653477"/>
            <a:chExt cx="4013144" cy="3585828"/>
          </a:xfrm>
        </p:grpSpPr>
        <p:sp>
          <p:nvSpPr>
            <p:cNvPr id="5" name="Teardrop 2">
              <a:extLst>
                <a:ext uri="{FF2B5EF4-FFF2-40B4-BE49-F238E27FC236}">
                  <a16:creationId xmlns:a16="http://schemas.microsoft.com/office/drawing/2014/main" id="{C3E7A822-E1B2-B5B4-B6D6-C865364D728C}"/>
                </a:ext>
              </a:extLst>
            </p:cNvPr>
            <p:cNvSpPr/>
            <p:nvPr/>
          </p:nvSpPr>
          <p:spPr>
            <a:xfrm>
              <a:off x="5928540" y="3857654"/>
              <a:ext cx="1381651" cy="1381651"/>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7" name="Teardrop 3">
              <a:extLst>
                <a:ext uri="{FF2B5EF4-FFF2-40B4-BE49-F238E27FC236}">
                  <a16:creationId xmlns:a16="http://schemas.microsoft.com/office/drawing/2014/main" id="{A5E5071B-1C50-3F8B-E93E-C45EE9298B44}"/>
                </a:ext>
              </a:extLst>
            </p:cNvPr>
            <p:cNvSpPr/>
            <p:nvPr/>
          </p:nvSpPr>
          <p:spPr>
            <a:xfrm rot="5400000">
              <a:off x="5503030" y="1926641"/>
              <a:ext cx="1807161" cy="180716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8" name="Teardrop 4">
              <a:extLst>
                <a:ext uri="{FF2B5EF4-FFF2-40B4-BE49-F238E27FC236}">
                  <a16:creationId xmlns:a16="http://schemas.microsoft.com/office/drawing/2014/main" id="{745BC635-7FDC-0BB3-36FD-48E1CFED06EE}"/>
                </a:ext>
              </a:extLst>
            </p:cNvPr>
            <p:cNvSpPr/>
            <p:nvPr/>
          </p:nvSpPr>
          <p:spPr>
            <a:xfrm rot="10800000">
              <a:off x="7435851" y="1653477"/>
              <a:ext cx="2080323" cy="2080323"/>
            </a:xfrm>
            <a:prstGeom prst="teardrop">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sp>
          <p:nvSpPr>
            <p:cNvPr id="9" name="Teardrop 5">
              <a:extLst>
                <a:ext uri="{FF2B5EF4-FFF2-40B4-BE49-F238E27FC236}">
                  <a16:creationId xmlns:a16="http://schemas.microsoft.com/office/drawing/2014/main" id="{CD00749B-037A-7577-BEEB-2C8D1CACBA33}"/>
                </a:ext>
              </a:extLst>
            </p:cNvPr>
            <p:cNvSpPr/>
            <p:nvPr/>
          </p:nvSpPr>
          <p:spPr>
            <a:xfrm rot="16200000">
              <a:off x="7435851" y="3857655"/>
              <a:ext cx="1132367" cy="11323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50"/>
            </a:p>
          </p:txBody>
        </p:sp>
      </p:grpSp>
      <p:sp>
        <p:nvSpPr>
          <p:cNvPr id="10" name="AutoShape 82">
            <a:extLst>
              <a:ext uri="{FF2B5EF4-FFF2-40B4-BE49-F238E27FC236}">
                <a16:creationId xmlns:a16="http://schemas.microsoft.com/office/drawing/2014/main" id="{62B94C5F-1DB0-93CC-D389-ADF672AEAFE9}"/>
              </a:ext>
            </a:extLst>
          </p:cNvPr>
          <p:cNvSpPr>
            <a:spLocks noChangeAspect="1"/>
          </p:cNvSpPr>
          <p:nvPr userDrawn="1"/>
        </p:nvSpPr>
        <p:spPr bwMode="auto">
          <a:xfrm>
            <a:off x="7047133" y="1233855"/>
            <a:ext cx="591313" cy="47652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767" y="5419"/>
                </a:moveTo>
                <a:cubicBezTo>
                  <a:pt x="4051" y="5419"/>
                  <a:pt x="4271" y="5505"/>
                  <a:pt x="4428" y="5687"/>
                </a:cubicBezTo>
                <a:cubicBezTo>
                  <a:pt x="4586" y="5865"/>
                  <a:pt x="4701" y="6078"/>
                  <a:pt x="4766" y="6326"/>
                </a:cubicBezTo>
                <a:cubicBezTo>
                  <a:pt x="4835" y="6574"/>
                  <a:pt x="4879" y="6836"/>
                  <a:pt x="4893" y="7106"/>
                </a:cubicBezTo>
                <a:cubicBezTo>
                  <a:pt x="4910" y="7377"/>
                  <a:pt x="4917" y="7596"/>
                  <a:pt x="4917" y="7760"/>
                </a:cubicBezTo>
                <a:lnTo>
                  <a:pt x="4917" y="9856"/>
                </a:lnTo>
                <a:cubicBezTo>
                  <a:pt x="4809" y="9928"/>
                  <a:pt x="4720" y="10015"/>
                  <a:pt x="4646" y="10110"/>
                </a:cubicBezTo>
                <a:cubicBezTo>
                  <a:pt x="4574" y="10208"/>
                  <a:pt x="4468" y="10257"/>
                  <a:pt x="4329" y="10257"/>
                </a:cubicBezTo>
                <a:lnTo>
                  <a:pt x="561" y="10257"/>
                </a:lnTo>
                <a:cubicBezTo>
                  <a:pt x="439" y="10257"/>
                  <a:pt x="338" y="10208"/>
                  <a:pt x="256" y="10110"/>
                </a:cubicBezTo>
                <a:cubicBezTo>
                  <a:pt x="177" y="10015"/>
                  <a:pt x="93" y="9928"/>
                  <a:pt x="0" y="9856"/>
                </a:cubicBezTo>
                <a:lnTo>
                  <a:pt x="0" y="7760"/>
                </a:lnTo>
                <a:cubicBezTo>
                  <a:pt x="0" y="7596"/>
                  <a:pt x="4" y="7377"/>
                  <a:pt x="12" y="7106"/>
                </a:cubicBezTo>
                <a:cubicBezTo>
                  <a:pt x="19" y="6836"/>
                  <a:pt x="57" y="6574"/>
                  <a:pt x="124" y="6326"/>
                </a:cubicBezTo>
                <a:cubicBezTo>
                  <a:pt x="196" y="6078"/>
                  <a:pt x="309" y="5865"/>
                  <a:pt x="465" y="5687"/>
                </a:cubicBezTo>
                <a:cubicBezTo>
                  <a:pt x="624" y="5508"/>
                  <a:pt x="842" y="5419"/>
                  <a:pt x="1123" y="5419"/>
                </a:cubicBezTo>
                <a:cubicBezTo>
                  <a:pt x="782" y="5151"/>
                  <a:pt x="508" y="4803"/>
                  <a:pt x="304" y="4377"/>
                </a:cubicBezTo>
                <a:cubicBezTo>
                  <a:pt x="103" y="3950"/>
                  <a:pt x="0" y="3469"/>
                  <a:pt x="0" y="2937"/>
                </a:cubicBezTo>
                <a:cubicBezTo>
                  <a:pt x="0" y="2539"/>
                  <a:pt x="64" y="2162"/>
                  <a:pt x="189" y="1805"/>
                </a:cubicBezTo>
                <a:cubicBezTo>
                  <a:pt x="316" y="1448"/>
                  <a:pt x="491" y="1134"/>
                  <a:pt x="717" y="861"/>
                </a:cubicBezTo>
                <a:cubicBezTo>
                  <a:pt x="943" y="590"/>
                  <a:pt x="1207" y="380"/>
                  <a:pt x="1504" y="227"/>
                </a:cubicBezTo>
                <a:cubicBezTo>
                  <a:pt x="1804" y="77"/>
                  <a:pt x="2119" y="0"/>
                  <a:pt x="2445" y="0"/>
                </a:cubicBezTo>
                <a:cubicBezTo>
                  <a:pt x="2793" y="0"/>
                  <a:pt x="3115" y="77"/>
                  <a:pt x="3412" y="227"/>
                </a:cubicBezTo>
                <a:cubicBezTo>
                  <a:pt x="3712" y="380"/>
                  <a:pt x="3969" y="590"/>
                  <a:pt x="4188" y="861"/>
                </a:cubicBezTo>
                <a:cubicBezTo>
                  <a:pt x="4406" y="1134"/>
                  <a:pt x="4584" y="1448"/>
                  <a:pt x="4716" y="1805"/>
                </a:cubicBezTo>
                <a:cubicBezTo>
                  <a:pt x="4850" y="2162"/>
                  <a:pt x="4917" y="2539"/>
                  <a:pt x="4917" y="2937"/>
                </a:cubicBezTo>
                <a:cubicBezTo>
                  <a:pt x="4917" y="3458"/>
                  <a:pt x="4814" y="3939"/>
                  <a:pt x="4603" y="4371"/>
                </a:cubicBezTo>
                <a:cubicBezTo>
                  <a:pt x="4392" y="4800"/>
                  <a:pt x="4115" y="5151"/>
                  <a:pt x="3767" y="5419"/>
                </a:cubicBezTo>
                <a:moveTo>
                  <a:pt x="18165" y="12062"/>
                </a:moveTo>
                <a:cubicBezTo>
                  <a:pt x="18672" y="12604"/>
                  <a:pt x="19070" y="13142"/>
                  <a:pt x="19356" y="13669"/>
                </a:cubicBezTo>
                <a:cubicBezTo>
                  <a:pt x="19641" y="14196"/>
                  <a:pt x="19788" y="14801"/>
                  <a:pt x="19788" y="15480"/>
                </a:cubicBezTo>
                <a:lnTo>
                  <a:pt x="19788" y="20816"/>
                </a:lnTo>
                <a:cubicBezTo>
                  <a:pt x="19694" y="20868"/>
                  <a:pt x="19620" y="20931"/>
                  <a:pt x="19557" y="20995"/>
                </a:cubicBezTo>
                <a:cubicBezTo>
                  <a:pt x="19497" y="21061"/>
                  <a:pt x="19425" y="21122"/>
                  <a:pt x="19344" y="21191"/>
                </a:cubicBezTo>
                <a:cubicBezTo>
                  <a:pt x="19262" y="21251"/>
                  <a:pt x="19173" y="21317"/>
                  <a:pt x="19075" y="21386"/>
                </a:cubicBezTo>
                <a:cubicBezTo>
                  <a:pt x="18976" y="21455"/>
                  <a:pt x="18835" y="21528"/>
                  <a:pt x="18662" y="21599"/>
                </a:cubicBezTo>
                <a:lnTo>
                  <a:pt x="2942" y="21599"/>
                </a:lnTo>
                <a:cubicBezTo>
                  <a:pt x="2675" y="21599"/>
                  <a:pt x="2467" y="21499"/>
                  <a:pt x="2318" y="21291"/>
                </a:cubicBezTo>
                <a:cubicBezTo>
                  <a:pt x="2167" y="21081"/>
                  <a:pt x="2003" y="20926"/>
                  <a:pt x="1819" y="20816"/>
                </a:cubicBezTo>
                <a:lnTo>
                  <a:pt x="1819" y="15480"/>
                </a:lnTo>
                <a:cubicBezTo>
                  <a:pt x="1819" y="14763"/>
                  <a:pt x="1989" y="14127"/>
                  <a:pt x="2335" y="13571"/>
                </a:cubicBezTo>
                <a:cubicBezTo>
                  <a:pt x="2678" y="13018"/>
                  <a:pt x="3052" y="12511"/>
                  <a:pt x="3460" y="12062"/>
                </a:cubicBezTo>
                <a:cubicBezTo>
                  <a:pt x="3535" y="11970"/>
                  <a:pt x="3633" y="11869"/>
                  <a:pt x="3753" y="11766"/>
                </a:cubicBezTo>
                <a:cubicBezTo>
                  <a:pt x="3873" y="11659"/>
                  <a:pt x="4000" y="11590"/>
                  <a:pt x="4137" y="11553"/>
                </a:cubicBezTo>
                <a:cubicBezTo>
                  <a:pt x="4276" y="11495"/>
                  <a:pt x="4432" y="11466"/>
                  <a:pt x="4610" y="11455"/>
                </a:cubicBezTo>
                <a:cubicBezTo>
                  <a:pt x="4785" y="11446"/>
                  <a:pt x="4956" y="11423"/>
                  <a:pt x="5126" y="11388"/>
                </a:cubicBezTo>
                <a:cubicBezTo>
                  <a:pt x="5594" y="11299"/>
                  <a:pt x="6091" y="11210"/>
                  <a:pt x="6621" y="11121"/>
                </a:cubicBezTo>
                <a:cubicBezTo>
                  <a:pt x="7149" y="11034"/>
                  <a:pt x="7665" y="10945"/>
                  <a:pt x="8172" y="10853"/>
                </a:cubicBezTo>
                <a:cubicBezTo>
                  <a:pt x="7483" y="10326"/>
                  <a:pt x="6928" y="9632"/>
                  <a:pt x="6513" y="8762"/>
                </a:cubicBezTo>
                <a:cubicBezTo>
                  <a:pt x="6093" y="7896"/>
                  <a:pt x="5884" y="6940"/>
                  <a:pt x="5884" y="5903"/>
                </a:cubicBezTo>
                <a:cubicBezTo>
                  <a:pt x="5884" y="5097"/>
                  <a:pt x="6016" y="4331"/>
                  <a:pt x="6275" y="3608"/>
                </a:cubicBezTo>
                <a:cubicBezTo>
                  <a:pt x="6535" y="2885"/>
                  <a:pt x="6887" y="2260"/>
                  <a:pt x="7331" y="1733"/>
                </a:cubicBezTo>
                <a:cubicBezTo>
                  <a:pt x="7778" y="1203"/>
                  <a:pt x="8299" y="786"/>
                  <a:pt x="8894" y="472"/>
                </a:cubicBezTo>
                <a:cubicBezTo>
                  <a:pt x="9494" y="158"/>
                  <a:pt x="10125" y="3"/>
                  <a:pt x="10802" y="3"/>
                </a:cubicBezTo>
                <a:cubicBezTo>
                  <a:pt x="11476" y="3"/>
                  <a:pt x="12112" y="158"/>
                  <a:pt x="12710" y="472"/>
                </a:cubicBezTo>
                <a:cubicBezTo>
                  <a:pt x="13307" y="786"/>
                  <a:pt x="13826" y="1203"/>
                  <a:pt x="14272" y="1733"/>
                </a:cubicBezTo>
                <a:cubicBezTo>
                  <a:pt x="14716" y="2260"/>
                  <a:pt x="15067" y="2885"/>
                  <a:pt x="15328" y="3608"/>
                </a:cubicBezTo>
                <a:cubicBezTo>
                  <a:pt x="15590" y="4331"/>
                  <a:pt x="15719" y="5097"/>
                  <a:pt x="15719" y="5903"/>
                </a:cubicBezTo>
                <a:cubicBezTo>
                  <a:pt x="15719" y="6939"/>
                  <a:pt x="15513" y="7890"/>
                  <a:pt x="15100" y="8757"/>
                </a:cubicBezTo>
                <a:cubicBezTo>
                  <a:pt x="14685" y="9620"/>
                  <a:pt x="14128" y="10320"/>
                  <a:pt x="13432" y="10853"/>
                </a:cubicBezTo>
                <a:cubicBezTo>
                  <a:pt x="13936" y="10945"/>
                  <a:pt x="14452" y="11031"/>
                  <a:pt x="14978" y="11115"/>
                </a:cubicBezTo>
                <a:cubicBezTo>
                  <a:pt x="15504" y="11198"/>
                  <a:pt x="16005" y="11288"/>
                  <a:pt x="16478" y="11388"/>
                </a:cubicBezTo>
                <a:cubicBezTo>
                  <a:pt x="16653" y="11426"/>
                  <a:pt x="16826" y="11449"/>
                  <a:pt x="16994" y="11455"/>
                </a:cubicBezTo>
                <a:cubicBezTo>
                  <a:pt x="17162" y="11466"/>
                  <a:pt x="17323" y="11495"/>
                  <a:pt x="17467" y="11553"/>
                </a:cubicBezTo>
                <a:cubicBezTo>
                  <a:pt x="17603" y="11590"/>
                  <a:pt x="17731" y="11659"/>
                  <a:pt x="17851" y="11766"/>
                </a:cubicBezTo>
                <a:cubicBezTo>
                  <a:pt x="17966" y="11869"/>
                  <a:pt x="18074" y="11970"/>
                  <a:pt x="18165" y="12062"/>
                </a:cubicBezTo>
                <a:moveTo>
                  <a:pt x="20474" y="5419"/>
                </a:moveTo>
                <a:cubicBezTo>
                  <a:pt x="20757" y="5419"/>
                  <a:pt x="20973" y="5505"/>
                  <a:pt x="21124" y="5687"/>
                </a:cubicBezTo>
                <a:cubicBezTo>
                  <a:pt x="21271" y="5865"/>
                  <a:pt x="21381" y="6078"/>
                  <a:pt x="21448" y="6326"/>
                </a:cubicBezTo>
                <a:cubicBezTo>
                  <a:pt x="21520" y="6574"/>
                  <a:pt x="21561" y="6836"/>
                  <a:pt x="21576" y="7106"/>
                </a:cubicBezTo>
                <a:cubicBezTo>
                  <a:pt x="21592" y="7377"/>
                  <a:pt x="21599" y="7596"/>
                  <a:pt x="21599" y="7760"/>
                </a:cubicBezTo>
                <a:lnTo>
                  <a:pt x="21599" y="9856"/>
                </a:lnTo>
                <a:cubicBezTo>
                  <a:pt x="21508" y="9928"/>
                  <a:pt x="21422" y="10015"/>
                  <a:pt x="21340" y="10110"/>
                </a:cubicBezTo>
                <a:cubicBezTo>
                  <a:pt x="21261" y="10208"/>
                  <a:pt x="21158" y="10257"/>
                  <a:pt x="21036" y="10257"/>
                </a:cubicBezTo>
                <a:lnTo>
                  <a:pt x="17268" y="10257"/>
                </a:lnTo>
                <a:cubicBezTo>
                  <a:pt x="17131" y="10257"/>
                  <a:pt x="17023" y="10208"/>
                  <a:pt x="16953" y="10110"/>
                </a:cubicBezTo>
                <a:cubicBezTo>
                  <a:pt x="16879" y="10015"/>
                  <a:pt x="16790" y="9928"/>
                  <a:pt x="16682" y="9856"/>
                </a:cubicBezTo>
                <a:lnTo>
                  <a:pt x="16682" y="7760"/>
                </a:lnTo>
                <a:cubicBezTo>
                  <a:pt x="16682" y="7596"/>
                  <a:pt x="16692" y="7377"/>
                  <a:pt x="16706" y="7106"/>
                </a:cubicBezTo>
                <a:cubicBezTo>
                  <a:pt x="16720" y="6836"/>
                  <a:pt x="16766" y="6574"/>
                  <a:pt x="16836" y="6326"/>
                </a:cubicBezTo>
                <a:cubicBezTo>
                  <a:pt x="16912" y="6078"/>
                  <a:pt x="17023" y="5865"/>
                  <a:pt x="17183" y="5687"/>
                </a:cubicBezTo>
                <a:cubicBezTo>
                  <a:pt x="17337" y="5508"/>
                  <a:pt x="17556" y="5419"/>
                  <a:pt x="17829" y="5419"/>
                </a:cubicBezTo>
                <a:cubicBezTo>
                  <a:pt x="17488" y="5151"/>
                  <a:pt x="17210" y="4803"/>
                  <a:pt x="16999" y="4377"/>
                </a:cubicBezTo>
                <a:cubicBezTo>
                  <a:pt x="16788" y="3950"/>
                  <a:pt x="16682" y="3469"/>
                  <a:pt x="16682" y="2937"/>
                </a:cubicBezTo>
                <a:cubicBezTo>
                  <a:pt x="16682" y="2539"/>
                  <a:pt x="16744" y="2162"/>
                  <a:pt x="16872" y="1805"/>
                </a:cubicBezTo>
                <a:cubicBezTo>
                  <a:pt x="16999" y="1448"/>
                  <a:pt x="17174" y="1134"/>
                  <a:pt x="17400" y="861"/>
                </a:cubicBezTo>
                <a:cubicBezTo>
                  <a:pt x="17625" y="590"/>
                  <a:pt x="17889" y="380"/>
                  <a:pt x="18187" y="227"/>
                </a:cubicBezTo>
                <a:cubicBezTo>
                  <a:pt x="18487" y="77"/>
                  <a:pt x="18808" y="0"/>
                  <a:pt x="19152" y="0"/>
                </a:cubicBezTo>
                <a:cubicBezTo>
                  <a:pt x="19480" y="0"/>
                  <a:pt x="19795" y="77"/>
                  <a:pt x="20095" y="227"/>
                </a:cubicBezTo>
                <a:cubicBezTo>
                  <a:pt x="20395" y="380"/>
                  <a:pt x="20656" y="590"/>
                  <a:pt x="20882" y="861"/>
                </a:cubicBezTo>
                <a:cubicBezTo>
                  <a:pt x="21108" y="1134"/>
                  <a:pt x="21285" y="1448"/>
                  <a:pt x="21412" y="1805"/>
                </a:cubicBezTo>
                <a:cubicBezTo>
                  <a:pt x="21537" y="2162"/>
                  <a:pt x="21599" y="2539"/>
                  <a:pt x="21599" y="2937"/>
                </a:cubicBezTo>
                <a:cubicBezTo>
                  <a:pt x="21599" y="3458"/>
                  <a:pt x="21499" y="3939"/>
                  <a:pt x="21295" y="4371"/>
                </a:cubicBezTo>
                <a:cubicBezTo>
                  <a:pt x="21093" y="4800"/>
                  <a:pt x="20820" y="5151"/>
                  <a:pt x="20474" y="5419"/>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1" name="AutoShape 52">
            <a:extLst>
              <a:ext uri="{FF2B5EF4-FFF2-40B4-BE49-F238E27FC236}">
                <a16:creationId xmlns:a16="http://schemas.microsoft.com/office/drawing/2014/main" id="{28346CD6-5FE9-7F74-CA5C-0DB1AEC77A90}"/>
              </a:ext>
            </a:extLst>
          </p:cNvPr>
          <p:cNvSpPr>
            <a:spLocks noChangeAspect="1"/>
          </p:cNvSpPr>
          <p:nvPr userDrawn="1"/>
        </p:nvSpPr>
        <p:spPr bwMode="auto">
          <a:xfrm>
            <a:off x="8633926" y="1110639"/>
            <a:ext cx="547195" cy="53144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708" y="14020"/>
                </a:moveTo>
                <a:cubicBezTo>
                  <a:pt x="20951" y="14020"/>
                  <a:pt x="21161" y="14125"/>
                  <a:pt x="21335" y="14334"/>
                </a:cubicBezTo>
                <a:cubicBezTo>
                  <a:pt x="21511" y="14548"/>
                  <a:pt x="21599" y="14810"/>
                  <a:pt x="21599" y="15115"/>
                </a:cubicBezTo>
                <a:lnTo>
                  <a:pt x="21599" y="20504"/>
                </a:lnTo>
                <a:cubicBezTo>
                  <a:pt x="21599" y="20815"/>
                  <a:pt x="21511" y="21071"/>
                  <a:pt x="21335" y="21285"/>
                </a:cubicBezTo>
                <a:cubicBezTo>
                  <a:pt x="21161" y="21494"/>
                  <a:pt x="20951" y="21599"/>
                  <a:pt x="20708" y="21599"/>
                </a:cubicBezTo>
                <a:lnTo>
                  <a:pt x="16197" y="21599"/>
                </a:lnTo>
                <a:cubicBezTo>
                  <a:pt x="15940" y="21599"/>
                  <a:pt x="15729" y="21494"/>
                  <a:pt x="15563" y="21285"/>
                </a:cubicBezTo>
                <a:cubicBezTo>
                  <a:pt x="15399" y="21071"/>
                  <a:pt x="15316" y="20815"/>
                  <a:pt x="15316" y="20504"/>
                </a:cubicBezTo>
                <a:lnTo>
                  <a:pt x="15316" y="15115"/>
                </a:lnTo>
                <a:cubicBezTo>
                  <a:pt x="15316" y="14810"/>
                  <a:pt x="15399" y="14548"/>
                  <a:pt x="15570" y="14334"/>
                </a:cubicBezTo>
                <a:cubicBezTo>
                  <a:pt x="15737" y="14125"/>
                  <a:pt x="15945" y="14020"/>
                  <a:pt x="16197" y="14020"/>
                </a:cubicBezTo>
                <a:lnTo>
                  <a:pt x="17788" y="14020"/>
                </a:lnTo>
                <a:lnTo>
                  <a:pt x="17788" y="11869"/>
                </a:lnTo>
                <a:cubicBezTo>
                  <a:pt x="17788" y="11699"/>
                  <a:pt x="17707" y="11610"/>
                  <a:pt x="17543" y="11602"/>
                </a:cubicBezTo>
                <a:lnTo>
                  <a:pt x="11473" y="11602"/>
                </a:lnTo>
                <a:lnTo>
                  <a:pt x="11473" y="14019"/>
                </a:lnTo>
                <a:lnTo>
                  <a:pt x="13054" y="14019"/>
                </a:lnTo>
                <a:cubicBezTo>
                  <a:pt x="13296" y="14019"/>
                  <a:pt x="13507" y="14125"/>
                  <a:pt x="13681" y="14334"/>
                </a:cubicBezTo>
                <a:cubicBezTo>
                  <a:pt x="13857" y="14548"/>
                  <a:pt x="13945" y="14810"/>
                  <a:pt x="13945" y="15115"/>
                </a:cubicBezTo>
                <a:lnTo>
                  <a:pt x="13945" y="20504"/>
                </a:lnTo>
                <a:cubicBezTo>
                  <a:pt x="13945" y="20815"/>
                  <a:pt x="13857" y="21071"/>
                  <a:pt x="13681" y="21285"/>
                </a:cubicBezTo>
                <a:cubicBezTo>
                  <a:pt x="13507" y="21494"/>
                  <a:pt x="13296" y="21599"/>
                  <a:pt x="13054" y="21599"/>
                </a:cubicBezTo>
                <a:lnTo>
                  <a:pt x="8543" y="21599"/>
                </a:lnTo>
                <a:cubicBezTo>
                  <a:pt x="8298" y="21599"/>
                  <a:pt x="8090" y="21494"/>
                  <a:pt x="7913" y="21285"/>
                </a:cubicBezTo>
                <a:cubicBezTo>
                  <a:pt x="7740" y="21071"/>
                  <a:pt x="7651" y="20815"/>
                  <a:pt x="7651" y="20504"/>
                </a:cubicBezTo>
                <a:lnTo>
                  <a:pt x="7651" y="15115"/>
                </a:lnTo>
                <a:cubicBezTo>
                  <a:pt x="7651" y="14810"/>
                  <a:pt x="7740" y="14548"/>
                  <a:pt x="7913" y="14334"/>
                </a:cubicBezTo>
                <a:cubicBezTo>
                  <a:pt x="8090" y="14125"/>
                  <a:pt x="8298" y="14019"/>
                  <a:pt x="8543" y="14019"/>
                </a:cubicBezTo>
                <a:lnTo>
                  <a:pt x="10124" y="14019"/>
                </a:lnTo>
                <a:lnTo>
                  <a:pt x="10124" y="11602"/>
                </a:lnTo>
                <a:lnTo>
                  <a:pt x="4056" y="11602"/>
                </a:lnTo>
                <a:cubicBezTo>
                  <a:pt x="3901" y="11602"/>
                  <a:pt x="3821" y="11690"/>
                  <a:pt x="3821" y="11869"/>
                </a:cubicBezTo>
                <a:lnTo>
                  <a:pt x="3821" y="14020"/>
                </a:lnTo>
                <a:lnTo>
                  <a:pt x="5402" y="14020"/>
                </a:lnTo>
                <a:cubicBezTo>
                  <a:pt x="5661" y="14020"/>
                  <a:pt x="5874" y="14125"/>
                  <a:pt x="6053" y="14334"/>
                </a:cubicBezTo>
                <a:cubicBezTo>
                  <a:pt x="6229" y="14548"/>
                  <a:pt x="6315" y="14810"/>
                  <a:pt x="6315" y="15115"/>
                </a:cubicBezTo>
                <a:lnTo>
                  <a:pt x="6315" y="20504"/>
                </a:lnTo>
                <a:cubicBezTo>
                  <a:pt x="6315" y="20815"/>
                  <a:pt x="6229" y="21071"/>
                  <a:pt x="6053" y="21285"/>
                </a:cubicBezTo>
                <a:cubicBezTo>
                  <a:pt x="5877" y="21494"/>
                  <a:pt x="5664" y="21599"/>
                  <a:pt x="5402" y="21599"/>
                </a:cubicBezTo>
                <a:lnTo>
                  <a:pt x="913" y="21599"/>
                </a:lnTo>
                <a:cubicBezTo>
                  <a:pt x="658" y="21599"/>
                  <a:pt x="440" y="21494"/>
                  <a:pt x="261" y="21285"/>
                </a:cubicBezTo>
                <a:cubicBezTo>
                  <a:pt x="88" y="21071"/>
                  <a:pt x="0" y="20815"/>
                  <a:pt x="0" y="20504"/>
                </a:cubicBezTo>
                <a:lnTo>
                  <a:pt x="0" y="15115"/>
                </a:lnTo>
                <a:cubicBezTo>
                  <a:pt x="0" y="14810"/>
                  <a:pt x="88" y="14548"/>
                  <a:pt x="261" y="14334"/>
                </a:cubicBezTo>
                <a:cubicBezTo>
                  <a:pt x="438" y="14125"/>
                  <a:pt x="656" y="14020"/>
                  <a:pt x="913" y="14020"/>
                </a:cubicBezTo>
                <a:lnTo>
                  <a:pt x="2472" y="14020"/>
                </a:lnTo>
                <a:lnTo>
                  <a:pt x="2472" y="11869"/>
                </a:lnTo>
                <a:cubicBezTo>
                  <a:pt x="2472" y="11352"/>
                  <a:pt x="2629" y="10911"/>
                  <a:pt x="2942" y="10544"/>
                </a:cubicBezTo>
                <a:cubicBezTo>
                  <a:pt x="3253" y="10180"/>
                  <a:pt x="3622" y="9997"/>
                  <a:pt x="4053" y="9997"/>
                </a:cubicBezTo>
                <a:lnTo>
                  <a:pt x="10121" y="9997"/>
                </a:lnTo>
                <a:lnTo>
                  <a:pt x="10121" y="7550"/>
                </a:lnTo>
                <a:lnTo>
                  <a:pt x="8540" y="7550"/>
                </a:lnTo>
                <a:cubicBezTo>
                  <a:pt x="8295" y="7550"/>
                  <a:pt x="8087" y="7450"/>
                  <a:pt x="7911" y="7248"/>
                </a:cubicBezTo>
                <a:cubicBezTo>
                  <a:pt x="7737" y="7045"/>
                  <a:pt x="7649" y="6789"/>
                  <a:pt x="7649" y="6484"/>
                </a:cubicBezTo>
                <a:lnTo>
                  <a:pt x="7649" y="1066"/>
                </a:lnTo>
                <a:cubicBezTo>
                  <a:pt x="7649" y="775"/>
                  <a:pt x="7737" y="522"/>
                  <a:pt x="7911" y="314"/>
                </a:cubicBezTo>
                <a:cubicBezTo>
                  <a:pt x="8087" y="102"/>
                  <a:pt x="8295" y="0"/>
                  <a:pt x="8540" y="0"/>
                </a:cubicBezTo>
                <a:lnTo>
                  <a:pt x="13052" y="0"/>
                </a:lnTo>
                <a:cubicBezTo>
                  <a:pt x="13294" y="0"/>
                  <a:pt x="13504" y="102"/>
                  <a:pt x="13678" y="314"/>
                </a:cubicBezTo>
                <a:cubicBezTo>
                  <a:pt x="13854" y="522"/>
                  <a:pt x="13943" y="775"/>
                  <a:pt x="13943" y="1066"/>
                </a:cubicBezTo>
                <a:lnTo>
                  <a:pt x="13943" y="6484"/>
                </a:lnTo>
                <a:cubicBezTo>
                  <a:pt x="13943" y="6789"/>
                  <a:pt x="13854" y="7045"/>
                  <a:pt x="13678" y="7248"/>
                </a:cubicBezTo>
                <a:cubicBezTo>
                  <a:pt x="13504" y="7450"/>
                  <a:pt x="13294" y="7550"/>
                  <a:pt x="13052" y="7550"/>
                </a:cubicBezTo>
                <a:lnTo>
                  <a:pt x="11470" y="7550"/>
                </a:lnTo>
                <a:lnTo>
                  <a:pt x="11470" y="9997"/>
                </a:lnTo>
                <a:lnTo>
                  <a:pt x="17541" y="9997"/>
                </a:lnTo>
                <a:cubicBezTo>
                  <a:pt x="17969" y="9997"/>
                  <a:pt x="18339" y="10177"/>
                  <a:pt x="18652" y="10538"/>
                </a:cubicBezTo>
                <a:cubicBezTo>
                  <a:pt x="18966" y="10899"/>
                  <a:pt x="19122" y="11343"/>
                  <a:pt x="19122" y="11869"/>
                </a:cubicBezTo>
                <a:lnTo>
                  <a:pt x="19122" y="14020"/>
                </a:lnTo>
                <a:lnTo>
                  <a:pt x="20708" y="14020"/>
                </a:lnTo>
                <a:close/>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2" name="AutoShape 70">
            <a:extLst>
              <a:ext uri="{FF2B5EF4-FFF2-40B4-BE49-F238E27FC236}">
                <a16:creationId xmlns:a16="http://schemas.microsoft.com/office/drawing/2014/main" id="{6851160C-D1B7-5C54-270F-876C131E0CE7}"/>
              </a:ext>
            </a:extLst>
          </p:cNvPr>
          <p:cNvSpPr>
            <a:spLocks noChangeAspect="1"/>
          </p:cNvSpPr>
          <p:nvPr userDrawn="1"/>
        </p:nvSpPr>
        <p:spPr bwMode="auto">
          <a:xfrm>
            <a:off x="8789625" y="2975397"/>
            <a:ext cx="717337" cy="6003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234" y="6152"/>
                </a:moveTo>
                <a:cubicBezTo>
                  <a:pt x="11406" y="6502"/>
                  <a:pt x="11552" y="6917"/>
                  <a:pt x="11672" y="7394"/>
                </a:cubicBezTo>
                <a:cubicBezTo>
                  <a:pt x="11747" y="7411"/>
                  <a:pt x="11886" y="7434"/>
                  <a:pt x="12088" y="7462"/>
                </a:cubicBezTo>
                <a:cubicBezTo>
                  <a:pt x="12291" y="7487"/>
                  <a:pt x="12500" y="7527"/>
                  <a:pt x="12714" y="7578"/>
                </a:cubicBezTo>
                <a:cubicBezTo>
                  <a:pt x="12928" y="7626"/>
                  <a:pt x="13119" y="7679"/>
                  <a:pt x="13289" y="7730"/>
                </a:cubicBezTo>
                <a:cubicBezTo>
                  <a:pt x="13458" y="7787"/>
                  <a:pt x="13543" y="7849"/>
                  <a:pt x="13543" y="7922"/>
                </a:cubicBezTo>
                <a:lnTo>
                  <a:pt x="13543" y="10328"/>
                </a:lnTo>
                <a:cubicBezTo>
                  <a:pt x="13543" y="10415"/>
                  <a:pt x="13458" y="10494"/>
                  <a:pt x="13289" y="10548"/>
                </a:cubicBezTo>
                <a:cubicBezTo>
                  <a:pt x="13119" y="10610"/>
                  <a:pt x="12928" y="10658"/>
                  <a:pt x="12714" y="10706"/>
                </a:cubicBezTo>
                <a:cubicBezTo>
                  <a:pt x="12500" y="10751"/>
                  <a:pt x="12288" y="10782"/>
                  <a:pt x="12076" y="10800"/>
                </a:cubicBezTo>
                <a:cubicBezTo>
                  <a:pt x="11867" y="10819"/>
                  <a:pt x="11730" y="10836"/>
                  <a:pt x="11672" y="10856"/>
                </a:cubicBezTo>
                <a:cubicBezTo>
                  <a:pt x="11566" y="11243"/>
                  <a:pt x="11429" y="11638"/>
                  <a:pt x="11255" y="12045"/>
                </a:cubicBezTo>
                <a:cubicBezTo>
                  <a:pt x="11429" y="12324"/>
                  <a:pt x="11594" y="12595"/>
                  <a:pt x="11756" y="12864"/>
                </a:cubicBezTo>
                <a:cubicBezTo>
                  <a:pt x="11919" y="13126"/>
                  <a:pt x="12100" y="13394"/>
                  <a:pt x="12302" y="13654"/>
                </a:cubicBezTo>
                <a:lnTo>
                  <a:pt x="12326" y="13787"/>
                </a:lnTo>
                <a:cubicBezTo>
                  <a:pt x="12326" y="13841"/>
                  <a:pt x="12248" y="13976"/>
                  <a:pt x="12095" y="14194"/>
                </a:cubicBezTo>
                <a:cubicBezTo>
                  <a:pt x="11940" y="14411"/>
                  <a:pt x="11761" y="14637"/>
                  <a:pt x="11559" y="14877"/>
                </a:cubicBezTo>
                <a:cubicBezTo>
                  <a:pt x="11356" y="15117"/>
                  <a:pt x="11166" y="15326"/>
                  <a:pt x="10991" y="15512"/>
                </a:cubicBezTo>
                <a:cubicBezTo>
                  <a:pt x="10812" y="15696"/>
                  <a:pt x="10702" y="15789"/>
                  <a:pt x="10657" y="15789"/>
                </a:cubicBezTo>
                <a:cubicBezTo>
                  <a:pt x="10643" y="15789"/>
                  <a:pt x="10565" y="15727"/>
                  <a:pt x="10426" y="15605"/>
                </a:cubicBezTo>
                <a:cubicBezTo>
                  <a:pt x="10288" y="15484"/>
                  <a:pt x="10135" y="15346"/>
                  <a:pt x="9965" y="15187"/>
                </a:cubicBezTo>
                <a:cubicBezTo>
                  <a:pt x="9796" y="15029"/>
                  <a:pt x="9638" y="14885"/>
                  <a:pt x="9492" y="14747"/>
                </a:cubicBezTo>
                <a:cubicBezTo>
                  <a:pt x="9344" y="14614"/>
                  <a:pt x="9250" y="14524"/>
                  <a:pt x="9205" y="14476"/>
                </a:cubicBezTo>
                <a:cubicBezTo>
                  <a:pt x="8866" y="14685"/>
                  <a:pt x="8536" y="14851"/>
                  <a:pt x="8212" y="14978"/>
                </a:cubicBezTo>
                <a:cubicBezTo>
                  <a:pt x="8212" y="15069"/>
                  <a:pt x="8200" y="15235"/>
                  <a:pt x="8179" y="15475"/>
                </a:cubicBezTo>
                <a:cubicBezTo>
                  <a:pt x="8155" y="15721"/>
                  <a:pt x="8127" y="15975"/>
                  <a:pt x="8089" y="16241"/>
                </a:cubicBezTo>
                <a:cubicBezTo>
                  <a:pt x="8052" y="16509"/>
                  <a:pt x="8004" y="16743"/>
                  <a:pt x="7948" y="16944"/>
                </a:cubicBezTo>
                <a:cubicBezTo>
                  <a:pt x="7892" y="17147"/>
                  <a:pt x="7833" y="17249"/>
                  <a:pt x="7774" y="17249"/>
                </a:cubicBezTo>
                <a:lnTo>
                  <a:pt x="5768" y="17249"/>
                </a:lnTo>
                <a:cubicBezTo>
                  <a:pt x="5707" y="17249"/>
                  <a:pt x="5651" y="17147"/>
                  <a:pt x="5594" y="16944"/>
                </a:cubicBezTo>
                <a:cubicBezTo>
                  <a:pt x="5538" y="16743"/>
                  <a:pt x="5493" y="16509"/>
                  <a:pt x="5462" y="16241"/>
                </a:cubicBezTo>
                <a:cubicBezTo>
                  <a:pt x="5434" y="15975"/>
                  <a:pt x="5406" y="15721"/>
                  <a:pt x="5385" y="15484"/>
                </a:cubicBezTo>
                <a:cubicBezTo>
                  <a:pt x="5361" y="15244"/>
                  <a:pt x="5352" y="15077"/>
                  <a:pt x="5352" y="14978"/>
                </a:cubicBezTo>
                <a:cubicBezTo>
                  <a:pt x="5013" y="14871"/>
                  <a:pt x="4681" y="14702"/>
                  <a:pt x="4359" y="14476"/>
                </a:cubicBezTo>
                <a:cubicBezTo>
                  <a:pt x="4126" y="14685"/>
                  <a:pt x="3895" y="14894"/>
                  <a:pt x="3667" y="15106"/>
                </a:cubicBezTo>
                <a:cubicBezTo>
                  <a:pt x="3438" y="15320"/>
                  <a:pt x="3212" y="15535"/>
                  <a:pt x="2996" y="15761"/>
                </a:cubicBezTo>
                <a:lnTo>
                  <a:pt x="2883" y="15789"/>
                </a:lnTo>
                <a:cubicBezTo>
                  <a:pt x="2855" y="15789"/>
                  <a:pt x="2751" y="15696"/>
                  <a:pt x="2572" y="15512"/>
                </a:cubicBezTo>
                <a:cubicBezTo>
                  <a:pt x="2396" y="15326"/>
                  <a:pt x="2212" y="15117"/>
                  <a:pt x="2021" y="14877"/>
                </a:cubicBezTo>
                <a:cubicBezTo>
                  <a:pt x="1828" y="14637"/>
                  <a:pt x="1657" y="14411"/>
                  <a:pt x="1504" y="14194"/>
                </a:cubicBezTo>
                <a:cubicBezTo>
                  <a:pt x="1348" y="13976"/>
                  <a:pt x="1273" y="13841"/>
                  <a:pt x="1273" y="13787"/>
                </a:cubicBezTo>
                <a:cubicBezTo>
                  <a:pt x="1273" y="13770"/>
                  <a:pt x="1320" y="13677"/>
                  <a:pt x="1419" y="13510"/>
                </a:cubicBezTo>
                <a:cubicBezTo>
                  <a:pt x="1515" y="13346"/>
                  <a:pt x="1628" y="13163"/>
                  <a:pt x="1751" y="12971"/>
                </a:cubicBezTo>
                <a:cubicBezTo>
                  <a:pt x="1875" y="12776"/>
                  <a:pt x="1991" y="12590"/>
                  <a:pt x="2099" y="12415"/>
                </a:cubicBezTo>
                <a:cubicBezTo>
                  <a:pt x="2210" y="12240"/>
                  <a:pt x="2278" y="12127"/>
                  <a:pt x="2308" y="12070"/>
                </a:cubicBezTo>
                <a:cubicBezTo>
                  <a:pt x="2134" y="11686"/>
                  <a:pt x="1988" y="11260"/>
                  <a:pt x="1868" y="10800"/>
                </a:cubicBezTo>
                <a:cubicBezTo>
                  <a:pt x="1793" y="10783"/>
                  <a:pt x="1654" y="10760"/>
                  <a:pt x="1452" y="10732"/>
                </a:cubicBezTo>
                <a:cubicBezTo>
                  <a:pt x="1249" y="10706"/>
                  <a:pt x="1042" y="10675"/>
                  <a:pt x="826" y="10639"/>
                </a:cubicBezTo>
                <a:cubicBezTo>
                  <a:pt x="611" y="10602"/>
                  <a:pt x="421" y="10554"/>
                  <a:pt x="251" y="10497"/>
                </a:cubicBezTo>
                <a:cubicBezTo>
                  <a:pt x="82" y="10438"/>
                  <a:pt x="0" y="10373"/>
                  <a:pt x="0" y="10300"/>
                </a:cubicBezTo>
                <a:lnTo>
                  <a:pt x="0" y="7869"/>
                </a:lnTo>
                <a:cubicBezTo>
                  <a:pt x="0" y="7798"/>
                  <a:pt x="82" y="7724"/>
                  <a:pt x="251" y="7660"/>
                </a:cubicBezTo>
                <a:cubicBezTo>
                  <a:pt x="421" y="7589"/>
                  <a:pt x="616" y="7538"/>
                  <a:pt x="837" y="7501"/>
                </a:cubicBezTo>
                <a:cubicBezTo>
                  <a:pt x="1059" y="7468"/>
                  <a:pt x="1273" y="7434"/>
                  <a:pt x="1475" y="7408"/>
                </a:cubicBezTo>
                <a:cubicBezTo>
                  <a:pt x="1678" y="7380"/>
                  <a:pt x="1817" y="7366"/>
                  <a:pt x="1892" y="7366"/>
                </a:cubicBezTo>
                <a:cubicBezTo>
                  <a:pt x="1981" y="6925"/>
                  <a:pt x="2120" y="6530"/>
                  <a:pt x="2308" y="6177"/>
                </a:cubicBezTo>
                <a:cubicBezTo>
                  <a:pt x="2134" y="5900"/>
                  <a:pt x="1965" y="5621"/>
                  <a:pt x="1795" y="5347"/>
                </a:cubicBezTo>
                <a:cubicBezTo>
                  <a:pt x="1628" y="5073"/>
                  <a:pt x="1452" y="4802"/>
                  <a:pt x="1273" y="4542"/>
                </a:cubicBezTo>
                <a:lnTo>
                  <a:pt x="1228" y="4407"/>
                </a:lnTo>
                <a:cubicBezTo>
                  <a:pt x="1228" y="4353"/>
                  <a:pt x="1303" y="4221"/>
                  <a:pt x="1456" y="4009"/>
                </a:cubicBezTo>
                <a:cubicBezTo>
                  <a:pt x="1612" y="3797"/>
                  <a:pt x="1788" y="3574"/>
                  <a:pt x="1986" y="3334"/>
                </a:cubicBezTo>
                <a:cubicBezTo>
                  <a:pt x="2186" y="3094"/>
                  <a:pt x="2374" y="2882"/>
                  <a:pt x="2551" y="2696"/>
                </a:cubicBezTo>
                <a:cubicBezTo>
                  <a:pt x="2727" y="2515"/>
                  <a:pt x="2838" y="2419"/>
                  <a:pt x="2883" y="2419"/>
                </a:cubicBezTo>
                <a:cubicBezTo>
                  <a:pt x="2899" y="2419"/>
                  <a:pt x="2975" y="2478"/>
                  <a:pt x="3113" y="2597"/>
                </a:cubicBezTo>
                <a:cubicBezTo>
                  <a:pt x="3252" y="2713"/>
                  <a:pt x="3408" y="2851"/>
                  <a:pt x="3577" y="3006"/>
                </a:cubicBezTo>
                <a:cubicBezTo>
                  <a:pt x="3744" y="3164"/>
                  <a:pt x="3907" y="3320"/>
                  <a:pt x="4060" y="3469"/>
                </a:cubicBezTo>
                <a:cubicBezTo>
                  <a:pt x="4215" y="3616"/>
                  <a:pt x="4307" y="3706"/>
                  <a:pt x="4335" y="3743"/>
                </a:cubicBezTo>
                <a:cubicBezTo>
                  <a:pt x="4660" y="3517"/>
                  <a:pt x="4999" y="3354"/>
                  <a:pt x="5352" y="3243"/>
                </a:cubicBezTo>
                <a:cubicBezTo>
                  <a:pt x="5352" y="3173"/>
                  <a:pt x="5361" y="3003"/>
                  <a:pt x="5385" y="2746"/>
                </a:cubicBezTo>
                <a:cubicBezTo>
                  <a:pt x="5406" y="2484"/>
                  <a:pt x="5434" y="2224"/>
                  <a:pt x="5462" y="1967"/>
                </a:cubicBezTo>
                <a:cubicBezTo>
                  <a:pt x="5493" y="1707"/>
                  <a:pt x="5533" y="1476"/>
                  <a:pt x="5582" y="1264"/>
                </a:cubicBezTo>
                <a:cubicBezTo>
                  <a:pt x="5630" y="1052"/>
                  <a:pt x="5693" y="948"/>
                  <a:pt x="5768" y="948"/>
                </a:cubicBezTo>
                <a:lnTo>
                  <a:pt x="7774" y="948"/>
                </a:lnTo>
                <a:cubicBezTo>
                  <a:pt x="7833" y="948"/>
                  <a:pt x="7891" y="1052"/>
                  <a:pt x="7948" y="1264"/>
                </a:cubicBezTo>
                <a:cubicBezTo>
                  <a:pt x="8004" y="1476"/>
                  <a:pt x="8047" y="1707"/>
                  <a:pt x="8077" y="1967"/>
                </a:cubicBezTo>
                <a:cubicBezTo>
                  <a:pt x="8108" y="2224"/>
                  <a:pt x="8134" y="2484"/>
                  <a:pt x="8155" y="2746"/>
                </a:cubicBezTo>
                <a:cubicBezTo>
                  <a:pt x="8179" y="3003"/>
                  <a:pt x="8197" y="3173"/>
                  <a:pt x="8212" y="3243"/>
                </a:cubicBezTo>
                <a:cubicBezTo>
                  <a:pt x="8551" y="3354"/>
                  <a:pt x="8873" y="3512"/>
                  <a:pt x="9181" y="3715"/>
                </a:cubicBezTo>
                <a:cubicBezTo>
                  <a:pt x="9414" y="3512"/>
                  <a:pt x="9650" y="3305"/>
                  <a:pt x="9885" y="3105"/>
                </a:cubicBezTo>
                <a:cubicBezTo>
                  <a:pt x="10123" y="2899"/>
                  <a:pt x="10351" y="2690"/>
                  <a:pt x="10568" y="2475"/>
                </a:cubicBezTo>
                <a:lnTo>
                  <a:pt x="10657" y="2419"/>
                </a:lnTo>
                <a:cubicBezTo>
                  <a:pt x="10688" y="2419"/>
                  <a:pt x="10791" y="2518"/>
                  <a:pt x="10968" y="2710"/>
                </a:cubicBezTo>
                <a:cubicBezTo>
                  <a:pt x="11144" y="2904"/>
                  <a:pt x="11330" y="3116"/>
                  <a:pt x="11526" y="3348"/>
                </a:cubicBezTo>
                <a:cubicBezTo>
                  <a:pt x="11721" y="3577"/>
                  <a:pt x="11900" y="3797"/>
                  <a:pt x="12060" y="4009"/>
                </a:cubicBezTo>
                <a:cubicBezTo>
                  <a:pt x="12222" y="4220"/>
                  <a:pt x="12302" y="4353"/>
                  <a:pt x="12302" y="4407"/>
                </a:cubicBezTo>
                <a:cubicBezTo>
                  <a:pt x="12302" y="4443"/>
                  <a:pt x="12253" y="4542"/>
                  <a:pt x="12152" y="4712"/>
                </a:cubicBezTo>
                <a:cubicBezTo>
                  <a:pt x="12048" y="4878"/>
                  <a:pt x="11935" y="5056"/>
                  <a:pt x="11813" y="5251"/>
                </a:cubicBezTo>
                <a:cubicBezTo>
                  <a:pt x="11688" y="5446"/>
                  <a:pt x="11568" y="5629"/>
                  <a:pt x="11453" y="5807"/>
                </a:cubicBezTo>
                <a:cubicBezTo>
                  <a:pt x="11335" y="5982"/>
                  <a:pt x="11260" y="6095"/>
                  <a:pt x="11234" y="6152"/>
                </a:cubicBezTo>
                <a:moveTo>
                  <a:pt x="6781" y="11545"/>
                </a:moveTo>
                <a:cubicBezTo>
                  <a:pt x="7061" y="11545"/>
                  <a:pt x="7322" y="11480"/>
                  <a:pt x="7569" y="11356"/>
                </a:cubicBezTo>
                <a:cubicBezTo>
                  <a:pt x="7819" y="11229"/>
                  <a:pt x="8035" y="11056"/>
                  <a:pt x="8219" y="10836"/>
                </a:cubicBezTo>
                <a:cubicBezTo>
                  <a:pt x="8402" y="10616"/>
                  <a:pt x="8546" y="10356"/>
                  <a:pt x="8652" y="10059"/>
                </a:cubicBezTo>
                <a:cubicBezTo>
                  <a:pt x="8758" y="9760"/>
                  <a:pt x="8809" y="9447"/>
                  <a:pt x="8809" y="9111"/>
                </a:cubicBezTo>
                <a:cubicBezTo>
                  <a:pt x="8809" y="8778"/>
                  <a:pt x="8758" y="8458"/>
                  <a:pt x="8652" y="8159"/>
                </a:cubicBezTo>
                <a:cubicBezTo>
                  <a:pt x="8546" y="7857"/>
                  <a:pt x="8402" y="7592"/>
                  <a:pt x="8219" y="7372"/>
                </a:cubicBezTo>
                <a:cubicBezTo>
                  <a:pt x="8035" y="7151"/>
                  <a:pt x="7819" y="6979"/>
                  <a:pt x="7569" y="6846"/>
                </a:cubicBezTo>
                <a:cubicBezTo>
                  <a:pt x="7322" y="6717"/>
                  <a:pt x="7061" y="6649"/>
                  <a:pt x="6781" y="6649"/>
                </a:cubicBezTo>
                <a:cubicBezTo>
                  <a:pt x="6211" y="6649"/>
                  <a:pt x="5726" y="6889"/>
                  <a:pt x="5328" y="7366"/>
                </a:cubicBezTo>
                <a:cubicBezTo>
                  <a:pt x="4931" y="7843"/>
                  <a:pt x="4730" y="8425"/>
                  <a:pt x="4730" y="9111"/>
                </a:cubicBezTo>
                <a:cubicBezTo>
                  <a:pt x="4730" y="9447"/>
                  <a:pt x="4785" y="9760"/>
                  <a:pt x="4895" y="10060"/>
                </a:cubicBezTo>
                <a:cubicBezTo>
                  <a:pt x="5003" y="10356"/>
                  <a:pt x="5149" y="10616"/>
                  <a:pt x="5333" y="10836"/>
                </a:cubicBezTo>
                <a:cubicBezTo>
                  <a:pt x="5517" y="11056"/>
                  <a:pt x="5735" y="11229"/>
                  <a:pt x="5987" y="11356"/>
                </a:cubicBezTo>
                <a:cubicBezTo>
                  <a:pt x="6239" y="11480"/>
                  <a:pt x="6500" y="11545"/>
                  <a:pt x="6781" y="11545"/>
                </a:cubicBezTo>
                <a:moveTo>
                  <a:pt x="20496" y="16952"/>
                </a:moveTo>
                <a:cubicBezTo>
                  <a:pt x="20427" y="17293"/>
                  <a:pt x="20340" y="17613"/>
                  <a:pt x="20234" y="17912"/>
                </a:cubicBezTo>
                <a:cubicBezTo>
                  <a:pt x="20251" y="17963"/>
                  <a:pt x="20293" y="18050"/>
                  <a:pt x="20364" y="18161"/>
                </a:cubicBezTo>
                <a:cubicBezTo>
                  <a:pt x="20437" y="18273"/>
                  <a:pt x="20507" y="18398"/>
                  <a:pt x="20573" y="18528"/>
                </a:cubicBezTo>
                <a:cubicBezTo>
                  <a:pt x="20642" y="18655"/>
                  <a:pt x="20700" y="18779"/>
                  <a:pt x="20755" y="18897"/>
                </a:cubicBezTo>
                <a:cubicBezTo>
                  <a:pt x="20806" y="19013"/>
                  <a:pt x="20832" y="19098"/>
                  <a:pt x="20832" y="19140"/>
                </a:cubicBezTo>
                <a:cubicBezTo>
                  <a:pt x="20832" y="19177"/>
                  <a:pt x="20762" y="19281"/>
                  <a:pt x="20625" y="19459"/>
                </a:cubicBezTo>
                <a:cubicBezTo>
                  <a:pt x="20486" y="19634"/>
                  <a:pt x="20324" y="19821"/>
                  <a:pt x="20140" y="20013"/>
                </a:cubicBezTo>
                <a:cubicBezTo>
                  <a:pt x="19957" y="20205"/>
                  <a:pt x="19778" y="20388"/>
                  <a:pt x="19611" y="20558"/>
                </a:cubicBezTo>
                <a:cubicBezTo>
                  <a:pt x="19441" y="20730"/>
                  <a:pt x="19333" y="20848"/>
                  <a:pt x="19288" y="20911"/>
                </a:cubicBezTo>
                <a:lnTo>
                  <a:pt x="19199" y="20967"/>
                </a:lnTo>
                <a:cubicBezTo>
                  <a:pt x="19168" y="20967"/>
                  <a:pt x="19107" y="20928"/>
                  <a:pt x="19013" y="20851"/>
                </a:cubicBezTo>
                <a:cubicBezTo>
                  <a:pt x="18919" y="20772"/>
                  <a:pt x="18822" y="20685"/>
                  <a:pt x="18726" y="20586"/>
                </a:cubicBezTo>
                <a:cubicBezTo>
                  <a:pt x="18629" y="20487"/>
                  <a:pt x="18533" y="20391"/>
                  <a:pt x="18438" y="20295"/>
                </a:cubicBezTo>
                <a:cubicBezTo>
                  <a:pt x="18344" y="20199"/>
                  <a:pt x="18283" y="20137"/>
                  <a:pt x="18253" y="20100"/>
                </a:cubicBezTo>
                <a:cubicBezTo>
                  <a:pt x="17975" y="20208"/>
                  <a:pt x="17681" y="20295"/>
                  <a:pt x="17372" y="20357"/>
                </a:cubicBezTo>
                <a:cubicBezTo>
                  <a:pt x="17358" y="20411"/>
                  <a:pt x="17323" y="20510"/>
                  <a:pt x="17273" y="20648"/>
                </a:cubicBezTo>
                <a:cubicBezTo>
                  <a:pt x="17219" y="20786"/>
                  <a:pt x="17160" y="20925"/>
                  <a:pt x="17097" y="21060"/>
                </a:cubicBezTo>
                <a:cubicBezTo>
                  <a:pt x="17033" y="21196"/>
                  <a:pt x="16972" y="21320"/>
                  <a:pt x="16911" y="21430"/>
                </a:cubicBezTo>
                <a:cubicBezTo>
                  <a:pt x="16852" y="21546"/>
                  <a:pt x="16798" y="21599"/>
                  <a:pt x="16753" y="21599"/>
                </a:cubicBezTo>
                <a:cubicBezTo>
                  <a:pt x="16709" y="21599"/>
                  <a:pt x="16577" y="21568"/>
                  <a:pt x="16360" y="21498"/>
                </a:cubicBezTo>
                <a:cubicBezTo>
                  <a:pt x="16141" y="21430"/>
                  <a:pt x="15906" y="21348"/>
                  <a:pt x="15654" y="21247"/>
                </a:cubicBezTo>
                <a:cubicBezTo>
                  <a:pt x="15405" y="21148"/>
                  <a:pt x="15179" y="21043"/>
                  <a:pt x="14979" y="20930"/>
                </a:cubicBezTo>
                <a:cubicBezTo>
                  <a:pt x="14778" y="20817"/>
                  <a:pt x="14680" y="20719"/>
                  <a:pt x="14680" y="20628"/>
                </a:cubicBezTo>
                <a:cubicBezTo>
                  <a:pt x="14680" y="20419"/>
                  <a:pt x="14698" y="20205"/>
                  <a:pt x="14736" y="19984"/>
                </a:cubicBezTo>
                <a:cubicBezTo>
                  <a:pt x="14774" y="19764"/>
                  <a:pt x="14809" y="19555"/>
                  <a:pt x="14837" y="19355"/>
                </a:cubicBezTo>
                <a:cubicBezTo>
                  <a:pt x="14717" y="19247"/>
                  <a:pt x="14611" y="19129"/>
                  <a:pt x="14517" y="18999"/>
                </a:cubicBezTo>
                <a:cubicBezTo>
                  <a:pt x="14423" y="18869"/>
                  <a:pt x="14338" y="18731"/>
                  <a:pt x="14263" y="18587"/>
                </a:cubicBezTo>
                <a:cubicBezTo>
                  <a:pt x="14091" y="18607"/>
                  <a:pt x="13919" y="18618"/>
                  <a:pt x="13750" y="18629"/>
                </a:cubicBezTo>
                <a:cubicBezTo>
                  <a:pt x="13583" y="18638"/>
                  <a:pt x="13413" y="18640"/>
                  <a:pt x="13251" y="18640"/>
                </a:cubicBezTo>
                <a:lnTo>
                  <a:pt x="13086" y="18640"/>
                </a:lnTo>
                <a:cubicBezTo>
                  <a:pt x="13037" y="18640"/>
                  <a:pt x="13006" y="18590"/>
                  <a:pt x="12990" y="18491"/>
                </a:cubicBezTo>
                <a:cubicBezTo>
                  <a:pt x="12976" y="18417"/>
                  <a:pt x="12945" y="18259"/>
                  <a:pt x="12900" y="18011"/>
                </a:cubicBezTo>
                <a:cubicBezTo>
                  <a:pt x="12855" y="17762"/>
                  <a:pt x="12804" y="17503"/>
                  <a:pt x="12747" y="17229"/>
                </a:cubicBezTo>
                <a:cubicBezTo>
                  <a:pt x="12691" y="16952"/>
                  <a:pt x="12644" y="16704"/>
                  <a:pt x="12608" y="16478"/>
                </a:cubicBezTo>
                <a:cubicBezTo>
                  <a:pt x="12568" y="16252"/>
                  <a:pt x="12552" y="16122"/>
                  <a:pt x="12552" y="16085"/>
                </a:cubicBezTo>
                <a:cubicBezTo>
                  <a:pt x="12552" y="16032"/>
                  <a:pt x="12601" y="15973"/>
                  <a:pt x="12702" y="15910"/>
                </a:cubicBezTo>
                <a:cubicBezTo>
                  <a:pt x="12804" y="15848"/>
                  <a:pt x="12921" y="15783"/>
                  <a:pt x="13053" y="15713"/>
                </a:cubicBezTo>
                <a:cubicBezTo>
                  <a:pt x="13183" y="15645"/>
                  <a:pt x="13310" y="15591"/>
                  <a:pt x="13430" y="15546"/>
                </a:cubicBezTo>
                <a:cubicBezTo>
                  <a:pt x="13550" y="15501"/>
                  <a:pt x="13632" y="15470"/>
                  <a:pt x="13677" y="15453"/>
                </a:cubicBezTo>
                <a:cubicBezTo>
                  <a:pt x="13708" y="15241"/>
                  <a:pt x="13743" y="15069"/>
                  <a:pt x="13785" y="14922"/>
                </a:cubicBezTo>
                <a:cubicBezTo>
                  <a:pt x="13825" y="14778"/>
                  <a:pt x="13884" y="14614"/>
                  <a:pt x="13959" y="14422"/>
                </a:cubicBezTo>
                <a:cubicBezTo>
                  <a:pt x="13929" y="14388"/>
                  <a:pt x="13882" y="14309"/>
                  <a:pt x="13813" y="14194"/>
                </a:cubicBezTo>
                <a:cubicBezTo>
                  <a:pt x="13745" y="14075"/>
                  <a:pt x="13677" y="13951"/>
                  <a:pt x="13604" y="13824"/>
                </a:cubicBezTo>
                <a:cubicBezTo>
                  <a:pt x="13533" y="13694"/>
                  <a:pt x="13470" y="13567"/>
                  <a:pt x="13418" y="13445"/>
                </a:cubicBezTo>
                <a:cubicBezTo>
                  <a:pt x="13366" y="13324"/>
                  <a:pt x="13340" y="13242"/>
                  <a:pt x="13340" y="13208"/>
                </a:cubicBezTo>
                <a:cubicBezTo>
                  <a:pt x="13340" y="13172"/>
                  <a:pt x="13409" y="13064"/>
                  <a:pt x="13547" y="12886"/>
                </a:cubicBezTo>
                <a:cubicBezTo>
                  <a:pt x="13686" y="12714"/>
                  <a:pt x="13849" y="12531"/>
                  <a:pt x="14032" y="12336"/>
                </a:cubicBezTo>
                <a:cubicBezTo>
                  <a:pt x="14216" y="12144"/>
                  <a:pt x="14392" y="11960"/>
                  <a:pt x="14562" y="11796"/>
                </a:cubicBezTo>
                <a:cubicBezTo>
                  <a:pt x="14731" y="11627"/>
                  <a:pt x="14837" y="11517"/>
                  <a:pt x="14882" y="11466"/>
                </a:cubicBezTo>
                <a:lnTo>
                  <a:pt x="14974" y="11410"/>
                </a:lnTo>
                <a:cubicBezTo>
                  <a:pt x="15004" y="11410"/>
                  <a:pt x="15066" y="11449"/>
                  <a:pt x="15160" y="11525"/>
                </a:cubicBezTo>
                <a:cubicBezTo>
                  <a:pt x="15254" y="11599"/>
                  <a:pt x="15348" y="11689"/>
                  <a:pt x="15447" y="11788"/>
                </a:cubicBezTo>
                <a:cubicBezTo>
                  <a:pt x="15543" y="11887"/>
                  <a:pt x="15640" y="11983"/>
                  <a:pt x="15734" y="12076"/>
                </a:cubicBezTo>
                <a:cubicBezTo>
                  <a:pt x="15828" y="12175"/>
                  <a:pt x="15889" y="12237"/>
                  <a:pt x="15920" y="12276"/>
                </a:cubicBezTo>
                <a:cubicBezTo>
                  <a:pt x="16184" y="12166"/>
                  <a:pt x="16468" y="12082"/>
                  <a:pt x="16777" y="12017"/>
                </a:cubicBezTo>
                <a:cubicBezTo>
                  <a:pt x="16791" y="11963"/>
                  <a:pt x="16826" y="11867"/>
                  <a:pt x="16878" y="11726"/>
                </a:cubicBezTo>
                <a:cubicBezTo>
                  <a:pt x="16930" y="11587"/>
                  <a:pt x="16991" y="11449"/>
                  <a:pt x="17064" y="11316"/>
                </a:cubicBezTo>
                <a:cubicBezTo>
                  <a:pt x="17135" y="11178"/>
                  <a:pt x="17200" y="11057"/>
                  <a:pt x="17262" y="10941"/>
                </a:cubicBezTo>
                <a:cubicBezTo>
                  <a:pt x="17320" y="10831"/>
                  <a:pt x="17372" y="10774"/>
                  <a:pt x="17419" y="10774"/>
                </a:cubicBezTo>
                <a:cubicBezTo>
                  <a:pt x="17448" y="10774"/>
                  <a:pt x="17575" y="10805"/>
                  <a:pt x="17803" y="10870"/>
                </a:cubicBezTo>
                <a:cubicBezTo>
                  <a:pt x="18027" y="10929"/>
                  <a:pt x="18264" y="11014"/>
                  <a:pt x="18516" y="11119"/>
                </a:cubicBezTo>
                <a:cubicBezTo>
                  <a:pt x="18768" y="11223"/>
                  <a:pt x="18996" y="11328"/>
                  <a:pt x="19199" y="11438"/>
                </a:cubicBezTo>
                <a:cubicBezTo>
                  <a:pt x="19401" y="11545"/>
                  <a:pt x="19502" y="11647"/>
                  <a:pt x="19502" y="11745"/>
                </a:cubicBezTo>
                <a:cubicBezTo>
                  <a:pt x="19502" y="11954"/>
                  <a:pt x="19481" y="12166"/>
                  <a:pt x="19441" y="12384"/>
                </a:cubicBezTo>
                <a:cubicBezTo>
                  <a:pt x="19399" y="12598"/>
                  <a:pt x="19363" y="12810"/>
                  <a:pt x="19333" y="13016"/>
                </a:cubicBezTo>
                <a:cubicBezTo>
                  <a:pt x="19453" y="13123"/>
                  <a:pt x="19561" y="13245"/>
                  <a:pt x="19655" y="13375"/>
                </a:cubicBezTo>
                <a:cubicBezTo>
                  <a:pt x="19749" y="13505"/>
                  <a:pt x="19834" y="13643"/>
                  <a:pt x="19910" y="13787"/>
                </a:cubicBezTo>
                <a:cubicBezTo>
                  <a:pt x="20095" y="13770"/>
                  <a:pt x="20281" y="13756"/>
                  <a:pt x="20465" y="13747"/>
                </a:cubicBezTo>
                <a:cubicBezTo>
                  <a:pt x="20651" y="13736"/>
                  <a:pt x="20830" y="13733"/>
                  <a:pt x="21002" y="13733"/>
                </a:cubicBezTo>
                <a:cubicBezTo>
                  <a:pt x="21061" y="13733"/>
                  <a:pt x="21129" y="13852"/>
                  <a:pt x="21204" y="14092"/>
                </a:cubicBezTo>
                <a:cubicBezTo>
                  <a:pt x="21279" y="14332"/>
                  <a:pt x="21345" y="14603"/>
                  <a:pt x="21402" y="14911"/>
                </a:cubicBezTo>
                <a:cubicBezTo>
                  <a:pt x="21458" y="15216"/>
                  <a:pt x="21505" y="15507"/>
                  <a:pt x="21543" y="15783"/>
                </a:cubicBezTo>
                <a:cubicBezTo>
                  <a:pt x="21581" y="16057"/>
                  <a:pt x="21599" y="16235"/>
                  <a:pt x="21599" y="16314"/>
                </a:cubicBezTo>
                <a:cubicBezTo>
                  <a:pt x="21599" y="16371"/>
                  <a:pt x="21548" y="16427"/>
                  <a:pt x="21447" y="16492"/>
                </a:cubicBezTo>
                <a:cubicBezTo>
                  <a:pt x="21345" y="16554"/>
                  <a:pt x="21235" y="16613"/>
                  <a:pt x="21115" y="16664"/>
                </a:cubicBezTo>
                <a:cubicBezTo>
                  <a:pt x="20995" y="16721"/>
                  <a:pt x="20872" y="16777"/>
                  <a:pt x="20747" y="16836"/>
                </a:cubicBezTo>
                <a:cubicBezTo>
                  <a:pt x="20623" y="16893"/>
                  <a:pt x="20540" y="16932"/>
                  <a:pt x="20496" y="16952"/>
                </a:cubicBezTo>
                <a:moveTo>
                  <a:pt x="20514" y="6070"/>
                </a:moveTo>
                <a:cubicBezTo>
                  <a:pt x="20416" y="6395"/>
                  <a:pt x="20300" y="6677"/>
                  <a:pt x="20164" y="6920"/>
                </a:cubicBezTo>
                <a:cubicBezTo>
                  <a:pt x="20180" y="6959"/>
                  <a:pt x="20211" y="7030"/>
                  <a:pt x="20256" y="7143"/>
                </a:cubicBezTo>
                <a:cubicBezTo>
                  <a:pt x="20300" y="7256"/>
                  <a:pt x="20352" y="7377"/>
                  <a:pt x="20409" y="7510"/>
                </a:cubicBezTo>
                <a:cubicBezTo>
                  <a:pt x="20463" y="7640"/>
                  <a:pt x="20510" y="7758"/>
                  <a:pt x="20550" y="7869"/>
                </a:cubicBezTo>
                <a:cubicBezTo>
                  <a:pt x="20585" y="7973"/>
                  <a:pt x="20604" y="8041"/>
                  <a:pt x="20604" y="8058"/>
                </a:cubicBezTo>
                <a:cubicBezTo>
                  <a:pt x="20604" y="8111"/>
                  <a:pt x="20519" y="8216"/>
                  <a:pt x="20352" y="8374"/>
                </a:cubicBezTo>
                <a:cubicBezTo>
                  <a:pt x="20183" y="8532"/>
                  <a:pt x="19994" y="8696"/>
                  <a:pt x="19787" y="8862"/>
                </a:cubicBezTo>
                <a:cubicBezTo>
                  <a:pt x="19580" y="9026"/>
                  <a:pt x="19387" y="9176"/>
                  <a:pt x="19208" y="9309"/>
                </a:cubicBezTo>
                <a:cubicBezTo>
                  <a:pt x="19027" y="9439"/>
                  <a:pt x="18930" y="9501"/>
                  <a:pt x="18914" y="9501"/>
                </a:cubicBezTo>
                <a:cubicBezTo>
                  <a:pt x="18886" y="9501"/>
                  <a:pt x="18832" y="9461"/>
                  <a:pt x="18756" y="9374"/>
                </a:cubicBezTo>
                <a:cubicBezTo>
                  <a:pt x="18683" y="9289"/>
                  <a:pt x="18601" y="9193"/>
                  <a:pt x="18514" y="9083"/>
                </a:cubicBezTo>
                <a:cubicBezTo>
                  <a:pt x="18429" y="8978"/>
                  <a:pt x="18351" y="8871"/>
                  <a:pt x="18283" y="8766"/>
                </a:cubicBezTo>
                <a:cubicBezTo>
                  <a:pt x="18215" y="8662"/>
                  <a:pt x="18168" y="8591"/>
                  <a:pt x="18137" y="8558"/>
                </a:cubicBezTo>
                <a:cubicBezTo>
                  <a:pt x="18031" y="8592"/>
                  <a:pt x="17925" y="8620"/>
                  <a:pt x="17815" y="8639"/>
                </a:cubicBezTo>
                <a:cubicBezTo>
                  <a:pt x="17706" y="8656"/>
                  <a:pt x="17596" y="8656"/>
                  <a:pt x="17483" y="8639"/>
                </a:cubicBezTo>
                <a:lnTo>
                  <a:pt x="17325" y="8639"/>
                </a:lnTo>
                <a:cubicBezTo>
                  <a:pt x="17297" y="8673"/>
                  <a:pt x="17250" y="8750"/>
                  <a:pt x="17191" y="8862"/>
                </a:cubicBezTo>
                <a:cubicBezTo>
                  <a:pt x="17130" y="8973"/>
                  <a:pt x="17066" y="9091"/>
                  <a:pt x="16993" y="9213"/>
                </a:cubicBezTo>
                <a:cubicBezTo>
                  <a:pt x="16923" y="9334"/>
                  <a:pt x="16852" y="9441"/>
                  <a:pt x="16784" y="9529"/>
                </a:cubicBezTo>
                <a:cubicBezTo>
                  <a:pt x="16718" y="9619"/>
                  <a:pt x="16668" y="9667"/>
                  <a:pt x="16638" y="9667"/>
                </a:cubicBezTo>
                <a:cubicBezTo>
                  <a:pt x="16610" y="9667"/>
                  <a:pt x="16494" y="9616"/>
                  <a:pt x="16301" y="9518"/>
                </a:cubicBezTo>
                <a:cubicBezTo>
                  <a:pt x="16106" y="9419"/>
                  <a:pt x="15901" y="9303"/>
                  <a:pt x="15687" y="9170"/>
                </a:cubicBezTo>
                <a:cubicBezTo>
                  <a:pt x="15473" y="9040"/>
                  <a:pt x="15277" y="8911"/>
                  <a:pt x="15101" y="8778"/>
                </a:cubicBezTo>
                <a:cubicBezTo>
                  <a:pt x="14924" y="8648"/>
                  <a:pt x="14835" y="8558"/>
                  <a:pt x="14835" y="8504"/>
                </a:cubicBezTo>
                <a:cubicBezTo>
                  <a:pt x="14835" y="8487"/>
                  <a:pt x="14847" y="8419"/>
                  <a:pt x="14868" y="8306"/>
                </a:cubicBezTo>
                <a:cubicBezTo>
                  <a:pt x="14891" y="8194"/>
                  <a:pt x="14922" y="8072"/>
                  <a:pt x="14960" y="7948"/>
                </a:cubicBezTo>
                <a:cubicBezTo>
                  <a:pt x="14997" y="7824"/>
                  <a:pt x="15030" y="7699"/>
                  <a:pt x="15061" y="7578"/>
                </a:cubicBezTo>
                <a:cubicBezTo>
                  <a:pt x="15091" y="7457"/>
                  <a:pt x="15113" y="7378"/>
                  <a:pt x="15129" y="7341"/>
                </a:cubicBezTo>
                <a:cubicBezTo>
                  <a:pt x="14957" y="7132"/>
                  <a:pt x="14814" y="6866"/>
                  <a:pt x="14701" y="6542"/>
                </a:cubicBezTo>
                <a:cubicBezTo>
                  <a:pt x="14303" y="6525"/>
                  <a:pt x="14021" y="6502"/>
                  <a:pt x="13856" y="6474"/>
                </a:cubicBezTo>
                <a:cubicBezTo>
                  <a:pt x="13691" y="6446"/>
                  <a:pt x="13580" y="6364"/>
                  <a:pt x="13529" y="6226"/>
                </a:cubicBezTo>
                <a:cubicBezTo>
                  <a:pt x="13477" y="6084"/>
                  <a:pt x="13458" y="5850"/>
                  <a:pt x="13472" y="5514"/>
                </a:cubicBezTo>
                <a:cubicBezTo>
                  <a:pt x="13489" y="5184"/>
                  <a:pt x="13472" y="4692"/>
                  <a:pt x="13427" y="4043"/>
                </a:cubicBezTo>
                <a:cubicBezTo>
                  <a:pt x="13427" y="3986"/>
                  <a:pt x="13475" y="3936"/>
                  <a:pt x="13569" y="3879"/>
                </a:cubicBezTo>
                <a:cubicBezTo>
                  <a:pt x="13663" y="3826"/>
                  <a:pt x="13773" y="3783"/>
                  <a:pt x="13901" y="3744"/>
                </a:cubicBezTo>
                <a:cubicBezTo>
                  <a:pt x="14028" y="3707"/>
                  <a:pt x="14155" y="3684"/>
                  <a:pt x="14279" y="3665"/>
                </a:cubicBezTo>
                <a:cubicBezTo>
                  <a:pt x="14402" y="3645"/>
                  <a:pt x="14487" y="3628"/>
                  <a:pt x="14531" y="3608"/>
                </a:cubicBezTo>
                <a:cubicBezTo>
                  <a:pt x="14607" y="3314"/>
                  <a:pt x="14722" y="3024"/>
                  <a:pt x="14880" y="2747"/>
                </a:cubicBezTo>
                <a:cubicBezTo>
                  <a:pt x="14866" y="2707"/>
                  <a:pt x="14835" y="2631"/>
                  <a:pt x="14790" y="2510"/>
                </a:cubicBezTo>
                <a:cubicBezTo>
                  <a:pt x="14746" y="2388"/>
                  <a:pt x="14698" y="2264"/>
                  <a:pt x="14649" y="2137"/>
                </a:cubicBezTo>
                <a:cubicBezTo>
                  <a:pt x="14602" y="2010"/>
                  <a:pt x="14557" y="1897"/>
                  <a:pt x="14522" y="1792"/>
                </a:cubicBezTo>
                <a:cubicBezTo>
                  <a:pt x="14482" y="1688"/>
                  <a:pt x="14465" y="1617"/>
                  <a:pt x="14465" y="1584"/>
                </a:cubicBezTo>
                <a:cubicBezTo>
                  <a:pt x="14465" y="1527"/>
                  <a:pt x="14545" y="1428"/>
                  <a:pt x="14705" y="1279"/>
                </a:cubicBezTo>
                <a:cubicBezTo>
                  <a:pt x="14868" y="1129"/>
                  <a:pt x="15051" y="971"/>
                  <a:pt x="15259" y="804"/>
                </a:cubicBezTo>
                <a:cubicBezTo>
                  <a:pt x="15463" y="641"/>
                  <a:pt x="15659" y="491"/>
                  <a:pt x="15840" y="367"/>
                </a:cubicBezTo>
                <a:cubicBezTo>
                  <a:pt x="16019" y="240"/>
                  <a:pt x="16125" y="177"/>
                  <a:pt x="16153" y="177"/>
                </a:cubicBezTo>
                <a:cubicBezTo>
                  <a:pt x="16184" y="177"/>
                  <a:pt x="16233" y="217"/>
                  <a:pt x="16301" y="296"/>
                </a:cubicBezTo>
                <a:cubicBezTo>
                  <a:pt x="16367" y="381"/>
                  <a:pt x="16445" y="477"/>
                  <a:pt x="16532" y="590"/>
                </a:cubicBezTo>
                <a:cubicBezTo>
                  <a:pt x="16619" y="700"/>
                  <a:pt x="16694" y="807"/>
                  <a:pt x="16763" y="906"/>
                </a:cubicBezTo>
                <a:cubicBezTo>
                  <a:pt x="16829" y="1005"/>
                  <a:pt x="16878" y="1072"/>
                  <a:pt x="16909" y="1109"/>
                </a:cubicBezTo>
                <a:cubicBezTo>
                  <a:pt x="17014" y="1072"/>
                  <a:pt x="17123" y="1047"/>
                  <a:pt x="17229" y="1027"/>
                </a:cubicBezTo>
                <a:cubicBezTo>
                  <a:pt x="17339" y="1007"/>
                  <a:pt x="17450" y="1007"/>
                  <a:pt x="17563" y="1027"/>
                </a:cubicBezTo>
                <a:lnTo>
                  <a:pt x="17721" y="1027"/>
                </a:lnTo>
                <a:cubicBezTo>
                  <a:pt x="17735" y="993"/>
                  <a:pt x="17777" y="917"/>
                  <a:pt x="17845" y="804"/>
                </a:cubicBezTo>
                <a:cubicBezTo>
                  <a:pt x="17911" y="691"/>
                  <a:pt x="17982" y="578"/>
                  <a:pt x="18052" y="460"/>
                </a:cubicBezTo>
                <a:cubicBezTo>
                  <a:pt x="18123" y="341"/>
                  <a:pt x="18189" y="237"/>
                  <a:pt x="18250" y="144"/>
                </a:cubicBezTo>
                <a:cubicBezTo>
                  <a:pt x="18309" y="50"/>
                  <a:pt x="18354" y="0"/>
                  <a:pt x="18384" y="0"/>
                </a:cubicBezTo>
                <a:cubicBezTo>
                  <a:pt x="18415" y="0"/>
                  <a:pt x="18528" y="53"/>
                  <a:pt x="18723" y="158"/>
                </a:cubicBezTo>
                <a:cubicBezTo>
                  <a:pt x="18919" y="259"/>
                  <a:pt x="19128" y="378"/>
                  <a:pt x="19349" y="508"/>
                </a:cubicBezTo>
                <a:cubicBezTo>
                  <a:pt x="19571" y="641"/>
                  <a:pt x="19771" y="765"/>
                  <a:pt x="19945" y="892"/>
                </a:cubicBezTo>
                <a:cubicBezTo>
                  <a:pt x="20121" y="1019"/>
                  <a:pt x="20211" y="1109"/>
                  <a:pt x="20211" y="1163"/>
                </a:cubicBezTo>
                <a:cubicBezTo>
                  <a:pt x="20211" y="1200"/>
                  <a:pt x="20197" y="1267"/>
                  <a:pt x="20164" y="1372"/>
                </a:cubicBezTo>
                <a:cubicBezTo>
                  <a:pt x="20136" y="1476"/>
                  <a:pt x="20105" y="1592"/>
                  <a:pt x="20074" y="1725"/>
                </a:cubicBezTo>
                <a:cubicBezTo>
                  <a:pt x="20046" y="1855"/>
                  <a:pt x="20013" y="1979"/>
                  <a:pt x="19980" y="2095"/>
                </a:cubicBezTo>
                <a:cubicBezTo>
                  <a:pt x="19945" y="2213"/>
                  <a:pt x="19921" y="2289"/>
                  <a:pt x="19907" y="2326"/>
                </a:cubicBezTo>
                <a:cubicBezTo>
                  <a:pt x="20058" y="2552"/>
                  <a:pt x="20204" y="2823"/>
                  <a:pt x="20345" y="3136"/>
                </a:cubicBezTo>
                <a:cubicBezTo>
                  <a:pt x="20729" y="3173"/>
                  <a:pt x="21006" y="3204"/>
                  <a:pt x="21181" y="3232"/>
                </a:cubicBezTo>
                <a:cubicBezTo>
                  <a:pt x="21352" y="3258"/>
                  <a:pt x="21461" y="3342"/>
                  <a:pt x="21505" y="3478"/>
                </a:cubicBezTo>
                <a:cubicBezTo>
                  <a:pt x="21550" y="3622"/>
                  <a:pt x="21571" y="3853"/>
                  <a:pt x="21562" y="4184"/>
                </a:cubicBezTo>
                <a:cubicBezTo>
                  <a:pt x="21555" y="4514"/>
                  <a:pt x="21567" y="4994"/>
                  <a:pt x="21597" y="5624"/>
                </a:cubicBezTo>
                <a:cubicBezTo>
                  <a:pt x="21597" y="5677"/>
                  <a:pt x="21550" y="5734"/>
                  <a:pt x="21456" y="5793"/>
                </a:cubicBezTo>
                <a:cubicBezTo>
                  <a:pt x="21362" y="5850"/>
                  <a:pt x="21254" y="5901"/>
                  <a:pt x="21136" y="5934"/>
                </a:cubicBezTo>
                <a:cubicBezTo>
                  <a:pt x="21013" y="5971"/>
                  <a:pt x="20893" y="5999"/>
                  <a:pt x="20769" y="6016"/>
                </a:cubicBezTo>
                <a:cubicBezTo>
                  <a:pt x="20646" y="6033"/>
                  <a:pt x="20559" y="6053"/>
                  <a:pt x="20514" y="6070"/>
                </a:cubicBezTo>
                <a:moveTo>
                  <a:pt x="15739" y="16167"/>
                </a:moveTo>
                <a:cubicBezTo>
                  <a:pt x="15739" y="16610"/>
                  <a:pt x="15868" y="16991"/>
                  <a:pt x="16129" y="17316"/>
                </a:cubicBezTo>
                <a:cubicBezTo>
                  <a:pt x="16388" y="17641"/>
                  <a:pt x="16704" y="17802"/>
                  <a:pt x="17080" y="17802"/>
                </a:cubicBezTo>
                <a:cubicBezTo>
                  <a:pt x="17448" y="17802"/>
                  <a:pt x="17765" y="17646"/>
                  <a:pt x="18034" y="17339"/>
                </a:cubicBezTo>
                <a:cubicBezTo>
                  <a:pt x="18300" y="17022"/>
                  <a:pt x="18434" y="16638"/>
                  <a:pt x="18434" y="16167"/>
                </a:cubicBezTo>
                <a:cubicBezTo>
                  <a:pt x="18434" y="15724"/>
                  <a:pt x="18302" y="15351"/>
                  <a:pt x="18043" y="15037"/>
                </a:cubicBezTo>
                <a:cubicBezTo>
                  <a:pt x="17784" y="14727"/>
                  <a:pt x="17464" y="14572"/>
                  <a:pt x="17080" y="14572"/>
                </a:cubicBezTo>
                <a:cubicBezTo>
                  <a:pt x="16713" y="14572"/>
                  <a:pt x="16395" y="14727"/>
                  <a:pt x="16134" y="15037"/>
                </a:cubicBezTo>
                <a:cubicBezTo>
                  <a:pt x="15868" y="15351"/>
                  <a:pt x="15739" y="15724"/>
                  <a:pt x="15739" y="16167"/>
                </a:cubicBezTo>
                <a:moveTo>
                  <a:pt x="16292" y="4825"/>
                </a:moveTo>
                <a:cubicBezTo>
                  <a:pt x="16292" y="5248"/>
                  <a:pt x="16410" y="5601"/>
                  <a:pt x="16647" y="5886"/>
                </a:cubicBezTo>
                <a:cubicBezTo>
                  <a:pt x="16883" y="6172"/>
                  <a:pt x="17172" y="6313"/>
                  <a:pt x="17509" y="6313"/>
                </a:cubicBezTo>
                <a:cubicBezTo>
                  <a:pt x="17862" y="6313"/>
                  <a:pt x="18158" y="6172"/>
                  <a:pt x="18398" y="5886"/>
                </a:cubicBezTo>
                <a:cubicBezTo>
                  <a:pt x="18639" y="5601"/>
                  <a:pt x="18759" y="5257"/>
                  <a:pt x="18759" y="4853"/>
                </a:cubicBezTo>
                <a:cubicBezTo>
                  <a:pt x="18759" y="4429"/>
                  <a:pt x="18641" y="4074"/>
                  <a:pt x="18403" y="3786"/>
                </a:cubicBezTo>
                <a:cubicBezTo>
                  <a:pt x="18168" y="3495"/>
                  <a:pt x="17876" y="3354"/>
                  <a:pt x="17530" y="3354"/>
                </a:cubicBezTo>
                <a:cubicBezTo>
                  <a:pt x="17177" y="3354"/>
                  <a:pt x="16883" y="3495"/>
                  <a:pt x="16647" y="3786"/>
                </a:cubicBezTo>
                <a:cubicBezTo>
                  <a:pt x="16407" y="4074"/>
                  <a:pt x="16292" y="4421"/>
                  <a:pt x="16292" y="4825"/>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3" name="AutoShape 76">
            <a:extLst>
              <a:ext uri="{FF2B5EF4-FFF2-40B4-BE49-F238E27FC236}">
                <a16:creationId xmlns:a16="http://schemas.microsoft.com/office/drawing/2014/main" id="{8CDEE7D8-2B8A-D510-0A2B-DFAD386D5AFF}"/>
              </a:ext>
            </a:extLst>
          </p:cNvPr>
          <p:cNvSpPr>
            <a:spLocks noChangeAspect="1"/>
          </p:cNvSpPr>
          <p:nvPr userDrawn="1"/>
        </p:nvSpPr>
        <p:spPr bwMode="auto">
          <a:xfrm>
            <a:off x="6507764" y="3189297"/>
            <a:ext cx="597271" cy="47940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12292" y="0"/>
                  <a:pt x="13696" y="342"/>
                  <a:pt x="15004" y="1019"/>
                </a:cubicBezTo>
                <a:cubicBezTo>
                  <a:pt x="16315" y="1698"/>
                  <a:pt x="17460" y="2628"/>
                  <a:pt x="18441" y="3806"/>
                </a:cubicBezTo>
                <a:cubicBezTo>
                  <a:pt x="19420" y="4981"/>
                  <a:pt x="20193" y="6354"/>
                  <a:pt x="20755" y="7923"/>
                </a:cubicBezTo>
                <a:cubicBezTo>
                  <a:pt x="21319" y="9498"/>
                  <a:pt x="21599" y="11174"/>
                  <a:pt x="21599" y="12956"/>
                </a:cubicBezTo>
                <a:cubicBezTo>
                  <a:pt x="21599" y="13673"/>
                  <a:pt x="21544" y="14402"/>
                  <a:pt x="21434" y="15147"/>
                </a:cubicBezTo>
                <a:cubicBezTo>
                  <a:pt x="21321" y="15893"/>
                  <a:pt x="21160" y="16624"/>
                  <a:pt x="20952" y="17338"/>
                </a:cubicBezTo>
                <a:cubicBezTo>
                  <a:pt x="20740" y="18058"/>
                  <a:pt x="20476" y="18743"/>
                  <a:pt x="20162" y="19403"/>
                </a:cubicBezTo>
                <a:cubicBezTo>
                  <a:pt x="19850" y="20056"/>
                  <a:pt x="19497" y="20655"/>
                  <a:pt x="19106" y="21199"/>
                </a:cubicBezTo>
                <a:cubicBezTo>
                  <a:pt x="18931" y="21467"/>
                  <a:pt x="18703" y="21599"/>
                  <a:pt x="18429" y="21599"/>
                </a:cubicBezTo>
                <a:lnTo>
                  <a:pt x="3170" y="21599"/>
                </a:lnTo>
                <a:cubicBezTo>
                  <a:pt x="2887" y="21599"/>
                  <a:pt x="2661" y="21467"/>
                  <a:pt x="2493" y="21199"/>
                </a:cubicBezTo>
                <a:cubicBezTo>
                  <a:pt x="2088" y="20655"/>
                  <a:pt x="1730" y="20056"/>
                  <a:pt x="1425" y="19403"/>
                </a:cubicBezTo>
                <a:cubicBezTo>
                  <a:pt x="1118" y="18743"/>
                  <a:pt x="859" y="18058"/>
                  <a:pt x="650" y="17338"/>
                </a:cubicBezTo>
                <a:cubicBezTo>
                  <a:pt x="439" y="16624"/>
                  <a:pt x="278" y="15893"/>
                  <a:pt x="165" y="15147"/>
                </a:cubicBezTo>
                <a:cubicBezTo>
                  <a:pt x="55" y="14402"/>
                  <a:pt x="0" y="13673"/>
                  <a:pt x="0" y="12956"/>
                </a:cubicBezTo>
                <a:cubicBezTo>
                  <a:pt x="0" y="11162"/>
                  <a:pt x="280" y="9487"/>
                  <a:pt x="844" y="7917"/>
                </a:cubicBezTo>
                <a:cubicBezTo>
                  <a:pt x="1406" y="6354"/>
                  <a:pt x="2179" y="4981"/>
                  <a:pt x="3158" y="3806"/>
                </a:cubicBezTo>
                <a:cubicBezTo>
                  <a:pt x="4140" y="2628"/>
                  <a:pt x="5284" y="1698"/>
                  <a:pt x="6595" y="1019"/>
                </a:cubicBezTo>
                <a:cubicBezTo>
                  <a:pt x="7903" y="342"/>
                  <a:pt x="9304" y="0"/>
                  <a:pt x="10800" y="0"/>
                </a:cubicBezTo>
                <a:moveTo>
                  <a:pt x="3148" y="14571"/>
                </a:moveTo>
                <a:cubicBezTo>
                  <a:pt x="3523" y="14571"/>
                  <a:pt x="3842" y="14413"/>
                  <a:pt x="4101" y="14099"/>
                </a:cubicBezTo>
                <a:cubicBezTo>
                  <a:pt x="4360" y="13791"/>
                  <a:pt x="4492" y="13408"/>
                  <a:pt x="4492" y="12956"/>
                </a:cubicBezTo>
                <a:cubicBezTo>
                  <a:pt x="4492" y="12507"/>
                  <a:pt x="4360" y="12127"/>
                  <a:pt x="4096" y="11822"/>
                </a:cubicBezTo>
                <a:cubicBezTo>
                  <a:pt x="3832" y="11511"/>
                  <a:pt x="3516" y="11358"/>
                  <a:pt x="3148" y="11358"/>
                </a:cubicBezTo>
                <a:cubicBezTo>
                  <a:pt x="2772" y="11358"/>
                  <a:pt x="2455" y="11511"/>
                  <a:pt x="2200" y="11822"/>
                </a:cubicBezTo>
                <a:cubicBezTo>
                  <a:pt x="1943" y="12127"/>
                  <a:pt x="1814" y="12507"/>
                  <a:pt x="1814" y="12956"/>
                </a:cubicBezTo>
                <a:cubicBezTo>
                  <a:pt x="1814" y="13408"/>
                  <a:pt x="1943" y="13791"/>
                  <a:pt x="2200" y="14099"/>
                </a:cubicBezTo>
                <a:cubicBezTo>
                  <a:pt x="2455" y="14413"/>
                  <a:pt x="2772" y="14571"/>
                  <a:pt x="3148" y="14571"/>
                </a:cubicBezTo>
                <a:moveTo>
                  <a:pt x="5388" y="8105"/>
                </a:moveTo>
                <a:cubicBezTo>
                  <a:pt x="5762" y="8105"/>
                  <a:pt x="6086" y="7943"/>
                  <a:pt x="6352" y="7621"/>
                </a:cubicBezTo>
                <a:cubicBezTo>
                  <a:pt x="6621" y="7301"/>
                  <a:pt x="6756" y="6915"/>
                  <a:pt x="6756" y="6466"/>
                </a:cubicBezTo>
                <a:cubicBezTo>
                  <a:pt x="6756" y="6014"/>
                  <a:pt x="6621" y="5634"/>
                  <a:pt x="6352" y="5326"/>
                </a:cubicBezTo>
                <a:cubicBezTo>
                  <a:pt x="6086" y="5021"/>
                  <a:pt x="5762" y="4865"/>
                  <a:pt x="5388" y="4865"/>
                </a:cubicBezTo>
                <a:cubicBezTo>
                  <a:pt x="5028" y="4865"/>
                  <a:pt x="4713" y="5021"/>
                  <a:pt x="4447" y="5326"/>
                </a:cubicBezTo>
                <a:cubicBezTo>
                  <a:pt x="4178" y="5634"/>
                  <a:pt x="4043" y="6014"/>
                  <a:pt x="4043" y="6466"/>
                </a:cubicBezTo>
                <a:cubicBezTo>
                  <a:pt x="4043" y="6915"/>
                  <a:pt x="4178" y="7301"/>
                  <a:pt x="4447" y="7621"/>
                </a:cubicBezTo>
                <a:cubicBezTo>
                  <a:pt x="4713" y="7943"/>
                  <a:pt x="5028" y="8105"/>
                  <a:pt x="5388" y="8105"/>
                </a:cubicBezTo>
                <a:moveTo>
                  <a:pt x="11995" y="15052"/>
                </a:moveTo>
                <a:cubicBezTo>
                  <a:pt x="12026" y="14923"/>
                  <a:pt x="12084" y="14672"/>
                  <a:pt x="12172" y="14292"/>
                </a:cubicBezTo>
                <a:cubicBezTo>
                  <a:pt x="12261" y="13918"/>
                  <a:pt x="12364" y="13477"/>
                  <a:pt x="12482" y="12977"/>
                </a:cubicBezTo>
                <a:cubicBezTo>
                  <a:pt x="12599" y="12475"/>
                  <a:pt x="12727" y="11954"/>
                  <a:pt x="12861" y="11404"/>
                </a:cubicBezTo>
                <a:cubicBezTo>
                  <a:pt x="12996" y="10860"/>
                  <a:pt x="13113" y="10351"/>
                  <a:pt x="13212" y="9881"/>
                </a:cubicBezTo>
                <a:cubicBezTo>
                  <a:pt x="13312" y="9415"/>
                  <a:pt x="13399" y="9009"/>
                  <a:pt x="13471" y="8669"/>
                </a:cubicBezTo>
                <a:cubicBezTo>
                  <a:pt x="13543" y="8329"/>
                  <a:pt x="13579" y="8131"/>
                  <a:pt x="13579" y="8076"/>
                </a:cubicBezTo>
                <a:cubicBezTo>
                  <a:pt x="13579" y="7869"/>
                  <a:pt x="13512" y="7681"/>
                  <a:pt x="13379" y="7526"/>
                </a:cubicBezTo>
                <a:cubicBezTo>
                  <a:pt x="13245" y="7371"/>
                  <a:pt x="13089" y="7293"/>
                  <a:pt x="12914" y="7293"/>
                </a:cubicBezTo>
                <a:cubicBezTo>
                  <a:pt x="12760" y="7293"/>
                  <a:pt x="12624" y="7345"/>
                  <a:pt x="12506" y="7457"/>
                </a:cubicBezTo>
                <a:cubicBezTo>
                  <a:pt x="12386" y="7566"/>
                  <a:pt x="12304" y="7710"/>
                  <a:pt x="12259" y="7886"/>
                </a:cubicBezTo>
                <a:lnTo>
                  <a:pt x="10706" y="14598"/>
                </a:lnTo>
                <a:cubicBezTo>
                  <a:pt x="10408" y="14618"/>
                  <a:pt x="10125" y="14695"/>
                  <a:pt x="9856" y="14839"/>
                </a:cubicBezTo>
                <a:cubicBezTo>
                  <a:pt x="9590" y="14983"/>
                  <a:pt x="9357" y="15173"/>
                  <a:pt x="9163" y="15418"/>
                </a:cubicBezTo>
                <a:cubicBezTo>
                  <a:pt x="8966" y="15663"/>
                  <a:pt x="8812" y="15945"/>
                  <a:pt x="8702" y="16265"/>
                </a:cubicBezTo>
                <a:cubicBezTo>
                  <a:pt x="8591" y="16587"/>
                  <a:pt x="8536" y="16927"/>
                  <a:pt x="8536" y="17284"/>
                </a:cubicBezTo>
                <a:cubicBezTo>
                  <a:pt x="8536" y="18038"/>
                  <a:pt x="8755" y="18677"/>
                  <a:pt x="9196" y="19198"/>
                </a:cubicBezTo>
                <a:cubicBezTo>
                  <a:pt x="9638" y="19725"/>
                  <a:pt x="10171" y="19987"/>
                  <a:pt x="10799" y="19987"/>
                </a:cubicBezTo>
                <a:cubicBezTo>
                  <a:pt x="11428" y="19987"/>
                  <a:pt x="11961" y="19725"/>
                  <a:pt x="12403" y="19198"/>
                </a:cubicBezTo>
                <a:cubicBezTo>
                  <a:pt x="12842" y="18677"/>
                  <a:pt x="13063" y="18038"/>
                  <a:pt x="13063" y="17284"/>
                </a:cubicBezTo>
                <a:cubicBezTo>
                  <a:pt x="13063" y="16835"/>
                  <a:pt x="12962" y="16417"/>
                  <a:pt x="12763" y="16031"/>
                </a:cubicBezTo>
                <a:cubicBezTo>
                  <a:pt x="12564" y="15645"/>
                  <a:pt x="12307" y="15320"/>
                  <a:pt x="11995" y="15052"/>
                </a:cubicBezTo>
                <a:moveTo>
                  <a:pt x="10800" y="2176"/>
                </a:moveTo>
                <a:cubicBezTo>
                  <a:pt x="10425" y="2176"/>
                  <a:pt x="10106" y="2335"/>
                  <a:pt x="9847" y="2646"/>
                </a:cubicBezTo>
                <a:cubicBezTo>
                  <a:pt x="9585" y="2960"/>
                  <a:pt x="9456" y="3343"/>
                  <a:pt x="9456" y="3792"/>
                </a:cubicBezTo>
                <a:cubicBezTo>
                  <a:pt x="9456" y="4241"/>
                  <a:pt x="9585" y="4621"/>
                  <a:pt x="9847" y="4926"/>
                </a:cubicBezTo>
                <a:cubicBezTo>
                  <a:pt x="10106" y="5237"/>
                  <a:pt x="10425" y="5390"/>
                  <a:pt x="10800" y="5390"/>
                </a:cubicBezTo>
                <a:cubicBezTo>
                  <a:pt x="11174" y="5390"/>
                  <a:pt x="11493" y="5237"/>
                  <a:pt x="11752" y="4926"/>
                </a:cubicBezTo>
                <a:cubicBezTo>
                  <a:pt x="12014" y="4621"/>
                  <a:pt x="12144" y="4241"/>
                  <a:pt x="12144" y="3792"/>
                </a:cubicBezTo>
                <a:cubicBezTo>
                  <a:pt x="12144" y="3343"/>
                  <a:pt x="12014" y="2960"/>
                  <a:pt x="11752" y="2646"/>
                </a:cubicBezTo>
                <a:cubicBezTo>
                  <a:pt x="11493" y="2335"/>
                  <a:pt x="11174" y="2176"/>
                  <a:pt x="10800" y="2176"/>
                </a:cubicBezTo>
                <a:moveTo>
                  <a:pt x="14844" y="6466"/>
                </a:moveTo>
                <a:cubicBezTo>
                  <a:pt x="14844" y="6916"/>
                  <a:pt x="14978" y="7299"/>
                  <a:pt x="15247" y="7609"/>
                </a:cubicBezTo>
                <a:cubicBezTo>
                  <a:pt x="15513" y="7920"/>
                  <a:pt x="15835" y="8076"/>
                  <a:pt x="16212" y="8076"/>
                </a:cubicBezTo>
                <a:cubicBezTo>
                  <a:pt x="16586" y="8076"/>
                  <a:pt x="16903" y="7920"/>
                  <a:pt x="17164" y="7609"/>
                </a:cubicBezTo>
                <a:cubicBezTo>
                  <a:pt x="17426" y="7299"/>
                  <a:pt x="17555" y="6915"/>
                  <a:pt x="17555" y="6466"/>
                </a:cubicBezTo>
                <a:cubicBezTo>
                  <a:pt x="17555" y="6014"/>
                  <a:pt x="17426" y="5634"/>
                  <a:pt x="17164" y="5326"/>
                </a:cubicBezTo>
                <a:cubicBezTo>
                  <a:pt x="16903" y="5021"/>
                  <a:pt x="16586" y="4866"/>
                  <a:pt x="16212" y="4866"/>
                </a:cubicBezTo>
                <a:cubicBezTo>
                  <a:pt x="15835" y="4866"/>
                  <a:pt x="15513" y="5021"/>
                  <a:pt x="15247" y="5326"/>
                </a:cubicBezTo>
                <a:cubicBezTo>
                  <a:pt x="14978" y="5634"/>
                  <a:pt x="14844" y="6014"/>
                  <a:pt x="14844" y="6466"/>
                </a:cubicBezTo>
                <a:moveTo>
                  <a:pt x="18451" y="14571"/>
                </a:moveTo>
                <a:cubicBezTo>
                  <a:pt x="18828" y="14571"/>
                  <a:pt x="19142" y="14413"/>
                  <a:pt x="19399" y="14099"/>
                </a:cubicBezTo>
                <a:cubicBezTo>
                  <a:pt x="19656" y="13791"/>
                  <a:pt x="19785" y="13408"/>
                  <a:pt x="19785" y="12956"/>
                </a:cubicBezTo>
                <a:cubicBezTo>
                  <a:pt x="19785" y="12507"/>
                  <a:pt x="19655" y="12127"/>
                  <a:pt x="19399" y="11822"/>
                </a:cubicBezTo>
                <a:cubicBezTo>
                  <a:pt x="19142" y="11511"/>
                  <a:pt x="18828" y="11358"/>
                  <a:pt x="18451" y="11358"/>
                </a:cubicBezTo>
                <a:cubicBezTo>
                  <a:pt x="18076" y="11358"/>
                  <a:pt x="17757" y="11511"/>
                  <a:pt x="17498" y="11822"/>
                </a:cubicBezTo>
                <a:cubicBezTo>
                  <a:pt x="17236" y="12127"/>
                  <a:pt x="17107" y="12507"/>
                  <a:pt x="17107" y="12956"/>
                </a:cubicBezTo>
                <a:cubicBezTo>
                  <a:pt x="17107" y="13408"/>
                  <a:pt x="17236" y="13791"/>
                  <a:pt x="17498" y="14099"/>
                </a:cubicBezTo>
                <a:cubicBezTo>
                  <a:pt x="17757" y="14413"/>
                  <a:pt x="18076" y="14571"/>
                  <a:pt x="18451" y="14571"/>
                </a:cubicBezTo>
              </a:path>
            </a:pathLst>
          </a:custGeom>
          <a:solidFill>
            <a:schemeClr val="bg1"/>
          </a:solidFill>
          <a:ln>
            <a:noFill/>
          </a:ln>
          <a:effectLst/>
        </p:spPr>
        <p:txBody>
          <a:bodyPr lIns="57150" tIns="57150" rIns="57150" bIns="57150" numCol="1" anchor="ctr"/>
          <a:lstStyle/>
          <a:p>
            <a:pPr defTabSz="513792">
              <a:lnSpc>
                <a:spcPct val="100000"/>
              </a:lnSpc>
              <a:defRPr/>
            </a:pPr>
            <a:endParaRPr lang="es-ES" sz="315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15" name="Tijdelijke aanduiding voor tekst 22">
            <a:extLst>
              <a:ext uri="{FF2B5EF4-FFF2-40B4-BE49-F238E27FC236}">
                <a16:creationId xmlns:a16="http://schemas.microsoft.com/office/drawing/2014/main" id="{0DF5D1A1-5666-5CA5-36EC-F0159B839F6B}"/>
              </a:ext>
            </a:extLst>
          </p:cNvPr>
          <p:cNvSpPr>
            <a:spLocks noGrp="1"/>
          </p:cNvSpPr>
          <p:nvPr>
            <p:ph type="body" sz="quarter" idx="16" hasCustomPrompt="1"/>
          </p:nvPr>
        </p:nvSpPr>
        <p:spPr>
          <a:xfrm>
            <a:off x="1177498" y="4661524"/>
            <a:ext cx="1197542" cy="339099"/>
          </a:xfrm>
        </p:spPr>
        <p:txBody>
          <a:bodyPr numCol="1" anchor="ctr">
            <a:noAutofit/>
          </a:bodyPr>
          <a:lstStyle>
            <a:lvl1pPr algn="ctr">
              <a:lnSpc>
                <a:spcPct val="100000"/>
              </a:lnSpc>
              <a:defRPr sz="3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Step 1</a:t>
            </a:r>
            <a:endParaRPr lang="en-GB"/>
          </a:p>
        </p:txBody>
      </p:sp>
      <p:sp>
        <p:nvSpPr>
          <p:cNvPr id="16" name="Segnaposto testo 4">
            <a:extLst>
              <a:ext uri="{FF2B5EF4-FFF2-40B4-BE49-F238E27FC236}">
                <a16:creationId xmlns:a16="http://schemas.microsoft.com/office/drawing/2014/main" id="{990878B7-A5A9-9ACF-84A5-CED53C842BEF}"/>
              </a:ext>
            </a:extLst>
          </p:cNvPr>
          <p:cNvSpPr>
            <a:spLocks noGrp="1"/>
          </p:cNvSpPr>
          <p:nvPr>
            <p:ph type="body" sz="quarter" idx="42" hasCustomPrompt="1"/>
          </p:nvPr>
        </p:nvSpPr>
        <p:spPr>
          <a:xfrm>
            <a:off x="550864" y="5313749"/>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17" name="Segnaposto testo 4">
            <a:extLst>
              <a:ext uri="{FF2B5EF4-FFF2-40B4-BE49-F238E27FC236}">
                <a16:creationId xmlns:a16="http://schemas.microsoft.com/office/drawing/2014/main" id="{2971515B-FB3A-38FF-EA0C-6F424E5B18DA}"/>
              </a:ext>
            </a:extLst>
          </p:cNvPr>
          <p:cNvSpPr>
            <a:spLocks noGrp="1"/>
          </p:cNvSpPr>
          <p:nvPr>
            <p:ph type="body" sz="quarter" idx="43" hasCustomPrompt="1"/>
          </p:nvPr>
        </p:nvSpPr>
        <p:spPr>
          <a:xfrm>
            <a:off x="550864" y="5042683"/>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18" name="Tijdelijke aanduiding voor tekst 22">
            <a:extLst>
              <a:ext uri="{FF2B5EF4-FFF2-40B4-BE49-F238E27FC236}">
                <a16:creationId xmlns:a16="http://schemas.microsoft.com/office/drawing/2014/main" id="{354675CA-7AA7-20CE-7446-4E81ABF61659}"/>
              </a:ext>
            </a:extLst>
          </p:cNvPr>
          <p:cNvSpPr>
            <a:spLocks noGrp="1"/>
          </p:cNvSpPr>
          <p:nvPr>
            <p:ph type="body" sz="quarter" idx="44" hasCustomPrompt="1"/>
          </p:nvPr>
        </p:nvSpPr>
        <p:spPr>
          <a:xfrm>
            <a:off x="4174478" y="4661524"/>
            <a:ext cx="1197542" cy="339099"/>
          </a:xfrm>
        </p:spPr>
        <p:txBody>
          <a:bodyPr numCol="1" anchor="ctr">
            <a:noAutofit/>
          </a:bodyPr>
          <a:lstStyle>
            <a:lvl1pPr algn="ctr">
              <a:lnSpc>
                <a:spcPct val="100000"/>
              </a:lnSpc>
              <a:defRPr sz="3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Step 2</a:t>
            </a:r>
            <a:endParaRPr lang="en-GB"/>
          </a:p>
        </p:txBody>
      </p:sp>
      <p:sp>
        <p:nvSpPr>
          <p:cNvPr id="19" name="Segnaposto testo 4">
            <a:extLst>
              <a:ext uri="{FF2B5EF4-FFF2-40B4-BE49-F238E27FC236}">
                <a16:creationId xmlns:a16="http://schemas.microsoft.com/office/drawing/2014/main" id="{70550475-3DA0-9113-CA0E-02A50235E652}"/>
              </a:ext>
            </a:extLst>
          </p:cNvPr>
          <p:cNvSpPr>
            <a:spLocks noGrp="1"/>
          </p:cNvSpPr>
          <p:nvPr>
            <p:ph type="body" sz="quarter" idx="45" hasCustomPrompt="1"/>
          </p:nvPr>
        </p:nvSpPr>
        <p:spPr>
          <a:xfrm>
            <a:off x="3547844" y="5313749"/>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20" name="Segnaposto testo 4">
            <a:extLst>
              <a:ext uri="{FF2B5EF4-FFF2-40B4-BE49-F238E27FC236}">
                <a16:creationId xmlns:a16="http://schemas.microsoft.com/office/drawing/2014/main" id="{6170CB3F-BD1C-0A44-5518-2A427A6D9242}"/>
              </a:ext>
            </a:extLst>
          </p:cNvPr>
          <p:cNvSpPr>
            <a:spLocks noGrp="1"/>
          </p:cNvSpPr>
          <p:nvPr>
            <p:ph type="body" sz="quarter" idx="46" hasCustomPrompt="1"/>
          </p:nvPr>
        </p:nvSpPr>
        <p:spPr>
          <a:xfrm>
            <a:off x="3547844" y="5042683"/>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21" name="Tijdelijke aanduiding voor tekst 22">
            <a:extLst>
              <a:ext uri="{FF2B5EF4-FFF2-40B4-BE49-F238E27FC236}">
                <a16:creationId xmlns:a16="http://schemas.microsoft.com/office/drawing/2014/main" id="{D228CD88-8B03-25C4-4E77-6220B80B6B70}"/>
              </a:ext>
            </a:extLst>
          </p:cNvPr>
          <p:cNvSpPr>
            <a:spLocks noGrp="1"/>
          </p:cNvSpPr>
          <p:nvPr>
            <p:ph type="body" sz="quarter" idx="47" hasCustomPrompt="1"/>
          </p:nvPr>
        </p:nvSpPr>
        <p:spPr>
          <a:xfrm>
            <a:off x="7173676" y="4661524"/>
            <a:ext cx="1197542" cy="339099"/>
          </a:xfrm>
        </p:spPr>
        <p:txBody>
          <a:bodyPr numCol="1" anchor="ctr">
            <a:noAutofit/>
          </a:bodyPr>
          <a:lstStyle>
            <a:lvl1pPr algn="ctr">
              <a:lnSpc>
                <a:spcPct val="100000"/>
              </a:lnSpc>
              <a:defRPr sz="3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Step 3</a:t>
            </a:r>
            <a:endParaRPr lang="en-GB"/>
          </a:p>
        </p:txBody>
      </p:sp>
      <p:sp>
        <p:nvSpPr>
          <p:cNvPr id="22" name="Segnaposto testo 4">
            <a:extLst>
              <a:ext uri="{FF2B5EF4-FFF2-40B4-BE49-F238E27FC236}">
                <a16:creationId xmlns:a16="http://schemas.microsoft.com/office/drawing/2014/main" id="{89E8DDBA-E1BC-6F37-E29C-72C912CC356A}"/>
              </a:ext>
            </a:extLst>
          </p:cNvPr>
          <p:cNvSpPr>
            <a:spLocks noGrp="1"/>
          </p:cNvSpPr>
          <p:nvPr>
            <p:ph type="body" sz="quarter" idx="48" hasCustomPrompt="1"/>
          </p:nvPr>
        </p:nvSpPr>
        <p:spPr>
          <a:xfrm>
            <a:off x="6547042" y="5313749"/>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23" name="Segnaposto testo 4">
            <a:extLst>
              <a:ext uri="{FF2B5EF4-FFF2-40B4-BE49-F238E27FC236}">
                <a16:creationId xmlns:a16="http://schemas.microsoft.com/office/drawing/2014/main" id="{15E15717-4ED7-3063-DD25-35DC211B2AF9}"/>
              </a:ext>
            </a:extLst>
          </p:cNvPr>
          <p:cNvSpPr>
            <a:spLocks noGrp="1"/>
          </p:cNvSpPr>
          <p:nvPr>
            <p:ph type="body" sz="quarter" idx="49" hasCustomPrompt="1"/>
          </p:nvPr>
        </p:nvSpPr>
        <p:spPr>
          <a:xfrm>
            <a:off x="6547042" y="5042683"/>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24" name="Tijdelijke aanduiding voor tekst 22">
            <a:extLst>
              <a:ext uri="{FF2B5EF4-FFF2-40B4-BE49-F238E27FC236}">
                <a16:creationId xmlns:a16="http://schemas.microsoft.com/office/drawing/2014/main" id="{07542096-B516-A67B-C801-C8E7F29A9F54}"/>
              </a:ext>
            </a:extLst>
          </p:cNvPr>
          <p:cNvSpPr>
            <a:spLocks noGrp="1"/>
          </p:cNvSpPr>
          <p:nvPr>
            <p:ph type="body" sz="quarter" idx="50" hasCustomPrompt="1"/>
          </p:nvPr>
        </p:nvSpPr>
        <p:spPr>
          <a:xfrm>
            <a:off x="10218549" y="4661524"/>
            <a:ext cx="1197542" cy="339099"/>
          </a:xfrm>
        </p:spPr>
        <p:txBody>
          <a:bodyPr numCol="1" anchor="ctr">
            <a:noAutofit/>
          </a:bodyPr>
          <a:lstStyle>
            <a:lvl1pPr algn="ctr">
              <a:lnSpc>
                <a:spcPct val="100000"/>
              </a:lnSpc>
              <a:defRPr sz="3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Step 4</a:t>
            </a:r>
            <a:endParaRPr lang="en-GB"/>
          </a:p>
        </p:txBody>
      </p:sp>
      <p:sp>
        <p:nvSpPr>
          <p:cNvPr id="25" name="Segnaposto testo 4">
            <a:extLst>
              <a:ext uri="{FF2B5EF4-FFF2-40B4-BE49-F238E27FC236}">
                <a16:creationId xmlns:a16="http://schemas.microsoft.com/office/drawing/2014/main" id="{AC180B24-DEE5-EC8A-7EFF-7FD4FB3EB8C6}"/>
              </a:ext>
            </a:extLst>
          </p:cNvPr>
          <p:cNvSpPr>
            <a:spLocks noGrp="1"/>
          </p:cNvSpPr>
          <p:nvPr>
            <p:ph type="body" sz="quarter" idx="51" hasCustomPrompt="1"/>
          </p:nvPr>
        </p:nvSpPr>
        <p:spPr>
          <a:xfrm>
            <a:off x="9591915" y="5313749"/>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26" name="Segnaposto testo 4">
            <a:extLst>
              <a:ext uri="{FF2B5EF4-FFF2-40B4-BE49-F238E27FC236}">
                <a16:creationId xmlns:a16="http://schemas.microsoft.com/office/drawing/2014/main" id="{E341BBE8-EDD0-A83B-14F9-23B125934B91}"/>
              </a:ext>
            </a:extLst>
          </p:cNvPr>
          <p:cNvSpPr>
            <a:spLocks noGrp="1"/>
          </p:cNvSpPr>
          <p:nvPr>
            <p:ph type="body" sz="quarter" idx="52" hasCustomPrompt="1"/>
          </p:nvPr>
        </p:nvSpPr>
        <p:spPr>
          <a:xfrm>
            <a:off x="9591915" y="5042683"/>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Tree>
    <p:extLst>
      <p:ext uri="{BB962C8B-B14F-4D97-AF65-F5344CB8AC3E}">
        <p14:creationId xmlns:p14="http://schemas.microsoft.com/office/powerpoint/2010/main" val="3555138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slide_3">
    <p:spTree>
      <p:nvGrpSpPr>
        <p:cNvPr id="1" name=""/>
        <p:cNvGrpSpPr/>
        <p:nvPr/>
      </p:nvGrpSpPr>
      <p:grpSpPr>
        <a:xfrm>
          <a:off x="0" y="0"/>
          <a:ext cx="0" cy="0"/>
          <a:chOff x="0" y="0"/>
          <a:chExt cx="0" cy="0"/>
        </a:xfrm>
      </p:grpSpPr>
      <p:pic>
        <p:nvPicPr>
          <p:cNvPr id="2" name="Afbeelding 1" descr="Afbeelding met persoon, person, Snack, voedsel&#10;&#10;Door AI gegenereerde inhoud is mogelijk onjuist.">
            <a:extLst>
              <a:ext uri="{FF2B5EF4-FFF2-40B4-BE49-F238E27FC236}">
                <a16:creationId xmlns:a16="http://schemas.microsoft.com/office/drawing/2014/main" id="{C7B31CBF-BE76-32BF-DF7E-D7205C7397D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1"/>
            <a:ext cx="12192000" cy="6858000"/>
          </a:xfrm>
          <a:prstGeom prst="rect">
            <a:avLst/>
          </a:prstGeom>
        </p:spPr>
      </p:pic>
      <p:pic>
        <p:nvPicPr>
          <p:cNvPr id="7" name="Afbeelding 6" descr="Afbeelding met Lettertype, Graphics, logo, symbool&#10;&#10;Door AI gegenereerde inhoud is mogelijk onjuist.">
            <a:extLst>
              <a:ext uri="{FF2B5EF4-FFF2-40B4-BE49-F238E27FC236}">
                <a16:creationId xmlns:a16="http://schemas.microsoft.com/office/drawing/2014/main" id="{3937ACB7-8AD0-5AC0-8F9F-B6174B6CBE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1245" y="481263"/>
            <a:ext cx="1408029" cy="454610"/>
          </a:xfrm>
          <a:prstGeom prst="rect">
            <a:avLst/>
          </a:prstGeom>
        </p:spPr>
      </p:pic>
      <p:sp>
        <p:nvSpPr>
          <p:cNvPr id="8" name="Tekstvak 7">
            <a:extLst>
              <a:ext uri="{FF2B5EF4-FFF2-40B4-BE49-F238E27FC236}">
                <a16:creationId xmlns:a16="http://schemas.microsoft.com/office/drawing/2014/main" id="{AFD7257C-2BDA-1DDD-FE1E-856B7A439E79}"/>
              </a:ext>
            </a:extLst>
          </p:cNvPr>
          <p:cNvSpPr txBox="1"/>
          <p:nvPr userDrawn="1"/>
        </p:nvSpPr>
        <p:spPr>
          <a:xfrm>
            <a:off x="10814580" y="481263"/>
            <a:ext cx="776175" cy="841384"/>
          </a:xfrm>
          <a:prstGeom prst="rect">
            <a:avLst/>
          </a:prstGeom>
          <a:noFill/>
        </p:spPr>
        <p:txBody>
          <a:bodyPr wrap="none" rtlCol="0">
            <a:spAutoFit/>
          </a:bodyPr>
          <a:lstStyle/>
          <a:p>
            <a:pPr>
              <a:lnSpc>
                <a:spcPct val="80000"/>
              </a:lnSpc>
            </a:pPr>
            <a:r>
              <a:rPr lang="en-GB" sz="2000" b="1">
                <a:solidFill>
                  <a:schemeClr val="bg1"/>
                </a:solidFill>
                <a:latin typeface="Prometo" panose="020B0604030203060203" pitchFamily="34" charset="77"/>
              </a:rPr>
              <a:t>JOY</a:t>
            </a:r>
          </a:p>
          <a:p>
            <a:pPr>
              <a:lnSpc>
                <a:spcPct val="80000"/>
              </a:lnSpc>
            </a:pPr>
            <a:r>
              <a:rPr lang="en-GB" sz="2000" b="1">
                <a:solidFill>
                  <a:schemeClr val="bg1"/>
                </a:solidFill>
                <a:latin typeface="Prometo" panose="020B0604030203060203" pitchFamily="34" charset="77"/>
              </a:rPr>
              <a:t> TO</a:t>
            </a:r>
          </a:p>
          <a:p>
            <a:pPr>
              <a:lnSpc>
                <a:spcPct val="80000"/>
              </a:lnSpc>
            </a:pPr>
            <a:r>
              <a:rPr lang="en-GB" sz="2000" b="1" i="1">
                <a:solidFill>
                  <a:schemeClr val="bg1"/>
                </a:solidFill>
                <a:latin typeface="Prometo" panose="020B0604030203060203" pitchFamily="34" charset="77"/>
              </a:rPr>
              <a:t>    GO</a:t>
            </a:r>
          </a:p>
        </p:txBody>
      </p:sp>
      <p:sp>
        <p:nvSpPr>
          <p:cNvPr id="9" name="Titel 1">
            <a:extLst>
              <a:ext uri="{FF2B5EF4-FFF2-40B4-BE49-F238E27FC236}">
                <a16:creationId xmlns:a16="http://schemas.microsoft.com/office/drawing/2014/main" id="{DE943C8A-ADEB-FC97-C892-EF4B7FBB83EC}"/>
              </a:ext>
            </a:extLst>
          </p:cNvPr>
          <p:cNvSpPr>
            <a:spLocks noGrp="1"/>
          </p:cNvSpPr>
          <p:nvPr>
            <p:ph type="ctrTitle" hasCustomPrompt="1"/>
          </p:nvPr>
        </p:nvSpPr>
        <p:spPr>
          <a:xfrm>
            <a:off x="-228592" y="5116848"/>
            <a:ext cx="12825663" cy="2387600"/>
          </a:xfrm>
          <a:prstGeom prst="rect">
            <a:avLst/>
          </a:prstGeom>
        </p:spPr>
        <p:txBody>
          <a:bodyPr anchor="b"/>
          <a:lstStyle>
            <a:lvl1pPr algn="l">
              <a:lnSpc>
                <a:spcPct val="80000"/>
              </a:lnSpc>
              <a:defRPr sz="17200" b="1">
                <a:solidFill>
                  <a:schemeClr val="bg1">
                    <a:alpha val="50000"/>
                  </a:schemeClr>
                </a:solidFill>
                <a:latin typeface="Prometo" panose="020B0604030203060203" pitchFamily="34" charset="77"/>
              </a:defRPr>
            </a:lvl1pPr>
          </a:lstStyle>
          <a:p>
            <a:r>
              <a:rPr lang="nl-NL"/>
              <a:t>DIVIDER SLIDE</a:t>
            </a:r>
            <a:endParaRPr lang="en-GB"/>
          </a:p>
        </p:txBody>
      </p:sp>
      <p:sp>
        <p:nvSpPr>
          <p:cNvPr id="10" name="Slide Number Placeholder 5">
            <a:extLst>
              <a:ext uri="{FF2B5EF4-FFF2-40B4-BE49-F238E27FC236}">
                <a16:creationId xmlns:a16="http://schemas.microsoft.com/office/drawing/2014/main" id="{F5DD3EDF-292C-47E6-618E-6355062E0D5B}"/>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bg1"/>
                </a:solidFill>
                <a:latin typeface="Arial" panose="020B0604020202020204" pitchFamily="34" charset="0"/>
              </a:defRPr>
            </a:lvl1pPr>
          </a:lstStyle>
          <a:p>
            <a:fld id="{015F0CDB-A812-4850-A270-8696C5F0BFD2}" type="slidenum">
              <a:rPr lang="en-GB" smtClean="0"/>
              <a:pPr/>
              <a:t>‹#›</a:t>
            </a:fld>
            <a:endParaRPr lang="en-GB"/>
          </a:p>
        </p:txBody>
      </p:sp>
      <p:sp>
        <p:nvSpPr>
          <p:cNvPr id="11" name="Segnaposto piè di pagina 7">
            <a:extLst>
              <a:ext uri="{FF2B5EF4-FFF2-40B4-BE49-F238E27FC236}">
                <a16:creationId xmlns:a16="http://schemas.microsoft.com/office/drawing/2014/main" id="{90A143B2-1B68-EA20-7E36-BE656D65DF73}"/>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bg1"/>
                </a:solidFill>
              </a:defRPr>
            </a:lvl1pPr>
          </a:lstStyle>
          <a:p>
            <a:r>
              <a:rPr lang="en-US" sz="800">
                <a:ea typeface="Helvetica Neue Light" panose="02000403000000020004" pitchFamily="2" charset="0"/>
              </a:rPr>
              <a:t>©Selecta</a:t>
            </a:r>
          </a:p>
        </p:txBody>
      </p:sp>
    </p:spTree>
    <p:extLst>
      <p:ext uri="{BB962C8B-B14F-4D97-AF65-F5344CB8AC3E}">
        <p14:creationId xmlns:p14="http://schemas.microsoft.com/office/powerpoint/2010/main" val="7685375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32" name="Groep 31">
            <a:extLst>
              <a:ext uri="{FF2B5EF4-FFF2-40B4-BE49-F238E27FC236}">
                <a16:creationId xmlns:a16="http://schemas.microsoft.com/office/drawing/2014/main" id="{2DF02987-14F1-B597-F436-237042324818}"/>
              </a:ext>
            </a:extLst>
          </p:cNvPr>
          <p:cNvGrpSpPr>
            <a:grpSpLocks noChangeAspect="1"/>
          </p:cNvGrpSpPr>
          <p:nvPr userDrawn="1"/>
        </p:nvGrpSpPr>
        <p:grpSpPr>
          <a:xfrm>
            <a:off x="3623654" y="1376363"/>
            <a:ext cx="4944691" cy="4977944"/>
            <a:chOff x="3400337" y="1376363"/>
            <a:chExt cx="5458598" cy="5495306"/>
          </a:xfrm>
        </p:grpSpPr>
        <p:sp>
          <p:nvSpPr>
            <p:cNvPr id="5" name="Freeform 69">
              <a:extLst>
                <a:ext uri="{FF2B5EF4-FFF2-40B4-BE49-F238E27FC236}">
                  <a16:creationId xmlns:a16="http://schemas.microsoft.com/office/drawing/2014/main" id="{C66CA558-B952-A50B-D797-EA9CE5F3372D}"/>
                </a:ext>
              </a:extLst>
            </p:cNvPr>
            <p:cNvSpPr/>
            <p:nvPr userDrawn="1"/>
          </p:nvSpPr>
          <p:spPr>
            <a:xfrm>
              <a:off x="4126089" y="2128946"/>
              <a:ext cx="3939821" cy="3939821"/>
            </a:xfrm>
            <a:custGeom>
              <a:avLst/>
              <a:gdLst>
                <a:gd name="connsiteX0" fmla="*/ 274935 w 3939821"/>
                <a:gd name="connsiteY0" fmla="*/ 984128 h 3939821"/>
                <a:gd name="connsiteX1" fmla="*/ 31989 w 3939821"/>
                <a:gd name="connsiteY1" fmla="*/ 1056871 h 3939821"/>
                <a:gd name="connsiteX2" fmla="*/ 1 w 3939821"/>
                <a:gd name="connsiteY2" fmla="*/ 1083002 h 3939821"/>
                <a:gd name="connsiteX3" fmla="*/ 1 w 3939821"/>
                <a:gd name="connsiteY3" fmla="*/ 2862102 h 3939821"/>
                <a:gd name="connsiteX4" fmla="*/ 25523 w 3939821"/>
                <a:gd name="connsiteY4" fmla="*/ 2882951 h 3939821"/>
                <a:gd name="connsiteX5" fmla="*/ 580679 w 3939821"/>
                <a:gd name="connsiteY5" fmla="*/ 2826373 h 3939821"/>
                <a:gd name="connsiteX6" fmla="*/ 1128165 w 3939821"/>
                <a:gd name="connsiteY6" fmla="*/ 2278887 h 3939821"/>
                <a:gd name="connsiteX7" fmla="*/ 1128165 w 3939821"/>
                <a:gd name="connsiteY7" fmla="*/ 1654469 h 3939821"/>
                <a:gd name="connsiteX8" fmla="*/ 587145 w 3939821"/>
                <a:gd name="connsiteY8" fmla="*/ 1113449 h 3939821"/>
                <a:gd name="connsiteX9" fmla="*/ 274935 w 3939821"/>
                <a:gd name="connsiteY9" fmla="*/ 984128 h 3939821"/>
                <a:gd name="connsiteX10" fmla="*/ 1077721 w 3939821"/>
                <a:gd name="connsiteY10" fmla="*/ 1 h 3939821"/>
                <a:gd name="connsiteX11" fmla="*/ 1056871 w 3939821"/>
                <a:gd name="connsiteY11" fmla="*/ 25523 h 3939821"/>
                <a:gd name="connsiteX12" fmla="*/ 1113449 w 3939821"/>
                <a:gd name="connsiteY12" fmla="*/ 580678 h 3939821"/>
                <a:gd name="connsiteX13" fmla="*/ 1660935 w 3939821"/>
                <a:gd name="connsiteY13" fmla="*/ 1128165 h 3939821"/>
                <a:gd name="connsiteX14" fmla="*/ 2285353 w 3939821"/>
                <a:gd name="connsiteY14" fmla="*/ 1128165 h 3939821"/>
                <a:gd name="connsiteX15" fmla="*/ 2826373 w 3939821"/>
                <a:gd name="connsiteY15" fmla="*/ 587145 h 3939821"/>
                <a:gd name="connsiteX16" fmla="*/ 2955695 w 3939821"/>
                <a:gd name="connsiteY16" fmla="*/ 274935 h 3939821"/>
                <a:gd name="connsiteX17" fmla="*/ 2882951 w 3939821"/>
                <a:gd name="connsiteY17" fmla="*/ 31989 h 3939821"/>
                <a:gd name="connsiteX18" fmla="*/ 2856821 w 3939821"/>
                <a:gd name="connsiteY18" fmla="*/ 1 h 3939821"/>
                <a:gd name="connsiteX19" fmla="*/ 0 w 3939821"/>
                <a:gd name="connsiteY19" fmla="*/ 0 h 3939821"/>
                <a:gd name="connsiteX20" fmla="*/ 3939821 w 3939821"/>
                <a:gd name="connsiteY20" fmla="*/ 0 h 3939821"/>
                <a:gd name="connsiteX21" fmla="*/ 3939821 w 3939821"/>
                <a:gd name="connsiteY21" fmla="*/ 1077720 h 3939821"/>
                <a:gd name="connsiteX22" fmla="*/ 3914299 w 3939821"/>
                <a:gd name="connsiteY22" fmla="*/ 1056871 h 3939821"/>
                <a:gd name="connsiteX23" fmla="*/ 3703111 w 3939821"/>
                <a:gd name="connsiteY23" fmla="*/ 985265 h 3939821"/>
                <a:gd name="connsiteX24" fmla="*/ 3359143 w 3939821"/>
                <a:gd name="connsiteY24" fmla="*/ 1113449 h 3939821"/>
                <a:gd name="connsiteX25" fmla="*/ 2811657 w 3939821"/>
                <a:gd name="connsiteY25" fmla="*/ 1660935 h 3939821"/>
                <a:gd name="connsiteX26" fmla="*/ 2811657 w 3939821"/>
                <a:gd name="connsiteY26" fmla="*/ 2285353 h 3939821"/>
                <a:gd name="connsiteX27" fmla="*/ 3352677 w 3939821"/>
                <a:gd name="connsiteY27" fmla="*/ 2826373 h 3939821"/>
                <a:gd name="connsiteX28" fmla="*/ 3664887 w 3939821"/>
                <a:gd name="connsiteY28" fmla="*/ 2955694 h 3939821"/>
                <a:gd name="connsiteX29" fmla="*/ 3907833 w 3939821"/>
                <a:gd name="connsiteY29" fmla="*/ 2882951 h 3939821"/>
                <a:gd name="connsiteX30" fmla="*/ 3939821 w 3939821"/>
                <a:gd name="connsiteY30" fmla="*/ 2856820 h 3939821"/>
                <a:gd name="connsiteX31" fmla="*/ 3939821 w 3939821"/>
                <a:gd name="connsiteY31" fmla="*/ 3939821 h 3939821"/>
                <a:gd name="connsiteX32" fmla="*/ 2862103 w 3939821"/>
                <a:gd name="connsiteY32" fmla="*/ 3939821 h 3939821"/>
                <a:gd name="connsiteX33" fmla="*/ 2882951 w 3939821"/>
                <a:gd name="connsiteY33" fmla="*/ 3914299 h 3939821"/>
                <a:gd name="connsiteX34" fmla="*/ 2826373 w 3939821"/>
                <a:gd name="connsiteY34" fmla="*/ 3359144 h 3939821"/>
                <a:gd name="connsiteX35" fmla="*/ 2278887 w 3939821"/>
                <a:gd name="connsiteY35" fmla="*/ 2811658 h 3939821"/>
                <a:gd name="connsiteX36" fmla="*/ 1966679 w 3939821"/>
                <a:gd name="connsiteY36" fmla="*/ 2682337 h 3939821"/>
                <a:gd name="connsiteX37" fmla="*/ 1654469 w 3939821"/>
                <a:gd name="connsiteY37" fmla="*/ 2811658 h 3939821"/>
                <a:gd name="connsiteX38" fmla="*/ 1113449 w 3939821"/>
                <a:gd name="connsiteY38" fmla="*/ 3352678 h 3939821"/>
                <a:gd name="connsiteX39" fmla="*/ 984129 w 3939821"/>
                <a:gd name="connsiteY39" fmla="*/ 3664887 h 3939821"/>
                <a:gd name="connsiteX40" fmla="*/ 1056871 w 3939821"/>
                <a:gd name="connsiteY40" fmla="*/ 3907833 h 3939821"/>
                <a:gd name="connsiteX41" fmla="*/ 1083003 w 3939821"/>
                <a:gd name="connsiteY41" fmla="*/ 3939821 h 3939821"/>
                <a:gd name="connsiteX42" fmla="*/ 0 w 3939821"/>
                <a:gd name="connsiteY42" fmla="*/ 3939821 h 393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939821" h="3939821">
                  <a:moveTo>
                    <a:pt x="274935" y="984128"/>
                  </a:moveTo>
                  <a:cubicBezTo>
                    <a:pt x="190187" y="984128"/>
                    <a:pt x="105439" y="1008375"/>
                    <a:pt x="31989" y="1056871"/>
                  </a:cubicBezTo>
                  <a:lnTo>
                    <a:pt x="1" y="1083002"/>
                  </a:lnTo>
                  <a:lnTo>
                    <a:pt x="1" y="2862102"/>
                  </a:lnTo>
                  <a:lnTo>
                    <a:pt x="25523" y="2882951"/>
                  </a:lnTo>
                  <a:cubicBezTo>
                    <a:pt x="196905" y="2996107"/>
                    <a:pt x="429803" y="2977248"/>
                    <a:pt x="580679" y="2826373"/>
                  </a:cubicBezTo>
                  <a:lnTo>
                    <a:pt x="1128165" y="2278887"/>
                  </a:lnTo>
                  <a:cubicBezTo>
                    <a:pt x="1300593" y="2106459"/>
                    <a:pt x="1300593" y="1826898"/>
                    <a:pt x="1128165" y="1654469"/>
                  </a:cubicBezTo>
                  <a:lnTo>
                    <a:pt x="587145" y="1113449"/>
                  </a:lnTo>
                  <a:cubicBezTo>
                    <a:pt x="500931" y="1027236"/>
                    <a:pt x="387933" y="984128"/>
                    <a:pt x="274935" y="984128"/>
                  </a:cubicBezTo>
                  <a:close/>
                  <a:moveTo>
                    <a:pt x="1077721" y="1"/>
                  </a:moveTo>
                  <a:lnTo>
                    <a:pt x="1056871" y="25523"/>
                  </a:lnTo>
                  <a:cubicBezTo>
                    <a:pt x="943715" y="196905"/>
                    <a:pt x="962575" y="429802"/>
                    <a:pt x="1113449" y="580678"/>
                  </a:cubicBezTo>
                  <a:lnTo>
                    <a:pt x="1660935" y="1128165"/>
                  </a:lnTo>
                  <a:cubicBezTo>
                    <a:pt x="1833363" y="1300593"/>
                    <a:pt x="2112925" y="1300593"/>
                    <a:pt x="2285353" y="1128165"/>
                  </a:cubicBezTo>
                  <a:lnTo>
                    <a:pt x="2826373" y="587145"/>
                  </a:lnTo>
                  <a:cubicBezTo>
                    <a:pt x="2912587" y="500931"/>
                    <a:pt x="2955695" y="387933"/>
                    <a:pt x="2955695" y="274935"/>
                  </a:cubicBezTo>
                  <a:cubicBezTo>
                    <a:pt x="2955695" y="190187"/>
                    <a:pt x="2931447" y="105439"/>
                    <a:pt x="2882951" y="31989"/>
                  </a:cubicBezTo>
                  <a:lnTo>
                    <a:pt x="2856821" y="1"/>
                  </a:lnTo>
                  <a:close/>
                  <a:moveTo>
                    <a:pt x="0" y="0"/>
                  </a:moveTo>
                  <a:lnTo>
                    <a:pt x="3939821" y="0"/>
                  </a:lnTo>
                  <a:lnTo>
                    <a:pt x="3939821" y="1077720"/>
                  </a:lnTo>
                  <a:lnTo>
                    <a:pt x="3914299" y="1056871"/>
                  </a:lnTo>
                  <a:cubicBezTo>
                    <a:pt x="3850031" y="1014438"/>
                    <a:pt x="3777111" y="990569"/>
                    <a:pt x="3703111" y="985265"/>
                  </a:cubicBezTo>
                  <a:cubicBezTo>
                    <a:pt x="3579777" y="976424"/>
                    <a:pt x="3453441" y="1019152"/>
                    <a:pt x="3359143" y="1113449"/>
                  </a:cubicBezTo>
                  <a:lnTo>
                    <a:pt x="2811657" y="1660935"/>
                  </a:lnTo>
                  <a:cubicBezTo>
                    <a:pt x="2639229" y="1833364"/>
                    <a:pt x="2639229" y="2112925"/>
                    <a:pt x="2811657" y="2285353"/>
                  </a:cubicBezTo>
                  <a:lnTo>
                    <a:pt x="3352677" y="2826373"/>
                  </a:lnTo>
                  <a:cubicBezTo>
                    <a:pt x="3438891" y="2912587"/>
                    <a:pt x="3551889" y="2955694"/>
                    <a:pt x="3664887" y="2955694"/>
                  </a:cubicBezTo>
                  <a:cubicBezTo>
                    <a:pt x="3749635" y="2955694"/>
                    <a:pt x="3834383" y="2931447"/>
                    <a:pt x="3907833" y="2882951"/>
                  </a:cubicBezTo>
                  <a:lnTo>
                    <a:pt x="3939821" y="2856820"/>
                  </a:lnTo>
                  <a:lnTo>
                    <a:pt x="3939821" y="3939821"/>
                  </a:lnTo>
                  <a:lnTo>
                    <a:pt x="2862103" y="3939821"/>
                  </a:lnTo>
                  <a:lnTo>
                    <a:pt x="2882951" y="3914299"/>
                  </a:lnTo>
                  <a:cubicBezTo>
                    <a:pt x="2996107" y="3742918"/>
                    <a:pt x="2977249" y="3510020"/>
                    <a:pt x="2826373" y="3359144"/>
                  </a:cubicBezTo>
                  <a:lnTo>
                    <a:pt x="2278887" y="2811658"/>
                  </a:lnTo>
                  <a:cubicBezTo>
                    <a:pt x="2192673" y="2725444"/>
                    <a:pt x="2079677" y="2682337"/>
                    <a:pt x="1966679" y="2682337"/>
                  </a:cubicBezTo>
                  <a:cubicBezTo>
                    <a:pt x="1853681" y="2682337"/>
                    <a:pt x="1740683" y="2725444"/>
                    <a:pt x="1654469" y="2811658"/>
                  </a:cubicBezTo>
                  <a:lnTo>
                    <a:pt x="1113449" y="3352678"/>
                  </a:lnTo>
                  <a:cubicBezTo>
                    <a:pt x="1027235" y="3438892"/>
                    <a:pt x="984129" y="3551889"/>
                    <a:pt x="984129" y="3664887"/>
                  </a:cubicBezTo>
                  <a:cubicBezTo>
                    <a:pt x="984129" y="3749635"/>
                    <a:pt x="1008377" y="3834383"/>
                    <a:pt x="1056871" y="3907833"/>
                  </a:cubicBezTo>
                  <a:lnTo>
                    <a:pt x="1083003" y="3939821"/>
                  </a:lnTo>
                  <a:lnTo>
                    <a:pt x="0" y="3939821"/>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sz="4000">
                <a:latin typeface="Fave Script Bold Pro" pitchFamily="2" charset="77"/>
                <a:cs typeface="Arial" panose="020B0604020202020204" pitchFamily="34" charset="0"/>
              </a:endParaRPr>
            </a:p>
          </p:txBody>
        </p:sp>
        <p:sp>
          <p:nvSpPr>
            <p:cNvPr id="6" name="Oval 3">
              <a:extLst>
                <a:ext uri="{FF2B5EF4-FFF2-40B4-BE49-F238E27FC236}">
                  <a16:creationId xmlns:a16="http://schemas.microsoft.com/office/drawing/2014/main" id="{CC3D41EF-BE8E-B13D-5BDA-1B41F8B86AF7}"/>
                </a:ext>
              </a:extLst>
            </p:cNvPr>
            <p:cNvSpPr/>
            <p:nvPr userDrawn="1"/>
          </p:nvSpPr>
          <p:spPr>
            <a:xfrm>
              <a:off x="8191501" y="1376363"/>
              <a:ext cx="667434" cy="66743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00">
                <a:latin typeface="Fave Script Bold Pro" pitchFamily="2" charset="77"/>
                <a:cs typeface="Arial" panose="020B0604020202020204" pitchFamily="34" charset="0"/>
              </a:endParaRPr>
            </a:p>
          </p:txBody>
        </p:sp>
        <p:sp>
          <p:nvSpPr>
            <p:cNvPr id="7" name="TextBox 4">
              <a:extLst>
                <a:ext uri="{FF2B5EF4-FFF2-40B4-BE49-F238E27FC236}">
                  <a16:creationId xmlns:a16="http://schemas.microsoft.com/office/drawing/2014/main" id="{F985543F-F01C-8C47-BFED-054BF55C0666}"/>
                </a:ext>
              </a:extLst>
            </p:cNvPr>
            <p:cNvSpPr txBox="1"/>
            <p:nvPr userDrawn="1"/>
          </p:nvSpPr>
          <p:spPr>
            <a:xfrm>
              <a:off x="8344725" y="1414589"/>
              <a:ext cx="345073" cy="679528"/>
            </a:xfrm>
            <a:prstGeom prst="rect">
              <a:avLst/>
            </a:prstGeom>
            <a:noFill/>
          </p:spPr>
          <p:txBody>
            <a:bodyPr wrap="none" lIns="0" tIns="0" rIns="0" bIns="0" numCol="1" rtlCol="0">
              <a:spAutoFit/>
            </a:bodyPr>
            <a:lstStyle/>
            <a:p>
              <a:pPr algn="ctr">
                <a:lnSpc>
                  <a:spcPct val="100000"/>
                </a:lnSpc>
              </a:pPr>
              <a:r>
                <a:rPr lang="en-US" sz="4000" b="1">
                  <a:solidFill>
                    <a:schemeClr val="bg1"/>
                  </a:solidFill>
                  <a:latin typeface="Fave Script Bold Pro" pitchFamily="2" charset="77"/>
                  <a:cs typeface="Arial" panose="020B0604020202020204" pitchFamily="34" charset="0"/>
                </a:rPr>
                <a:t>02</a:t>
              </a:r>
            </a:p>
          </p:txBody>
        </p:sp>
        <p:sp>
          <p:nvSpPr>
            <p:cNvPr id="8" name="Oval 6">
              <a:extLst>
                <a:ext uri="{FF2B5EF4-FFF2-40B4-BE49-F238E27FC236}">
                  <a16:creationId xmlns:a16="http://schemas.microsoft.com/office/drawing/2014/main" id="{61DAEC1E-9F05-E27A-EFB0-220AB3352894}"/>
                </a:ext>
              </a:extLst>
            </p:cNvPr>
            <p:cNvSpPr/>
            <p:nvPr userDrawn="1"/>
          </p:nvSpPr>
          <p:spPr>
            <a:xfrm>
              <a:off x="8191501" y="6153915"/>
              <a:ext cx="667434" cy="66743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00">
                <a:latin typeface="Fave Script Bold Pro" pitchFamily="2" charset="77"/>
                <a:cs typeface="Arial" panose="020B0604020202020204" pitchFamily="34" charset="0"/>
              </a:endParaRPr>
            </a:p>
          </p:txBody>
        </p:sp>
        <p:sp>
          <p:nvSpPr>
            <p:cNvPr id="9" name="TextBox 7">
              <a:extLst>
                <a:ext uri="{FF2B5EF4-FFF2-40B4-BE49-F238E27FC236}">
                  <a16:creationId xmlns:a16="http://schemas.microsoft.com/office/drawing/2014/main" id="{F1EAE59F-74F3-AF19-0F55-444A1FF6E994}"/>
                </a:ext>
              </a:extLst>
            </p:cNvPr>
            <p:cNvSpPr txBox="1"/>
            <p:nvPr userDrawn="1"/>
          </p:nvSpPr>
          <p:spPr>
            <a:xfrm>
              <a:off x="8346487" y="6192141"/>
              <a:ext cx="357461" cy="679528"/>
            </a:xfrm>
            <a:prstGeom prst="rect">
              <a:avLst/>
            </a:prstGeom>
            <a:noFill/>
          </p:spPr>
          <p:txBody>
            <a:bodyPr wrap="none" lIns="0" tIns="0" rIns="0" bIns="0" numCol="1" rtlCol="0">
              <a:spAutoFit/>
            </a:bodyPr>
            <a:lstStyle/>
            <a:p>
              <a:pPr algn="ctr">
                <a:lnSpc>
                  <a:spcPct val="100000"/>
                </a:lnSpc>
              </a:pPr>
              <a:r>
                <a:rPr lang="en-US" sz="4000" b="1">
                  <a:solidFill>
                    <a:schemeClr val="bg1"/>
                  </a:solidFill>
                  <a:latin typeface="Fave Script Bold Pro" pitchFamily="2" charset="77"/>
                  <a:cs typeface="Arial" panose="020B0604020202020204" pitchFamily="34" charset="0"/>
                </a:rPr>
                <a:t>03</a:t>
              </a:r>
            </a:p>
          </p:txBody>
        </p:sp>
        <p:sp>
          <p:nvSpPr>
            <p:cNvPr id="10" name="Oval 9">
              <a:extLst>
                <a:ext uri="{FF2B5EF4-FFF2-40B4-BE49-F238E27FC236}">
                  <a16:creationId xmlns:a16="http://schemas.microsoft.com/office/drawing/2014/main" id="{4F31276D-986D-AF7F-664D-B0B1A205EEE8}"/>
                </a:ext>
              </a:extLst>
            </p:cNvPr>
            <p:cNvSpPr/>
            <p:nvPr userDrawn="1"/>
          </p:nvSpPr>
          <p:spPr>
            <a:xfrm>
              <a:off x="3400337" y="1376363"/>
              <a:ext cx="667434" cy="66743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00">
                <a:latin typeface="Fave Script Bold Pro" pitchFamily="2" charset="77"/>
                <a:cs typeface="Arial" panose="020B0604020202020204" pitchFamily="34" charset="0"/>
              </a:endParaRPr>
            </a:p>
          </p:txBody>
        </p:sp>
        <p:sp>
          <p:nvSpPr>
            <p:cNvPr id="11" name="TextBox 10">
              <a:extLst>
                <a:ext uri="{FF2B5EF4-FFF2-40B4-BE49-F238E27FC236}">
                  <a16:creationId xmlns:a16="http://schemas.microsoft.com/office/drawing/2014/main" id="{2DB4F9CE-2D49-2EDD-CA69-13C78160EE3B}"/>
                </a:ext>
              </a:extLst>
            </p:cNvPr>
            <p:cNvSpPr txBox="1"/>
            <p:nvPr userDrawn="1"/>
          </p:nvSpPr>
          <p:spPr>
            <a:xfrm>
              <a:off x="3594584" y="1414589"/>
              <a:ext cx="279597" cy="679528"/>
            </a:xfrm>
            <a:prstGeom prst="rect">
              <a:avLst/>
            </a:prstGeom>
            <a:noFill/>
          </p:spPr>
          <p:txBody>
            <a:bodyPr wrap="none" lIns="0" tIns="0" rIns="0" bIns="0" numCol="1" rtlCol="0">
              <a:spAutoFit/>
            </a:bodyPr>
            <a:lstStyle/>
            <a:p>
              <a:pPr algn="ctr">
                <a:lnSpc>
                  <a:spcPct val="100000"/>
                </a:lnSpc>
              </a:pPr>
              <a:r>
                <a:rPr lang="en-US" sz="4000" b="1">
                  <a:solidFill>
                    <a:schemeClr val="bg1"/>
                  </a:solidFill>
                  <a:latin typeface="Fave Script Bold Pro" pitchFamily="2" charset="77"/>
                  <a:cs typeface="Arial" panose="020B0604020202020204" pitchFamily="34" charset="0"/>
                </a:rPr>
                <a:t>01</a:t>
              </a:r>
            </a:p>
          </p:txBody>
        </p:sp>
        <p:sp>
          <p:nvSpPr>
            <p:cNvPr id="12" name="Oval 12">
              <a:extLst>
                <a:ext uri="{FF2B5EF4-FFF2-40B4-BE49-F238E27FC236}">
                  <a16:creationId xmlns:a16="http://schemas.microsoft.com/office/drawing/2014/main" id="{9B858CE2-258A-A59D-B272-9667EB7E8330}"/>
                </a:ext>
              </a:extLst>
            </p:cNvPr>
            <p:cNvSpPr/>
            <p:nvPr userDrawn="1"/>
          </p:nvSpPr>
          <p:spPr>
            <a:xfrm>
              <a:off x="3400337" y="6153915"/>
              <a:ext cx="667434" cy="66743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00">
                <a:latin typeface="Fave Script Bold Pro" pitchFamily="2" charset="77"/>
                <a:cs typeface="Arial" panose="020B0604020202020204" pitchFamily="34" charset="0"/>
              </a:endParaRPr>
            </a:p>
          </p:txBody>
        </p:sp>
        <p:sp>
          <p:nvSpPr>
            <p:cNvPr id="13" name="TextBox 13">
              <a:extLst>
                <a:ext uri="{FF2B5EF4-FFF2-40B4-BE49-F238E27FC236}">
                  <a16:creationId xmlns:a16="http://schemas.microsoft.com/office/drawing/2014/main" id="{2F4C3006-EC56-29F8-CB87-3CD2E53F1A4A}"/>
                </a:ext>
              </a:extLst>
            </p:cNvPr>
            <p:cNvSpPr txBox="1"/>
            <p:nvPr userDrawn="1"/>
          </p:nvSpPr>
          <p:spPr>
            <a:xfrm>
              <a:off x="3562723" y="6192141"/>
              <a:ext cx="359230" cy="679528"/>
            </a:xfrm>
            <a:prstGeom prst="rect">
              <a:avLst/>
            </a:prstGeom>
            <a:noFill/>
          </p:spPr>
          <p:txBody>
            <a:bodyPr wrap="none" lIns="0" tIns="0" rIns="0" bIns="0" numCol="1" rtlCol="0">
              <a:spAutoFit/>
            </a:bodyPr>
            <a:lstStyle/>
            <a:p>
              <a:pPr algn="ctr">
                <a:lnSpc>
                  <a:spcPct val="100000"/>
                </a:lnSpc>
              </a:pPr>
              <a:r>
                <a:rPr lang="en-US" sz="4000" b="1">
                  <a:solidFill>
                    <a:schemeClr val="bg1"/>
                  </a:solidFill>
                  <a:latin typeface="Fave Script Bold Pro" pitchFamily="2" charset="77"/>
                  <a:cs typeface="Arial" panose="020B0604020202020204" pitchFamily="34" charset="0"/>
                </a:rPr>
                <a:t>04</a:t>
              </a:r>
            </a:p>
          </p:txBody>
        </p:sp>
        <p:sp>
          <p:nvSpPr>
            <p:cNvPr id="14" name="Rounded Rectangle 33">
              <a:extLst>
                <a:ext uri="{FF2B5EF4-FFF2-40B4-BE49-F238E27FC236}">
                  <a16:creationId xmlns:a16="http://schemas.microsoft.com/office/drawing/2014/main" id="{4A693891-B915-B84A-F1E5-BBC87C902AE6}"/>
                </a:ext>
              </a:extLst>
            </p:cNvPr>
            <p:cNvSpPr/>
            <p:nvPr userDrawn="1"/>
          </p:nvSpPr>
          <p:spPr>
            <a:xfrm rot="18900000">
              <a:off x="5546007" y="3540869"/>
              <a:ext cx="1078667" cy="1078667"/>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sz="4000">
                <a:latin typeface="Fave Script Bold Pro" pitchFamily="2" charset="77"/>
                <a:cs typeface="Arial" panose="020B0604020202020204" pitchFamily="34" charset="0"/>
              </a:endParaRPr>
            </a:p>
          </p:txBody>
        </p:sp>
        <p:grpSp>
          <p:nvGrpSpPr>
            <p:cNvPr id="15" name="Group 34">
              <a:extLst>
                <a:ext uri="{FF2B5EF4-FFF2-40B4-BE49-F238E27FC236}">
                  <a16:creationId xmlns:a16="http://schemas.microsoft.com/office/drawing/2014/main" id="{3685B8DD-DF4E-9BBA-AFAB-3632A60931AD}"/>
                </a:ext>
              </a:extLst>
            </p:cNvPr>
            <p:cNvGrpSpPr/>
            <p:nvPr userDrawn="1"/>
          </p:nvGrpSpPr>
          <p:grpSpPr>
            <a:xfrm>
              <a:off x="5771926" y="3737472"/>
              <a:ext cx="626827" cy="685459"/>
              <a:chOff x="6838044" y="5207454"/>
              <a:chExt cx="933450" cy="1020763"/>
            </a:xfrm>
            <a:solidFill>
              <a:schemeClr val="bg1"/>
            </a:solidFill>
          </p:grpSpPr>
          <p:sp>
            <p:nvSpPr>
              <p:cNvPr id="16" name="Freeform 184">
                <a:extLst>
                  <a:ext uri="{FF2B5EF4-FFF2-40B4-BE49-F238E27FC236}">
                    <a16:creationId xmlns:a16="http://schemas.microsoft.com/office/drawing/2014/main" id="{2853DAA5-F621-2E86-999C-49EF779A812F}"/>
                  </a:ext>
                </a:extLst>
              </p:cNvPr>
              <p:cNvSpPr>
                <a:spLocks noChangeArrowheads="1"/>
              </p:cNvSpPr>
              <p:nvPr/>
            </p:nvSpPr>
            <p:spPr bwMode="auto">
              <a:xfrm>
                <a:off x="7288894" y="5464629"/>
                <a:ext cx="31750" cy="44450"/>
              </a:xfrm>
              <a:custGeom>
                <a:avLst/>
                <a:gdLst>
                  <a:gd name="T0" fmla="*/ 0 w 95"/>
                  <a:gd name="T1" fmla="*/ 130 h 131"/>
                  <a:gd name="T2" fmla="*/ 94 w 95"/>
                  <a:gd name="T3" fmla="*/ 130 h 131"/>
                  <a:gd name="T4" fmla="*/ 94 w 95"/>
                  <a:gd name="T5" fmla="*/ 0 h 131"/>
                  <a:gd name="T6" fmla="*/ 0 w 95"/>
                  <a:gd name="T7" fmla="*/ 0 h 131"/>
                  <a:gd name="T8" fmla="*/ 0 w 95"/>
                  <a:gd name="T9" fmla="*/ 130 h 131"/>
                </a:gdLst>
                <a:ahLst/>
                <a:cxnLst>
                  <a:cxn ang="0">
                    <a:pos x="T0" y="T1"/>
                  </a:cxn>
                  <a:cxn ang="0">
                    <a:pos x="T2" y="T3"/>
                  </a:cxn>
                  <a:cxn ang="0">
                    <a:pos x="T4" y="T5"/>
                  </a:cxn>
                  <a:cxn ang="0">
                    <a:pos x="T6" y="T7"/>
                  </a:cxn>
                  <a:cxn ang="0">
                    <a:pos x="T8" y="T9"/>
                  </a:cxn>
                </a:cxnLst>
                <a:rect l="0" t="0" r="r" b="b"/>
                <a:pathLst>
                  <a:path w="95" h="131">
                    <a:moveTo>
                      <a:pt x="0" y="130"/>
                    </a:moveTo>
                    <a:cubicBezTo>
                      <a:pt x="31" y="130"/>
                      <a:pt x="63" y="130"/>
                      <a:pt x="94" y="130"/>
                    </a:cubicBezTo>
                    <a:cubicBezTo>
                      <a:pt x="94" y="87"/>
                      <a:pt x="94" y="44"/>
                      <a:pt x="94" y="0"/>
                    </a:cubicBezTo>
                    <a:cubicBezTo>
                      <a:pt x="63" y="0"/>
                      <a:pt x="31" y="0"/>
                      <a:pt x="0" y="0"/>
                    </a:cubicBezTo>
                    <a:cubicBezTo>
                      <a:pt x="0" y="44"/>
                      <a:pt x="0" y="87"/>
                      <a:pt x="0" y="13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17" name="Freeform 185">
                <a:extLst>
                  <a:ext uri="{FF2B5EF4-FFF2-40B4-BE49-F238E27FC236}">
                    <a16:creationId xmlns:a16="http://schemas.microsoft.com/office/drawing/2014/main" id="{1AF57815-51F4-9475-F5DA-AABA82A87C1B}"/>
                  </a:ext>
                </a:extLst>
              </p:cNvPr>
              <p:cNvSpPr>
                <a:spLocks noChangeArrowheads="1"/>
              </p:cNvSpPr>
              <p:nvPr/>
            </p:nvSpPr>
            <p:spPr bwMode="auto">
              <a:xfrm>
                <a:off x="7209519" y="5474154"/>
                <a:ext cx="46038" cy="53975"/>
              </a:xfrm>
              <a:custGeom>
                <a:avLst/>
                <a:gdLst>
                  <a:gd name="T0" fmla="*/ 0 w 137"/>
                  <a:gd name="T1" fmla="*/ 36 h 157"/>
                  <a:gd name="T2" fmla="*/ 47 w 137"/>
                  <a:gd name="T3" fmla="*/ 156 h 157"/>
                  <a:gd name="T4" fmla="*/ 136 w 137"/>
                  <a:gd name="T5" fmla="*/ 120 h 157"/>
                  <a:gd name="T6" fmla="*/ 89 w 137"/>
                  <a:gd name="T7" fmla="*/ 0 h 157"/>
                  <a:gd name="T8" fmla="*/ 0 w 137"/>
                  <a:gd name="T9" fmla="*/ 36 h 157"/>
                </a:gdLst>
                <a:ahLst/>
                <a:cxnLst>
                  <a:cxn ang="0">
                    <a:pos x="T0" y="T1"/>
                  </a:cxn>
                  <a:cxn ang="0">
                    <a:pos x="T2" y="T3"/>
                  </a:cxn>
                  <a:cxn ang="0">
                    <a:pos x="T4" y="T5"/>
                  </a:cxn>
                  <a:cxn ang="0">
                    <a:pos x="T6" y="T7"/>
                  </a:cxn>
                  <a:cxn ang="0">
                    <a:pos x="T8" y="T9"/>
                  </a:cxn>
                </a:cxnLst>
                <a:rect l="0" t="0" r="r" b="b"/>
                <a:pathLst>
                  <a:path w="137" h="157">
                    <a:moveTo>
                      <a:pt x="0" y="36"/>
                    </a:moveTo>
                    <a:cubicBezTo>
                      <a:pt x="16" y="76"/>
                      <a:pt x="31" y="116"/>
                      <a:pt x="47" y="156"/>
                    </a:cubicBezTo>
                    <a:cubicBezTo>
                      <a:pt x="77" y="144"/>
                      <a:pt x="106" y="132"/>
                      <a:pt x="136" y="120"/>
                    </a:cubicBezTo>
                    <a:cubicBezTo>
                      <a:pt x="120" y="80"/>
                      <a:pt x="105" y="40"/>
                      <a:pt x="89" y="0"/>
                    </a:cubicBezTo>
                    <a:cubicBezTo>
                      <a:pt x="59" y="12"/>
                      <a:pt x="30" y="24"/>
                      <a:pt x="0" y="3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18" name="Freeform 186">
                <a:extLst>
                  <a:ext uri="{FF2B5EF4-FFF2-40B4-BE49-F238E27FC236}">
                    <a16:creationId xmlns:a16="http://schemas.microsoft.com/office/drawing/2014/main" id="{06AE6C09-ABBC-27FA-E9A2-0DD7DE34C253}"/>
                  </a:ext>
                </a:extLst>
              </p:cNvPr>
              <p:cNvSpPr>
                <a:spLocks noChangeArrowheads="1"/>
              </p:cNvSpPr>
              <p:nvPr/>
            </p:nvSpPr>
            <p:spPr bwMode="auto">
              <a:xfrm>
                <a:off x="7146019" y="5515429"/>
                <a:ext cx="53975" cy="53975"/>
              </a:xfrm>
              <a:custGeom>
                <a:avLst/>
                <a:gdLst>
                  <a:gd name="T0" fmla="*/ 0 w 157"/>
                  <a:gd name="T1" fmla="*/ 63 h 158"/>
                  <a:gd name="T2" fmla="*/ 89 w 157"/>
                  <a:gd name="T3" fmla="*/ 157 h 158"/>
                  <a:gd name="T4" fmla="*/ 156 w 157"/>
                  <a:gd name="T5" fmla="*/ 89 h 158"/>
                  <a:gd name="T6" fmla="*/ 63 w 157"/>
                  <a:gd name="T7" fmla="*/ 0 h 158"/>
                  <a:gd name="T8" fmla="*/ 0 w 157"/>
                  <a:gd name="T9" fmla="*/ 63 h 158"/>
                </a:gdLst>
                <a:ahLst/>
                <a:cxnLst>
                  <a:cxn ang="0">
                    <a:pos x="T0" y="T1"/>
                  </a:cxn>
                  <a:cxn ang="0">
                    <a:pos x="T2" y="T3"/>
                  </a:cxn>
                  <a:cxn ang="0">
                    <a:pos x="T4" y="T5"/>
                  </a:cxn>
                  <a:cxn ang="0">
                    <a:pos x="T6" y="T7"/>
                  </a:cxn>
                  <a:cxn ang="0">
                    <a:pos x="T8" y="T9"/>
                  </a:cxn>
                </a:cxnLst>
                <a:rect l="0" t="0" r="r" b="b"/>
                <a:pathLst>
                  <a:path w="157" h="158">
                    <a:moveTo>
                      <a:pt x="0" y="63"/>
                    </a:moveTo>
                    <a:cubicBezTo>
                      <a:pt x="30" y="95"/>
                      <a:pt x="59" y="126"/>
                      <a:pt x="89" y="157"/>
                    </a:cubicBezTo>
                    <a:cubicBezTo>
                      <a:pt x="111" y="135"/>
                      <a:pt x="134" y="112"/>
                      <a:pt x="156" y="89"/>
                    </a:cubicBezTo>
                    <a:cubicBezTo>
                      <a:pt x="125" y="60"/>
                      <a:pt x="94" y="30"/>
                      <a:pt x="63" y="0"/>
                    </a:cubicBezTo>
                    <a:cubicBezTo>
                      <a:pt x="42" y="21"/>
                      <a:pt x="21" y="42"/>
                      <a:pt x="0" y="6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19" name="Freeform 187">
                <a:extLst>
                  <a:ext uri="{FF2B5EF4-FFF2-40B4-BE49-F238E27FC236}">
                    <a16:creationId xmlns:a16="http://schemas.microsoft.com/office/drawing/2014/main" id="{8C17F718-0C65-1A31-5A36-3C508B2B1155}"/>
                  </a:ext>
                </a:extLst>
              </p:cNvPr>
              <p:cNvSpPr>
                <a:spLocks noChangeArrowheads="1"/>
              </p:cNvSpPr>
              <p:nvPr/>
            </p:nvSpPr>
            <p:spPr bwMode="auto">
              <a:xfrm>
                <a:off x="7104744" y="5580517"/>
                <a:ext cx="53975" cy="46038"/>
              </a:xfrm>
              <a:custGeom>
                <a:avLst/>
                <a:gdLst>
                  <a:gd name="T0" fmla="*/ 157 w 158"/>
                  <a:gd name="T1" fmla="*/ 46 h 136"/>
                  <a:gd name="T2" fmla="*/ 37 w 158"/>
                  <a:gd name="T3" fmla="*/ 0 h 136"/>
                  <a:gd name="T4" fmla="*/ 0 w 158"/>
                  <a:gd name="T5" fmla="*/ 88 h 136"/>
                  <a:gd name="T6" fmla="*/ 120 w 158"/>
                  <a:gd name="T7" fmla="*/ 135 h 136"/>
                  <a:gd name="T8" fmla="*/ 157 w 158"/>
                  <a:gd name="T9" fmla="*/ 46 h 136"/>
                </a:gdLst>
                <a:ahLst/>
                <a:cxnLst>
                  <a:cxn ang="0">
                    <a:pos x="T0" y="T1"/>
                  </a:cxn>
                  <a:cxn ang="0">
                    <a:pos x="T2" y="T3"/>
                  </a:cxn>
                  <a:cxn ang="0">
                    <a:pos x="T4" y="T5"/>
                  </a:cxn>
                  <a:cxn ang="0">
                    <a:pos x="T6" y="T7"/>
                  </a:cxn>
                  <a:cxn ang="0">
                    <a:pos x="T8" y="T9"/>
                  </a:cxn>
                </a:cxnLst>
                <a:rect l="0" t="0" r="r" b="b"/>
                <a:pathLst>
                  <a:path w="158" h="136">
                    <a:moveTo>
                      <a:pt x="157" y="46"/>
                    </a:moveTo>
                    <a:cubicBezTo>
                      <a:pt x="117" y="31"/>
                      <a:pt x="77" y="16"/>
                      <a:pt x="37" y="0"/>
                    </a:cubicBezTo>
                    <a:cubicBezTo>
                      <a:pt x="25" y="30"/>
                      <a:pt x="12" y="59"/>
                      <a:pt x="0" y="88"/>
                    </a:cubicBezTo>
                    <a:cubicBezTo>
                      <a:pt x="40" y="104"/>
                      <a:pt x="80" y="120"/>
                      <a:pt x="120" y="135"/>
                    </a:cubicBezTo>
                    <a:cubicBezTo>
                      <a:pt x="132" y="106"/>
                      <a:pt x="145" y="76"/>
                      <a:pt x="157" y="4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0" name="Freeform 188">
                <a:extLst>
                  <a:ext uri="{FF2B5EF4-FFF2-40B4-BE49-F238E27FC236}">
                    <a16:creationId xmlns:a16="http://schemas.microsoft.com/office/drawing/2014/main" id="{12CA4A19-75ED-7F91-04B9-017EFC2A00B1}"/>
                  </a:ext>
                </a:extLst>
              </p:cNvPr>
              <p:cNvSpPr>
                <a:spLocks noChangeArrowheads="1"/>
              </p:cNvSpPr>
              <p:nvPr/>
            </p:nvSpPr>
            <p:spPr bwMode="auto">
              <a:xfrm>
                <a:off x="7095219" y="5658304"/>
                <a:ext cx="44450" cy="31750"/>
              </a:xfrm>
              <a:custGeom>
                <a:avLst/>
                <a:gdLst>
                  <a:gd name="T0" fmla="*/ 131 w 132"/>
                  <a:gd name="T1" fmla="*/ 0 h 95"/>
                  <a:gd name="T2" fmla="*/ 0 w 132"/>
                  <a:gd name="T3" fmla="*/ 0 h 95"/>
                  <a:gd name="T4" fmla="*/ 0 w 132"/>
                  <a:gd name="T5" fmla="*/ 94 h 95"/>
                  <a:gd name="T6" fmla="*/ 131 w 132"/>
                  <a:gd name="T7" fmla="*/ 94 h 95"/>
                  <a:gd name="T8" fmla="*/ 131 w 132"/>
                  <a:gd name="T9" fmla="*/ 0 h 95"/>
                </a:gdLst>
                <a:ahLst/>
                <a:cxnLst>
                  <a:cxn ang="0">
                    <a:pos x="T0" y="T1"/>
                  </a:cxn>
                  <a:cxn ang="0">
                    <a:pos x="T2" y="T3"/>
                  </a:cxn>
                  <a:cxn ang="0">
                    <a:pos x="T4" y="T5"/>
                  </a:cxn>
                  <a:cxn ang="0">
                    <a:pos x="T6" y="T7"/>
                  </a:cxn>
                  <a:cxn ang="0">
                    <a:pos x="T8" y="T9"/>
                  </a:cxn>
                </a:cxnLst>
                <a:rect l="0" t="0" r="r" b="b"/>
                <a:pathLst>
                  <a:path w="132" h="95">
                    <a:moveTo>
                      <a:pt x="131" y="0"/>
                    </a:moveTo>
                    <a:cubicBezTo>
                      <a:pt x="87" y="0"/>
                      <a:pt x="44" y="0"/>
                      <a:pt x="0" y="0"/>
                    </a:cubicBezTo>
                    <a:cubicBezTo>
                      <a:pt x="0" y="32"/>
                      <a:pt x="0" y="63"/>
                      <a:pt x="0" y="94"/>
                    </a:cubicBezTo>
                    <a:cubicBezTo>
                      <a:pt x="44" y="94"/>
                      <a:pt x="87" y="94"/>
                      <a:pt x="131" y="94"/>
                    </a:cubicBezTo>
                    <a:cubicBezTo>
                      <a:pt x="131" y="63"/>
                      <a:pt x="131" y="32"/>
                      <a:pt x="131"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1" name="Freeform 189">
                <a:extLst>
                  <a:ext uri="{FF2B5EF4-FFF2-40B4-BE49-F238E27FC236}">
                    <a16:creationId xmlns:a16="http://schemas.microsoft.com/office/drawing/2014/main" id="{55ECCDAD-6E04-7858-E52C-4938F6364A38}"/>
                  </a:ext>
                </a:extLst>
              </p:cNvPr>
              <p:cNvSpPr>
                <a:spLocks noChangeArrowheads="1"/>
              </p:cNvSpPr>
              <p:nvPr/>
            </p:nvSpPr>
            <p:spPr bwMode="auto">
              <a:xfrm>
                <a:off x="7104744" y="5723392"/>
                <a:ext cx="53975" cy="44450"/>
              </a:xfrm>
              <a:custGeom>
                <a:avLst/>
                <a:gdLst>
                  <a:gd name="T0" fmla="*/ 120 w 158"/>
                  <a:gd name="T1" fmla="*/ 0 h 131"/>
                  <a:gd name="T2" fmla="*/ 0 w 158"/>
                  <a:gd name="T3" fmla="*/ 46 h 131"/>
                  <a:gd name="T4" fmla="*/ 37 w 158"/>
                  <a:gd name="T5" fmla="*/ 130 h 131"/>
                  <a:gd name="T6" fmla="*/ 157 w 158"/>
                  <a:gd name="T7" fmla="*/ 83 h 131"/>
                  <a:gd name="T8" fmla="*/ 120 w 158"/>
                  <a:gd name="T9" fmla="*/ 0 h 131"/>
                </a:gdLst>
                <a:ahLst/>
                <a:cxnLst>
                  <a:cxn ang="0">
                    <a:pos x="T0" y="T1"/>
                  </a:cxn>
                  <a:cxn ang="0">
                    <a:pos x="T2" y="T3"/>
                  </a:cxn>
                  <a:cxn ang="0">
                    <a:pos x="T4" y="T5"/>
                  </a:cxn>
                  <a:cxn ang="0">
                    <a:pos x="T6" y="T7"/>
                  </a:cxn>
                  <a:cxn ang="0">
                    <a:pos x="T8" y="T9"/>
                  </a:cxn>
                </a:cxnLst>
                <a:rect l="0" t="0" r="r" b="b"/>
                <a:pathLst>
                  <a:path w="158" h="131">
                    <a:moveTo>
                      <a:pt x="120" y="0"/>
                    </a:moveTo>
                    <a:cubicBezTo>
                      <a:pt x="80" y="16"/>
                      <a:pt x="40" y="31"/>
                      <a:pt x="0" y="46"/>
                    </a:cubicBezTo>
                    <a:cubicBezTo>
                      <a:pt x="12" y="74"/>
                      <a:pt x="25" y="102"/>
                      <a:pt x="37" y="130"/>
                    </a:cubicBezTo>
                    <a:cubicBezTo>
                      <a:pt x="77" y="115"/>
                      <a:pt x="117" y="99"/>
                      <a:pt x="157" y="83"/>
                    </a:cubicBezTo>
                    <a:cubicBezTo>
                      <a:pt x="145" y="56"/>
                      <a:pt x="132" y="28"/>
                      <a:pt x="120"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2" name="Freeform 190">
                <a:extLst>
                  <a:ext uri="{FF2B5EF4-FFF2-40B4-BE49-F238E27FC236}">
                    <a16:creationId xmlns:a16="http://schemas.microsoft.com/office/drawing/2014/main" id="{D1F231F3-73A6-5018-B00F-6CB94391DD99}"/>
                  </a:ext>
                </a:extLst>
              </p:cNvPr>
              <p:cNvSpPr>
                <a:spLocks noChangeArrowheads="1"/>
              </p:cNvSpPr>
              <p:nvPr/>
            </p:nvSpPr>
            <p:spPr bwMode="auto">
              <a:xfrm>
                <a:off x="7146019" y="5780542"/>
                <a:ext cx="53975" cy="53975"/>
              </a:xfrm>
              <a:custGeom>
                <a:avLst/>
                <a:gdLst>
                  <a:gd name="T0" fmla="*/ 0 w 157"/>
                  <a:gd name="T1" fmla="*/ 88 h 157"/>
                  <a:gd name="T2" fmla="*/ 63 w 157"/>
                  <a:gd name="T3" fmla="*/ 156 h 157"/>
                  <a:gd name="T4" fmla="*/ 156 w 157"/>
                  <a:gd name="T5" fmla="*/ 68 h 157"/>
                  <a:gd name="T6" fmla="*/ 89 w 157"/>
                  <a:gd name="T7" fmla="*/ 0 h 157"/>
                  <a:gd name="T8" fmla="*/ 0 w 157"/>
                  <a:gd name="T9" fmla="*/ 88 h 157"/>
                </a:gdLst>
                <a:ahLst/>
                <a:cxnLst>
                  <a:cxn ang="0">
                    <a:pos x="T0" y="T1"/>
                  </a:cxn>
                  <a:cxn ang="0">
                    <a:pos x="T2" y="T3"/>
                  </a:cxn>
                  <a:cxn ang="0">
                    <a:pos x="T4" y="T5"/>
                  </a:cxn>
                  <a:cxn ang="0">
                    <a:pos x="T6" y="T7"/>
                  </a:cxn>
                  <a:cxn ang="0">
                    <a:pos x="T8" y="T9"/>
                  </a:cxn>
                </a:cxnLst>
                <a:rect l="0" t="0" r="r" b="b"/>
                <a:pathLst>
                  <a:path w="157" h="157">
                    <a:moveTo>
                      <a:pt x="0" y="88"/>
                    </a:moveTo>
                    <a:cubicBezTo>
                      <a:pt x="21" y="111"/>
                      <a:pt x="42" y="134"/>
                      <a:pt x="63" y="156"/>
                    </a:cubicBezTo>
                    <a:cubicBezTo>
                      <a:pt x="94" y="127"/>
                      <a:pt x="125" y="98"/>
                      <a:pt x="156" y="68"/>
                    </a:cubicBezTo>
                    <a:cubicBezTo>
                      <a:pt x="134" y="46"/>
                      <a:pt x="111" y="23"/>
                      <a:pt x="89" y="0"/>
                    </a:cubicBezTo>
                    <a:cubicBezTo>
                      <a:pt x="59" y="30"/>
                      <a:pt x="30" y="59"/>
                      <a:pt x="0" y="8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3" name="Freeform 191">
                <a:extLst>
                  <a:ext uri="{FF2B5EF4-FFF2-40B4-BE49-F238E27FC236}">
                    <a16:creationId xmlns:a16="http://schemas.microsoft.com/office/drawing/2014/main" id="{749D8B15-1146-2D9B-05DB-0CC6202C6A57}"/>
                  </a:ext>
                </a:extLst>
              </p:cNvPr>
              <p:cNvSpPr>
                <a:spLocks noChangeArrowheads="1"/>
              </p:cNvSpPr>
              <p:nvPr/>
            </p:nvSpPr>
            <p:spPr bwMode="auto">
              <a:xfrm>
                <a:off x="7209519" y="5821817"/>
                <a:ext cx="46038" cy="50800"/>
              </a:xfrm>
              <a:custGeom>
                <a:avLst/>
                <a:gdLst>
                  <a:gd name="T0" fmla="*/ 89 w 137"/>
                  <a:gd name="T1" fmla="*/ 151 h 152"/>
                  <a:gd name="T2" fmla="*/ 136 w 137"/>
                  <a:gd name="T3" fmla="*/ 37 h 152"/>
                  <a:gd name="T4" fmla="*/ 47 w 137"/>
                  <a:gd name="T5" fmla="*/ 0 h 152"/>
                  <a:gd name="T6" fmla="*/ 0 w 137"/>
                  <a:gd name="T7" fmla="*/ 115 h 152"/>
                  <a:gd name="T8" fmla="*/ 89 w 137"/>
                  <a:gd name="T9" fmla="*/ 151 h 152"/>
                </a:gdLst>
                <a:ahLst/>
                <a:cxnLst>
                  <a:cxn ang="0">
                    <a:pos x="T0" y="T1"/>
                  </a:cxn>
                  <a:cxn ang="0">
                    <a:pos x="T2" y="T3"/>
                  </a:cxn>
                  <a:cxn ang="0">
                    <a:pos x="T4" y="T5"/>
                  </a:cxn>
                  <a:cxn ang="0">
                    <a:pos x="T6" y="T7"/>
                  </a:cxn>
                  <a:cxn ang="0">
                    <a:pos x="T8" y="T9"/>
                  </a:cxn>
                </a:cxnLst>
                <a:rect l="0" t="0" r="r" b="b"/>
                <a:pathLst>
                  <a:path w="137" h="152">
                    <a:moveTo>
                      <a:pt x="89" y="151"/>
                    </a:moveTo>
                    <a:cubicBezTo>
                      <a:pt x="105" y="113"/>
                      <a:pt x="120" y="75"/>
                      <a:pt x="136" y="37"/>
                    </a:cubicBezTo>
                    <a:cubicBezTo>
                      <a:pt x="106" y="25"/>
                      <a:pt x="77" y="13"/>
                      <a:pt x="47" y="0"/>
                    </a:cubicBezTo>
                    <a:cubicBezTo>
                      <a:pt x="31" y="39"/>
                      <a:pt x="16" y="77"/>
                      <a:pt x="0" y="115"/>
                    </a:cubicBezTo>
                    <a:cubicBezTo>
                      <a:pt x="30" y="127"/>
                      <a:pt x="59" y="139"/>
                      <a:pt x="89" y="15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4" name="Freeform 192">
                <a:extLst>
                  <a:ext uri="{FF2B5EF4-FFF2-40B4-BE49-F238E27FC236}">
                    <a16:creationId xmlns:a16="http://schemas.microsoft.com/office/drawing/2014/main" id="{0774DA73-A85A-4CB7-B854-A48D13E2494C}"/>
                  </a:ext>
                </a:extLst>
              </p:cNvPr>
              <p:cNvSpPr>
                <a:spLocks noChangeArrowheads="1"/>
              </p:cNvSpPr>
              <p:nvPr/>
            </p:nvSpPr>
            <p:spPr bwMode="auto">
              <a:xfrm>
                <a:off x="7288894" y="5840867"/>
                <a:ext cx="31750" cy="42863"/>
              </a:xfrm>
              <a:custGeom>
                <a:avLst/>
                <a:gdLst>
                  <a:gd name="T0" fmla="*/ 94 w 95"/>
                  <a:gd name="T1" fmla="*/ 125 h 126"/>
                  <a:gd name="T2" fmla="*/ 94 w 95"/>
                  <a:gd name="T3" fmla="*/ 0 h 126"/>
                  <a:gd name="T4" fmla="*/ 0 w 95"/>
                  <a:gd name="T5" fmla="*/ 0 h 126"/>
                  <a:gd name="T6" fmla="*/ 0 w 95"/>
                  <a:gd name="T7" fmla="*/ 125 h 126"/>
                  <a:gd name="T8" fmla="*/ 94 w 95"/>
                  <a:gd name="T9" fmla="*/ 125 h 126"/>
                </a:gdLst>
                <a:ahLst/>
                <a:cxnLst>
                  <a:cxn ang="0">
                    <a:pos x="T0" y="T1"/>
                  </a:cxn>
                  <a:cxn ang="0">
                    <a:pos x="T2" y="T3"/>
                  </a:cxn>
                  <a:cxn ang="0">
                    <a:pos x="T4" y="T5"/>
                  </a:cxn>
                  <a:cxn ang="0">
                    <a:pos x="T6" y="T7"/>
                  </a:cxn>
                  <a:cxn ang="0">
                    <a:pos x="T8" y="T9"/>
                  </a:cxn>
                </a:cxnLst>
                <a:rect l="0" t="0" r="r" b="b"/>
                <a:pathLst>
                  <a:path w="95" h="126">
                    <a:moveTo>
                      <a:pt x="94" y="125"/>
                    </a:moveTo>
                    <a:cubicBezTo>
                      <a:pt x="94" y="84"/>
                      <a:pt x="94" y="42"/>
                      <a:pt x="94" y="0"/>
                    </a:cubicBezTo>
                    <a:cubicBezTo>
                      <a:pt x="63" y="0"/>
                      <a:pt x="31" y="0"/>
                      <a:pt x="0" y="0"/>
                    </a:cubicBezTo>
                    <a:cubicBezTo>
                      <a:pt x="0" y="42"/>
                      <a:pt x="0" y="84"/>
                      <a:pt x="0" y="125"/>
                    </a:cubicBezTo>
                    <a:cubicBezTo>
                      <a:pt x="31" y="125"/>
                      <a:pt x="63" y="125"/>
                      <a:pt x="94" y="12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5" name="Freeform 193">
                <a:extLst>
                  <a:ext uri="{FF2B5EF4-FFF2-40B4-BE49-F238E27FC236}">
                    <a16:creationId xmlns:a16="http://schemas.microsoft.com/office/drawing/2014/main" id="{9FA6EE6B-F782-16D7-8F99-53EEFEF7D845}"/>
                  </a:ext>
                </a:extLst>
              </p:cNvPr>
              <p:cNvSpPr>
                <a:spLocks noChangeArrowheads="1"/>
              </p:cNvSpPr>
              <p:nvPr/>
            </p:nvSpPr>
            <p:spPr bwMode="auto">
              <a:xfrm>
                <a:off x="7353981" y="5821817"/>
                <a:ext cx="44450" cy="50800"/>
              </a:xfrm>
              <a:custGeom>
                <a:avLst/>
                <a:gdLst>
                  <a:gd name="T0" fmla="*/ 130 w 131"/>
                  <a:gd name="T1" fmla="*/ 115 h 152"/>
                  <a:gd name="T2" fmla="*/ 83 w 131"/>
                  <a:gd name="T3" fmla="*/ 0 h 152"/>
                  <a:gd name="T4" fmla="*/ 0 w 131"/>
                  <a:gd name="T5" fmla="*/ 37 h 152"/>
                  <a:gd name="T6" fmla="*/ 47 w 131"/>
                  <a:gd name="T7" fmla="*/ 151 h 152"/>
                  <a:gd name="T8" fmla="*/ 130 w 131"/>
                  <a:gd name="T9" fmla="*/ 115 h 152"/>
                </a:gdLst>
                <a:ahLst/>
                <a:cxnLst>
                  <a:cxn ang="0">
                    <a:pos x="T0" y="T1"/>
                  </a:cxn>
                  <a:cxn ang="0">
                    <a:pos x="T2" y="T3"/>
                  </a:cxn>
                  <a:cxn ang="0">
                    <a:pos x="T4" y="T5"/>
                  </a:cxn>
                  <a:cxn ang="0">
                    <a:pos x="T6" y="T7"/>
                  </a:cxn>
                  <a:cxn ang="0">
                    <a:pos x="T8" y="T9"/>
                  </a:cxn>
                </a:cxnLst>
                <a:rect l="0" t="0" r="r" b="b"/>
                <a:pathLst>
                  <a:path w="131" h="152">
                    <a:moveTo>
                      <a:pt x="130" y="115"/>
                    </a:moveTo>
                    <a:cubicBezTo>
                      <a:pt x="114" y="77"/>
                      <a:pt x="99" y="39"/>
                      <a:pt x="83" y="0"/>
                    </a:cubicBezTo>
                    <a:cubicBezTo>
                      <a:pt x="55" y="13"/>
                      <a:pt x="28" y="25"/>
                      <a:pt x="0" y="37"/>
                    </a:cubicBezTo>
                    <a:cubicBezTo>
                      <a:pt x="16" y="75"/>
                      <a:pt x="31" y="113"/>
                      <a:pt x="47" y="151"/>
                    </a:cubicBezTo>
                    <a:cubicBezTo>
                      <a:pt x="75" y="139"/>
                      <a:pt x="102" y="127"/>
                      <a:pt x="130" y="11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6" name="Freeform 194">
                <a:extLst>
                  <a:ext uri="{FF2B5EF4-FFF2-40B4-BE49-F238E27FC236}">
                    <a16:creationId xmlns:a16="http://schemas.microsoft.com/office/drawing/2014/main" id="{7F9ABD61-E16E-E3ED-3AB6-0BE42CEFC44D}"/>
                  </a:ext>
                </a:extLst>
              </p:cNvPr>
              <p:cNvSpPr>
                <a:spLocks noChangeArrowheads="1"/>
              </p:cNvSpPr>
              <p:nvPr/>
            </p:nvSpPr>
            <p:spPr bwMode="auto">
              <a:xfrm>
                <a:off x="7409544" y="5780542"/>
                <a:ext cx="53975" cy="53975"/>
              </a:xfrm>
              <a:custGeom>
                <a:avLst/>
                <a:gdLst>
                  <a:gd name="T0" fmla="*/ 157 w 158"/>
                  <a:gd name="T1" fmla="*/ 88 h 157"/>
                  <a:gd name="T2" fmla="*/ 68 w 158"/>
                  <a:gd name="T3" fmla="*/ 0 h 157"/>
                  <a:gd name="T4" fmla="*/ 0 w 158"/>
                  <a:gd name="T5" fmla="*/ 68 h 157"/>
                  <a:gd name="T6" fmla="*/ 89 w 158"/>
                  <a:gd name="T7" fmla="*/ 156 h 157"/>
                  <a:gd name="T8" fmla="*/ 157 w 158"/>
                  <a:gd name="T9" fmla="*/ 88 h 157"/>
                </a:gdLst>
                <a:ahLst/>
                <a:cxnLst>
                  <a:cxn ang="0">
                    <a:pos x="T0" y="T1"/>
                  </a:cxn>
                  <a:cxn ang="0">
                    <a:pos x="T2" y="T3"/>
                  </a:cxn>
                  <a:cxn ang="0">
                    <a:pos x="T4" y="T5"/>
                  </a:cxn>
                  <a:cxn ang="0">
                    <a:pos x="T6" y="T7"/>
                  </a:cxn>
                  <a:cxn ang="0">
                    <a:pos x="T8" y="T9"/>
                  </a:cxn>
                </a:cxnLst>
                <a:rect l="0" t="0" r="r" b="b"/>
                <a:pathLst>
                  <a:path w="158" h="157">
                    <a:moveTo>
                      <a:pt x="157" y="88"/>
                    </a:moveTo>
                    <a:cubicBezTo>
                      <a:pt x="127" y="59"/>
                      <a:pt x="98" y="30"/>
                      <a:pt x="68" y="0"/>
                    </a:cubicBezTo>
                    <a:cubicBezTo>
                      <a:pt x="45" y="23"/>
                      <a:pt x="23" y="46"/>
                      <a:pt x="0" y="68"/>
                    </a:cubicBezTo>
                    <a:cubicBezTo>
                      <a:pt x="30" y="98"/>
                      <a:pt x="59" y="127"/>
                      <a:pt x="89" y="156"/>
                    </a:cubicBezTo>
                    <a:cubicBezTo>
                      <a:pt x="112" y="134"/>
                      <a:pt x="134" y="111"/>
                      <a:pt x="157" y="8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7" name="Freeform 195">
                <a:extLst>
                  <a:ext uri="{FF2B5EF4-FFF2-40B4-BE49-F238E27FC236}">
                    <a16:creationId xmlns:a16="http://schemas.microsoft.com/office/drawing/2014/main" id="{966BE9F5-6925-F7DA-53C0-6BE4CBF9F795}"/>
                  </a:ext>
                </a:extLst>
              </p:cNvPr>
              <p:cNvSpPr>
                <a:spLocks noChangeArrowheads="1"/>
              </p:cNvSpPr>
              <p:nvPr/>
            </p:nvSpPr>
            <p:spPr bwMode="auto">
              <a:xfrm>
                <a:off x="7452406" y="5723392"/>
                <a:ext cx="50800" cy="44450"/>
              </a:xfrm>
              <a:custGeom>
                <a:avLst/>
                <a:gdLst>
                  <a:gd name="T0" fmla="*/ 151 w 152"/>
                  <a:gd name="T1" fmla="*/ 46 h 131"/>
                  <a:gd name="T2" fmla="*/ 36 w 152"/>
                  <a:gd name="T3" fmla="*/ 0 h 131"/>
                  <a:gd name="T4" fmla="*/ 0 w 152"/>
                  <a:gd name="T5" fmla="*/ 83 h 131"/>
                  <a:gd name="T6" fmla="*/ 115 w 152"/>
                  <a:gd name="T7" fmla="*/ 130 h 131"/>
                  <a:gd name="T8" fmla="*/ 151 w 152"/>
                  <a:gd name="T9" fmla="*/ 46 h 131"/>
                </a:gdLst>
                <a:ahLst/>
                <a:cxnLst>
                  <a:cxn ang="0">
                    <a:pos x="T0" y="T1"/>
                  </a:cxn>
                  <a:cxn ang="0">
                    <a:pos x="T2" y="T3"/>
                  </a:cxn>
                  <a:cxn ang="0">
                    <a:pos x="T4" y="T5"/>
                  </a:cxn>
                  <a:cxn ang="0">
                    <a:pos x="T6" y="T7"/>
                  </a:cxn>
                  <a:cxn ang="0">
                    <a:pos x="T8" y="T9"/>
                  </a:cxn>
                </a:cxnLst>
                <a:rect l="0" t="0" r="r" b="b"/>
                <a:pathLst>
                  <a:path w="152" h="131">
                    <a:moveTo>
                      <a:pt x="151" y="46"/>
                    </a:moveTo>
                    <a:cubicBezTo>
                      <a:pt x="113" y="31"/>
                      <a:pt x="74" y="16"/>
                      <a:pt x="36" y="0"/>
                    </a:cubicBezTo>
                    <a:cubicBezTo>
                      <a:pt x="24" y="28"/>
                      <a:pt x="12" y="56"/>
                      <a:pt x="0" y="83"/>
                    </a:cubicBezTo>
                    <a:cubicBezTo>
                      <a:pt x="38" y="99"/>
                      <a:pt x="77" y="115"/>
                      <a:pt x="115" y="130"/>
                    </a:cubicBezTo>
                    <a:cubicBezTo>
                      <a:pt x="127" y="102"/>
                      <a:pt x="139" y="74"/>
                      <a:pt x="151" y="4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8" name="Freeform 196">
                <a:extLst>
                  <a:ext uri="{FF2B5EF4-FFF2-40B4-BE49-F238E27FC236}">
                    <a16:creationId xmlns:a16="http://schemas.microsoft.com/office/drawing/2014/main" id="{C0CCF382-CD0D-254E-18E1-8FA4EDC9AD74}"/>
                  </a:ext>
                </a:extLst>
              </p:cNvPr>
              <p:cNvSpPr>
                <a:spLocks noChangeArrowheads="1"/>
              </p:cNvSpPr>
              <p:nvPr/>
            </p:nvSpPr>
            <p:spPr bwMode="auto">
              <a:xfrm>
                <a:off x="7469869" y="5658304"/>
                <a:ext cx="42863" cy="31750"/>
              </a:xfrm>
              <a:custGeom>
                <a:avLst/>
                <a:gdLst>
                  <a:gd name="T0" fmla="*/ 0 w 126"/>
                  <a:gd name="T1" fmla="*/ 94 h 95"/>
                  <a:gd name="T2" fmla="*/ 125 w 126"/>
                  <a:gd name="T3" fmla="*/ 94 h 95"/>
                  <a:gd name="T4" fmla="*/ 125 w 126"/>
                  <a:gd name="T5" fmla="*/ 0 h 95"/>
                  <a:gd name="T6" fmla="*/ 0 w 126"/>
                  <a:gd name="T7" fmla="*/ 0 h 95"/>
                  <a:gd name="T8" fmla="*/ 0 w 126"/>
                  <a:gd name="T9" fmla="*/ 94 h 95"/>
                </a:gdLst>
                <a:ahLst/>
                <a:cxnLst>
                  <a:cxn ang="0">
                    <a:pos x="T0" y="T1"/>
                  </a:cxn>
                  <a:cxn ang="0">
                    <a:pos x="T2" y="T3"/>
                  </a:cxn>
                  <a:cxn ang="0">
                    <a:pos x="T4" y="T5"/>
                  </a:cxn>
                  <a:cxn ang="0">
                    <a:pos x="T6" y="T7"/>
                  </a:cxn>
                  <a:cxn ang="0">
                    <a:pos x="T8" y="T9"/>
                  </a:cxn>
                </a:cxnLst>
                <a:rect l="0" t="0" r="r" b="b"/>
                <a:pathLst>
                  <a:path w="126" h="95">
                    <a:moveTo>
                      <a:pt x="0" y="94"/>
                    </a:moveTo>
                    <a:cubicBezTo>
                      <a:pt x="42" y="94"/>
                      <a:pt x="83" y="94"/>
                      <a:pt x="125" y="94"/>
                    </a:cubicBezTo>
                    <a:cubicBezTo>
                      <a:pt x="125" y="63"/>
                      <a:pt x="125" y="32"/>
                      <a:pt x="125" y="0"/>
                    </a:cubicBezTo>
                    <a:cubicBezTo>
                      <a:pt x="83" y="0"/>
                      <a:pt x="42" y="0"/>
                      <a:pt x="0" y="0"/>
                    </a:cubicBezTo>
                    <a:cubicBezTo>
                      <a:pt x="0" y="32"/>
                      <a:pt x="0" y="63"/>
                      <a:pt x="0"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29" name="Freeform 197">
                <a:extLst>
                  <a:ext uri="{FF2B5EF4-FFF2-40B4-BE49-F238E27FC236}">
                    <a16:creationId xmlns:a16="http://schemas.microsoft.com/office/drawing/2014/main" id="{19172EF5-5007-B8DD-D483-70857D5445EE}"/>
                  </a:ext>
                </a:extLst>
              </p:cNvPr>
              <p:cNvSpPr>
                <a:spLocks noChangeArrowheads="1"/>
              </p:cNvSpPr>
              <p:nvPr/>
            </p:nvSpPr>
            <p:spPr bwMode="auto">
              <a:xfrm>
                <a:off x="7452406" y="5580517"/>
                <a:ext cx="50800" cy="46038"/>
              </a:xfrm>
              <a:custGeom>
                <a:avLst/>
                <a:gdLst>
                  <a:gd name="T0" fmla="*/ 151 w 152"/>
                  <a:gd name="T1" fmla="*/ 88 h 136"/>
                  <a:gd name="T2" fmla="*/ 115 w 152"/>
                  <a:gd name="T3" fmla="*/ 0 h 136"/>
                  <a:gd name="T4" fmla="*/ 0 w 152"/>
                  <a:gd name="T5" fmla="*/ 46 h 136"/>
                  <a:gd name="T6" fmla="*/ 36 w 152"/>
                  <a:gd name="T7" fmla="*/ 135 h 136"/>
                  <a:gd name="T8" fmla="*/ 151 w 152"/>
                  <a:gd name="T9" fmla="*/ 88 h 136"/>
                </a:gdLst>
                <a:ahLst/>
                <a:cxnLst>
                  <a:cxn ang="0">
                    <a:pos x="T0" y="T1"/>
                  </a:cxn>
                  <a:cxn ang="0">
                    <a:pos x="T2" y="T3"/>
                  </a:cxn>
                  <a:cxn ang="0">
                    <a:pos x="T4" y="T5"/>
                  </a:cxn>
                  <a:cxn ang="0">
                    <a:pos x="T6" y="T7"/>
                  </a:cxn>
                  <a:cxn ang="0">
                    <a:pos x="T8" y="T9"/>
                  </a:cxn>
                </a:cxnLst>
                <a:rect l="0" t="0" r="r" b="b"/>
                <a:pathLst>
                  <a:path w="152" h="136">
                    <a:moveTo>
                      <a:pt x="151" y="88"/>
                    </a:moveTo>
                    <a:cubicBezTo>
                      <a:pt x="139" y="59"/>
                      <a:pt x="127" y="30"/>
                      <a:pt x="115" y="0"/>
                    </a:cubicBezTo>
                    <a:cubicBezTo>
                      <a:pt x="77" y="16"/>
                      <a:pt x="38" y="31"/>
                      <a:pt x="0" y="46"/>
                    </a:cubicBezTo>
                    <a:cubicBezTo>
                      <a:pt x="12" y="76"/>
                      <a:pt x="24" y="106"/>
                      <a:pt x="36" y="135"/>
                    </a:cubicBezTo>
                    <a:cubicBezTo>
                      <a:pt x="74" y="120"/>
                      <a:pt x="113" y="104"/>
                      <a:pt x="151" y="8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30" name="Freeform 198">
                <a:extLst>
                  <a:ext uri="{FF2B5EF4-FFF2-40B4-BE49-F238E27FC236}">
                    <a16:creationId xmlns:a16="http://schemas.microsoft.com/office/drawing/2014/main" id="{5E564CD6-1DFD-AEA3-FE1D-17612EA2305B}"/>
                  </a:ext>
                </a:extLst>
              </p:cNvPr>
              <p:cNvSpPr>
                <a:spLocks noChangeArrowheads="1"/>
              </p:cNvSpPr>
              <p:nvPr/>
            </p:nvSpPr>
            <p:spPr bwMode="auto">
              <a:xfrm>
                <a:off x="7353981" y="5474154"/>
                <a:ext cx="44450" cy="53975"/>
              </a:xfrm>
              <a:custGeom>
                <a:avLst/>
                <a:gdLst>
                  <a:gd name="T0" fmla="*/ 0 w 131"/>
                  <a:gd name="T1" fmla="*/ 120 h 157"/>
                  <a:gd name="T2" fmla="*/ 83 w 131"/>
                  <a:gd name="T3" fmla="*/ 156 h 157"/>
                  <a:gd name="T4" fmla="*/ 130 w 131"/>
                  <a:gd name="T5" fmla="*/ 36 h 157"/>
                  <a:gd name="T6" fmla="*/ 47 w 131"/>
                  <a:gd name="T7" fmla="*/ 0 h 157"/>
                  <a:gd name="T8" fmla="*/ 0 w 131"/>
                  <a:gd name="T9" fmla="*/ 120 h 157"/>
                </a:gdLst>
                <a:ahLst/>
                <a:cxnLst>
                  <a:cxn ang="0">
                    <a:pos x="T0" y="T1"/>
                  </a:cxn>
                  <a:cxn ang="0">
                    <a:pos x="T2" y="T3"/>
                  </a:cxn>
                  <a:cxn ang="0">
                    <a:pos x="T4" y="T5"/>
                  </a:cxn>
                  <a:cxn ang="0">
                    <a:pos x="T6" y="T7"/>
                  </a:cxn>
                  <a:cxn ang="0">
                    <a:pos x="T8" y="T9"/>
                  </a:cxn>
                </a:cxnLst>
                <a:rect l="0" t="0" r="r" b="b"/>
                <a:pathLst>
                  <a:path w="131" h="157">
                    <a:moveTo>
                      <a:pt x="0" y="120"/>
                    </a:moveTo>
                    <a:cubicBezTo>
                      <a:pt x="28" y="132"/>
                      <a:pt x="55" y="144"/>
                      <a:pt x="83" y="156"/>
                    </a:cubicBezTo>
                    <a:cubicBezTo>
                      <a:pt x="99" y="116"/>
                      <a:pt x="114" y="76"/>
                      <a:pt x="130" y="36"/>
                    </a:cubicBezTo>
                    <a:cubicBezTo>
                      <a:pt x="102" y="24"/>
                      <a:pt x="75" y="12"/>
                      <a:pt x="47" y="0"/>
                    </a:cubicBezTo>
                    <a:cubicBezTo>
                      <a:pt x="31" y="40"/>
                      <a:pt x="16" y="80"/>
                      <a:pt x="0" y="12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sp>
            <p:nvSpPr>
              <p:cNvPr id="31" name="Freeform 199">
                <a:extLst>
                  <a:ext uri="{FF2B5EF4-FFF2-40B4-BE49-F238E27FC236}">
                    <a16:creationId xmlns:a16="http://schemas.microsoft.com/office/drawing/2014/main" id="{A649C10B-CD27-F811-B3B9-DD0821CDF51E}"/>
                  </a:ext>
                </a:extLst>
              </p:cNvPr>
              <p:cNvSpPr>
                <a:spLocks noChangeArrowheads="1"/>
              </p:cNvSpPr>
              <p:nvPr/>
            </p:nvSpPr>
            <p:spPr bwMode="auto">
              <a:xfrm>
                <a:off x="6838044" y="5207454"/>
                <a:ext cx="933450" cy="1020763"/>
              </a:xfrm>
              <a:custGeom>
                <a:avLst/>
                <a:gdLst>
                  <a:gd name="T0" fmla="*/ 2599 w 2600"/>
                  <a:gd name="T1" fmla="*/ 360 h 2845"/>
                  <a:gd name="T2" fmla="*/ 2401 w 2600"/>
                  <a:gd name="T3" fmla="*/ 266 h 2845"/>
                  <a:gd name="T4" fmla="*/ 2495 w 2600"/>
                  <a:gd name="T5" fmla="*/ 32 h 2845"/>
                  <a:gd name="T6" fmla="*/ 2333 w 2600"/>
                  <a:gd name="T7" fmla="*/ 0 h 2845"/>
                  <a:gd name="T8" fmla="*/ 2239 w 2600"/>
                  <a:gd name="T9" fmla="*/ 292 h 2845"/>
                  <a:gd name="T10" fmla="*/ 1297 w 2600"/>
                  <a:gd name="T11" fmla="*/ 0 h 2845"/>
                  <a:gd name="T12" fmla="*/ 609 w 2600"/>
                  <a:gd name="T13" fmla="*/ 2396 h 2845"/>
                  <a:gd name="T14" fmla="*/ 458 w 2600"/>
                  <a:gd name="T15" fmla="*/ 2844 h 2845"/>
                  <a:gd name="T16" fmla="*/ 1297 w 2600"/>
                  <a:gd name="T17" fmla="*/ 2594 h 2845"/>
                  <a:gd name="T18" fmla="*/ 2135 w 2600"/>
                  <a:gd name="T19" fmla="*/ 2844 h 2845"/>
                  <a:gd name="T20" fmla="*/ 1984 w 2600"/>
                  <a:gd name="T21" fmla="*/ 2396 h 2845"/>
                  <a:gd name="T22" fmla="*/ 2245 w 2600"/>
                  <a:gd name="T23" fmla="*/ 417 h 2845"/>
                  <a:gd name="T24" fmla="*/ 2599 w 2600"/>
                  <a:gd name="T25" fmla="*/ 360 h 2845"/>
                  <a:gd name="T26" fmla="*/ 2500 w 2600"/>
                  <a:gd name="T27" fmla="*/ 1297 h 2845"/>
                  <a:gd name="T28" fmla="*/ 94 w 2600"/>
                  <a:gd name="T29" fmla="*/ 1297 h 2845"/>
                  <a:gd name="T30" fmla="*/ 2114 w 2600"/>
                  <a:gd name="T31" fmla="*/ 417 h 2845"/>
                  <a:gd name="T32" fmla="*/ 1297 w 2600"/>
                  <a:gd name="T33" fmla="*/ 365 h 2845"/>
                  <a:gd name="T34" fmla="*/ 1297 w 2600"/>
                  <a:gd name="T35" fmla="*/ 2229 h 2845"/>
                  <a:gd name="T36" fmla="*/ 1989 w 2600"/>
                  <a:gd name="T37" fmla="*/ 672 h 2845"/>
                  <a:gd name="T38" fmla="*/ 2500 w 2600"/>
                  <a:gd name="T39" fmla="*/ 1297 h 2845"/>
                  <a:gd name="T40" fmla="*/ 1635 w 2600"/>
                  <a:gd name="T41" fmla="*/ 896 h 2845"/>
                  <a:gd name="T42" fmla="*/ 1588 w 2600"/>
                  <a:gd name="T43" fmla="*/ 943 h 2845"/>
                  <a:gd name="T44" fmla="*/ 1297 w 2600"/>
                  <a:gd name="T45" fmla="*/ 1042 h 2845"/>
                  <a:gd name="T46" fmla="*/ 1297 w 2600"/>
                  <a:gd name="T47" fmla="*/ 1552 h 2845"/>
                  <a:gd name="T48" fmla="*/ 1510 w 2600"/>
                  <a:gd name="T49" fmla="*/ 1157 h 2845"/>
                  <a:gd name="T50" fmla="*/ 1745 w 2600"/>
                  <a:gd name="T51" fmla="*/ 917 h 2845"/>
                  <a:gd name="T52" fmla="*/ 1922 w 2600"/>
                  <a:gd name="T53" fmla="*/ 740 h 2845"/>
                  <a:gd name="T54" fmla="*/ 1297 w 2600"/>
                  <a:gd name="T55" fmla="*/ 2136 h 2845"/>
                  <a:gd name="T56" fmla="*/ 1297 w 2600"/>
                  <a:gd name="T57" fmla="*/ 459 h 2845"/>
                  <a:gd name="T58" fmla="*/ 1635 w 2600"/>
                  <a:gd name="T59" fmla="*/ 896 h 2845"/>
                  <a:gd name="T60" fmla="*/ 1458 w 2600"/>
                  <a:gd name="T61" fmla="*/ 1297 h 2845"/>
                  <a:gd name="T62" fmla="*/ 1135 w 2600"/>
                  <a:gd name="T63" fmla="*/ 1297 h 2845"/>
                  <a:gd name="T64" fmla="*/ 1375 w 2600"/>
                  <a:gd name="T65" fmla="*/ 1157 h 2845"/>
                  <a:gd name="T66" fmla="*/ 1333 w 2600"/>
                  <a:gd name="T67" fmla="*/ 1334 h 2845"/>
                  <a:gd name="T68" fmla="*/ 1458 w 2600"/>
                  <a:gd name="T69" fmla="*/ 1297 h 2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0" h="2845">
                    <a:moveTo>
                      <a:pt x="2599" y="360"/>
                    </a:moveTo>
                    <a:lnTo>
                      <a:pt x="2599" y="360"/>
                    </a:lnTo>
                    <a:cubicBezTo>
                      <a:pt x="2599" y="266"/>
                      <a:pt x="2599" y="298"/>
                      <a:pt x="2599" y="266"/>
                    </a:cubicBezTo>
                    <a:cubicBezTo>
                      <a:pt x="2401" y="266"/>
                      <a:pt x="2467" y="266"/>
                      <a:pt x="2401" y="266"/>
                    </a:cubicBezTo>
                    <a:cubicBezTo>
                      <a:pt x="2562" y="99"/>
                      <a:pt x="2508" y="155"/>
                      <a:pt x="2562" y="99"/>
                    </a:cubicBezTo>
                    <a:cubicBezTo>
                      <a:pt x="2495" y="32"/>
                      <a:pt x="2517" y="55"/>
                      <a:pt x="2495" y="32"/>
                    </a:cubicBezTo>
                    <a:cubicBezTo>
                      <a:pt x="2333" y="198"/>
                      <a:pt x="2387" y="143"/>
                      <a:pt x="2333" y="198"/>
                    </a:cubicBezTo>
                    <a:cubicBezTo>
                      <a:pt x="2333" y="0"/>
                      <a:pt x="2333" y="66"/>
                      <a:pt x="2333" y="0"/>
                    </a:cubicBezTo>
                    <a:cubicBezTo>
                      <a:pt x="2239" y="0"/>
                      <a:pt x="2270" y="0"/>
                      <a:pt x="2239" y="0"/>
                    </a:cubicBezTo>
                    <a:cubicBezTo>
                      <a:pt x="2239" y="292"/>
                      <a:pt x="2239" y="195"/>
                      <a:pt x="2239" y="292"/>
                    </a:cubicBezTo>
                    <a:cubicBezTo>
                      <a:pt x="2182" y="349"/>
                      <a:pt x="2201" y="330"/>
                      <a:pt x="2182" y="349"/>
                    </a:cubicBezTo>
                    <a:cubicBezTo>
                      <a:pt x="1948" y="136"/>
                      <a:pt x="1640" y="0"/>
                      <a:pt x="1297" y="0"/>
                    </a:cubicBezTo>
                    <a:cubicBezTo>
                      <a:pt x="583" y="0"/>
                      <a:pt x="0" y="584"/>
                      <a:pt x="0" y="1297"/>
                    </a:cubicBezTo>
                    <a:cubicBezTo>
                      <a:pt x="0" y="1761"/>
                      <a:pt x="245" y="2167"/>
                      <a:pt x="609" y="2396"/>
                    </a:cubicBezTo>
                    <a:cubicBezTo>
                      <a:pt x="380" y="2797"/>
                      <a:pt x="456" y="2664"/>
                      <a:pt x="380" y="2797"/>
                    </a:cubicBezTo>
                    <a:cubicBezTo>
                      <a:pt x="458" y="2844"/>
                      <a:pt x="432" y="2829"/>
                      <a:pt x="458" y="2844"/>
                    </a:cubicBezTo>
                    <a:cubicBezTo>
                      <a:pt x="693" y="2443"/>
                      <a:pt x="615" y="2577"/>
                      <a:pt x="693" y="2443"/>
                    </a:cubicBezTo>
                    <a:cubicBezTo>
                      <a:pt x="870" y="2542"/>
                      <a:pt x="1078" y="2594"/>
                      <a:pt x="1297" y="2594"/>
                    </a:cubicBezTo>
                    <a:cubicBezTo>
                      <a:pt x="1515" y="2594"/>
                      <a:pt x="1724" y="2542"/>
                      <a:pt x="1906" y="2443"/>
                    </a:cubicBezTo>
                    <a:cubicBezTo>
                      <a:pt x="2135" y="2844"/>
                      <a:pt x="2059" y="2711"/>
                      <a:pt x="2135" y="2844"/>
                    </a:cubicBezTo>
                    <a:cubicBezTo>
                      <a:pt x="2219" y="2797"/>
                      <a:pt x="2191" y="2813"/>
                      <a:pt x="2219" y="2797"/>
                    </a:cubicBezTo>
                    <a:cubicBezTo>
                      <a:pt x="1984" y="2396"/>
                      <a:pt x="2062" y="2530"/>
                      <a:pt x="1984" y="2396"/>
                    </a:cubicBezTo>
                    <a:cubicBezTo>
                      <a:pt x="2354" y="2167"/>
                      <a:pt x="2594" y="1761"/>
                      <a:pt x="2594" y="1297"/>
                    </a:cubicBezTo>
                    <a:cubicBezTo>
                      <a:pt x="2594" y="959"/>
                      <a:pt x="2463" y="646"/>
                      <a:pt x="2245" y="417"/>
                    </a:cubicBezTo>
                    <a:cubicBezTo>
                      <a:pt x="2307" y="360"/>
                      <a:pt x="2286" y="379"/>
                      <a:pt x="2307" y="360"/>
                    </a:cubicBezTo>
                    <a:cubicBezTo>
                      <a:pt x="2404" y="360"/>
                      <a:pt x="2502" y="360"/>
                      <a:pt x="2599" y="360"/>
                    </a:cubicBezTo>
                    <a:close/>
                    <a:moveTo>
                      <a:pt x="2500" y="1297"/>
                    </a:moveTo>
                    <a:lnTo>
                      <a:pt x="2500" y="1297"/>
                    </a:lnTo>
                    <a:cubicBezTo>
                      <a:pt x="2500" y="1964"/>
                      <a:pt x="1963" y="2500"/>
                      <a:pt x="1297" y="2500"/>
                    </a:cubicBezTo>
                    <a:cubicBezTo>
                      <a:pt x="635" y="2500"/>
                      <a:pt x="94" y="1964"/>
                      <a:pt x="94" y="1297"/>
                    </a:cubicBezTo>
                    <a:cubicBezTo>
                      <a:pt x="94" y="636"/>
                      <a:pt x="635" y="94"/>
                      <a:pt x="1297" y="94"/>
                    </a:cubicBezTo>
                    <a:cubicBezTo>
                      <a:pt x="1614" y="94"/>
                      <a:pt x="1901" y="219"/>
                      <a:pt x="2114" y="417"/>
                    </a:cubicBezTo>
                    <a:cubicBezTo>
                      <a:pt x="1922" y="610"/>
                      <a:pt x="1986" y="546"/>
                      <a:pt x="1922" y="610"/>
                    </a:cubicBezTo>
                    <a:cubicBezTo>
                      <a:pt x="1755" y="459"/>
                      <a:pt x="1536" y="365"/>
                      <a:pt x="1297" y="365"/>
                    </a:cubicBezTo>
                    <a:cubicBezTo>
                      <a:pt x="786" y="365"/>
                      <a:pt x="364" y="787"/>
                      <a:pt x="364" y="1297"/>
                    </a:cubicBezTo>
                    <a:cubicBezTo>
                      <a:pt x="364" y="1813"/>
                      <a:pt x="786" y="2229"/>
                      <a:pt x="1297" y="2229"/>
                    </a:cubicBezTo>
                    <a:cubicBezTo>
                      <a:pt x="1812" y="2229"/>
                      <a:pt x="2229" y="1813"/>
                      <a:pt x="2229" y="1297"/>
                    </a:cubicBezTo>
                    <a:cubicBezTo>
                      <a:pt x="2229" y="1058"/>
                      <a:pt x="2140" y="839"/>
                      <a:pt x="1989" y="672"/>
                    </a:cubicBezTo>
                    <a:cubicBezTo>
                      <a:pt x="2182" y="485"/>
                      <a:pt x="2118" y="548"/>
                      <a:pt x="2182" y="485"/>
                    </a:cubicBezTo>
                    <a:cubicBezTo>
                      <a:pt x="2380" y="698"/>
                      <a:pt x="2500" y="985"/>
                      <a:pt x="2500" y="1297"/>
                    </a:cubicBezTo>
                    <a:close/>
                    <a:moveTo>
                      <a:pt x="1635" y="896"/>
                    </a:moveTo>
                    <a:lnTo>
                      <a:pt x="1635" y="896"/>
                    </a:lnTo>
                    <a:cubicBezTo>
                      <a:pt x="1588" y="943"/>
                      <a:pt x="1604" y="928"/>
                      <a:pt x="1588" y="943"/>
                    </a:cubicBezTo>
                    <a:lnTo>
                      <a:pt x="1588" y="943"/>
                    </a:lnTo>
                    <a:cubicBezTo>
                      <a:pt x="1443" y="1089"/>
                      <a:pt x="1491" y="1041"/>
                      <a:pt x="1443" y="1089"/>
                    </a:cubicBezTo>
                    <a:cubicBezTo>
                      <a:pt x="1401" y="1058"/>
                      <a:pt x="1354" y="1042"/>
                      <a:pt x="1297" y="1042"/>
                    </a:cubicBezTo>
                    <a:cubicBezTo>
                      <a:pt x="1156" y="1042"/>
                      <a:pt x="1042" y="1157"/>
                      <a:pt x="1042" y="1297"/>
                    </a:cubicBezTo>
                    <a:cubicBezTo>
                      <a:pt x="1042" y="1438"/>
                      <a:pt x="1156" y="1552"/>
                      <a:pt x="1297" y="1552"/>
                    </a:cubicBezTo>
                    <a:cubicBezTo>
                      <a:pt x="1437" y="1552"/>
                      <a:pt x="1552" y="1438"/>
                      <a:pt x="1552" y="1297"/>
                    </a:cubicBezTo>
                    <a:cubicBezTo>
                      <a:pt x="1552" y="1245"/>
                      <a:pt x="1536" y="1198"/>
                      <a:pt x="1510" y="1157"/>
                    </a:cubicBezTo>
                    <a:cubicBezTo>
                      <a:pt x="1698" y="964"/>
                      <a:pt x="1635" y="1029"/>
                      <a:pt x="1698" y="964"/>
                    </a:cubicBezTo>
                    <a:cubicBezTo>
                      <a:pt x="1745" y="917"/>
                      <a:pt x="1729" y="933"/>
                      <a:pt x="1745" y="917"/>
                    </a:cubicBezTo>
                    <a:lnTo>
                      <a:pt x="1745" y="917"/>
                    </a:lnTo>
                    <a:cubicBezTo>
                      <a:pt x="1922" y="740"/>
                      <a:pt x="1863" y="799"/>
                      <a:pt x="1922" y="740"/>
                    </a:cubicBezTo>
                    <a:cubicBezTo>
                      <a:pt x="2057" y="891"/>
                      <a:pt x="2135" y="1084"/>
                      <a:pt x="2135" y="1297"/>
                    </a:cubicBezTo>
                    <a:cubicBezTo>
                      <a:pt x="2135" y="1761"/>
                      <a:pt x="1760" y="2136"/>
                      <a:pt x="1297" y="2136"/>
                    </a:cubicBezTo>
                    <a:cubicBezTo>
                      <a:pt x="833" y="2136"/>
                      <a:pt x="458" y="1761"/>
                      <a:pt x="458" y="1297"/>
                    </a:cubicBezTo>
                    <a:cubicBezTo>
                      <a:pt x="458" y="839"/>
                      <a:pt x="833" y="459"/>
                      <a:pt x="1297" y="459"/>
                    </a:cubicBezTo>
                    <a:cubicBezTo>
                      <a:pt x="1510" y="459"/>
                      <a:pt x="1708" y="542"/>
                      <a:pt x="1859" y="672"/>
                    </a:cubicBezTo>
                    <a:cubicBezTo>
                      <a:pt x="1784" y="747"/>
                      <a:pt x="1710" y="822"/>
                      <a:pt x="1635" y="896"/>
                    </a:cubicBezTo>
                    <a:close/>
                    <a:moveTo>
                      <a:pt x="1458" y="1297"/>
                    </a:moveTo>
                    <a:lnTo>
                      <a:pt x="1458" y="1297"/>
                    </a:lnTo>
                    <a:cubicBezTo>
                      <a:pt x="1458" y="1386"/>
                      <a:pt x="1385" y="1459"/>
                      <a:pt x="1297" y="1459"/>
                    </a:cubicBezTo>
                    <a:cubicBezTo>
                      <a:pt x="1208" y="1459"/>
                      <a:pt x="1135" y="1386"/>
                      <a:pt x="1135" y="1297"/>
                    </a:cubicBezTo>
                    <a:cubicBezTo>
                      <a:pt x="1135" y="1209"/>
                      <a:pt x="1208" y="1136"/>
                      <a:pt x="1297" y="1136"/>
                    </a:cubicBezTo>
                    <a:cubicBezTo>
                      <a:pt x="1328" y="1136"/>
                      <a:pt x="1354" y="1146"/>
                      <a:pt x="1375" y="1157"/>
                    </a:cubicBezTo>
                    <a:cubicBezTo>
                      <a:pt x="1265" y="1266"/>
                      <a:pt x="1302" y="1230"/>
                      <a:pt x="1265" y="1266"/>
                    </a:cubicBezTo>
                    <a:cubicBezTo>
                      <a:pt x="1333" y="1334"/>
                      <a:pt x="1310" y="1312"/>
                      <a:pt x="1333" y="1334"/>
                    </a:cubicBezTo>
                    <a:cubicBezTo>
                      <a:pt x="1443" y="1224"/>
                      <a:pt x="1406" y="1261"/>
                      <a:pt x="1443" y="1224"/>
                    </a:cubicBezTo>
                    <a:cubicBezTo>
                      <a:pt x="1453" y="1245"/>
                      <a:pt x="1458" y="1271"/>
                      <a:pt x="1458" y="1297"/>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00">
                  <a:latin typeface="Fave Script Bold Pro" pitchFamily="2" charset="77"/>
                  <a:cs typeface="Arial" panose="020B0604020202020204" pitchFamily="34" charset="0"/>
                </a:endParaRPr>
              </a:p>
            </p:txBody>
          </p:sp>
        </p:grpSp>
      </p:grpSp>
      <p:sp>
        <p:nvSpPr>
          <p:cNvPr id="33" name="Segnaposto testo 4">
            <a:extLst>
              <a:ext uri="{FF2B5EF4-FFF2-40B4-BE49-F238E27FC236}">
                <a16:creationId xmlns:a16="http://schemas.microsoft.com/office/drawing/2014/main" id="{BF150229-9C97-815D-DDDF-5FF1D0F380F5}"/>
              </a:ext>
            </a:extLst>
          </p:cNvPr>
          <p:cNvSpPr>
            <a:spLocks noGrp="1"/>
          </p:cNvSpPr>
          <p:nvPr>
            <p:ph type="body" sz="quarter" idx="42" hasCustomPrompt="1"/>
          </p:nvPr>
        </p:nvSpPr>
        <p:spPr>
          <a:xfrm>
            <a:off x="1186410" y="5248252"/>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4" name="Segnaposto testo 4">
            <a:extLst>
              <a:ext uri="{FF2B5EF4-FFF2-40B4-BE49-F238E27FC236}">
                <a16:creationId xmlns:a16="http://schemas.microsoft.com/office/drawing/2014/main" id="{F7C4EF27-B0B3-9DBF-3E1A-99B16F1A994C}"/>
              </a:ext>
            </a:extLst>
          </p:cNvPr>
          <p:cNvSpPr>
            <a:spLocks noGrp="1"/>
          </p:cNvSpPr>
          <p:nvPr>
            <p:ph type="body" sz="quarter" idx="43" hasCustomPrompt="1"/>
          </p:nvPr>
        </p:nvSpPr>
        <p:spPr>
          <a:xfrm>
            <a:off x="1186410" y="4977186"/>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5" name="Segnaposto testo 4">
            <a:extLst>
              <a:ext uri="{FF2B5EF4-FFF2-40B4-BE49-F238E27FC236}">
                <a16:creationId xmlns:a16="http://schemas.microsoft.com/office/drawing/2014/main" id="{85F95D35-6A13-6ED5-1A50-89AFDB371F71}"/>
              </a:ext>
            </a:extLst>
          </p:cNvPr>
          <p:cNvSpPr>
            <a:spLocks noGrp="1"/>
          </p:cNvSpPr>
          <p:nvPr>
            <p:ph type="body" sz="quarter" idx="44" hasCustomPrompt="1"/>
          </p:nvPr>
        </p:nvSpPr>
        <p:spPr>
          <a:xfrm>
            <a:off x="1186410" y="1673322"/>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6" name="Segnaposto testo 4">
            <a:extLst>
              <a:ext uri="{FF2B5EF4-FFF2-40B4-BE49-F238E27FC236}">
                <a16:creationId xmlns:a16="http://schemas.microsoft.com/office/drawing/2014/main" id="{24E3D155-0876-D324-9D67-61CF97D564E7}"/>
              </a:ext>
            </a:extLst>
          </p:cNvPr>
          <p:cNvSpPr>
            <a:spLocks noGrp="1"/>
          </p:cNvSpPr>
          <p:nvPr>
            <p:ph type="body" sz="quarter" idx="45" hasCustomPrompt="1"/>
          </p:nvPr>
        </p:nvSpPr>
        <p:spPr>
          <a:xfrm>
            <a:off x="1186410" y="1402256"/>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7" name="Segnaposto testo 4">
            <a:extLst>
              <a:ext uri="{FF2B5EF4-FFF2-40B4-BE49-F238E27FC236}">
                <a16:creationId xmlns:a16="http://schemas.microsoft.com/office/drawing/2014/main" id="{1D260C39-1A26-36C5-0050-207EA63DBF54}"/>
              </a:ext>
            </a:extLst>
          </p:cNvPr>
          <p:cNvSpPr>
            <a:spLocks noGrp="1"/>
          </p:cNvSpPr>
          <p:nvPr>
            <p:ph type="body" sz="quarter" idx="46" hasCustomPrompt="1"/>
          </p:nvPr>
        </p:nvSpPr>
        <p:spPr>
          <a:xfrm>
            <a:off x="8960470" y="5256986"/>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8" name="Segnaposto testo 4">
            <a:extLst>
              <a:ext uri="{FF2B5EF4-FFF2-40B4-BE49-F238E27FC236}">
                <a16:creationId xmlns:a16="http://schemas.microsoft.com/office/drawing/2014/main" id="{A3780546-8B1D-1ADC-9184-44E8F02334E3}"/>
              </a:ext>
            </a:extLst>
          </p:cNvPr>
          <p:cNvSpPr>
            <a:spLocks noGrp="1"/>
          </p:cNvSpPr>
          <p:nvPr>
            <p:ph type="body" sz="quarter" idx="47" hasCustomPrompt="1"/>
          </p:nvPr>
        </p:nvSpPr>
        <p:spPr>
          <a:xfrm>
            <a:off x="8960470" y="4985920"/>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39" name="Segnaposto testo 4">
            <a:extLst>
              <a:ext uri="{FF2B5EF4-FFF2-40B4-BE49-F238E27FC236}">
                <a16:creationId xmlns:a16="http://schemas.microsoft.com/office/drawing/2014/main" id="{900F52BC-7B97-B1AC-CD5A-66B704174458}"/>
              </a:ext>
            </a:extLst>
          </p:cNvPr>
          <p:cNvSpPr>
            <a:spLocks noGrp="1"/>
          </p:cNvSpPr>
          <p:nvPr>
            <p:ph type="body" sz="quarter" idx="48" hasCustomPrompt="1"/>
          </p:nvPr>
        </p:nvSpPr>
        <p:spPr>
          <a:xfrm>
            <a:off x="8960470" y="1682056"/>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0" name="Segnaposto testo 4">
            <a:extLst>
              <a:ext uri="{FF2B5EF4-FFF2-40B4-BE49-F238E27FC236}">
                <a16:creationId xmlns:a16="http://schemas.microsoft.com/office/drawing/2014/main" id="{FD78BB9F-8627-6447-F456-274B7A1F9E3A}"/>
              </a:ext>
            </a:extLst>
          </p:cNvPr>
          <p:cNvSpPr>
            <a:spLocks noGrp="1"/>
          </p:cNvSpPr>
          <p:nvPr>
            <p:ph type="body" sz="quarter" idx="49" hasCustomPrompt="1"/>
          </p:nvPr>
        </p:nvSpPr>
        <p:spPr>
          <a:xfrm>
            <a:off x="8960470" y="1410990"/>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Tree>
    <p:extLst>
      <p:ext uri="{BB962C8B-B14F-4D97-AF65-F5344CB8AC3E}">
        <p14:creationId xmlns:p14="http://schemas.microsoft.com/office/powerpoint/2010/main" val="13815841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a:xfrm>
            <a:off x="550864" y="549276"/>
            <a:ext cx="5635230" cy="827087"/>
          </a:xfrm>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sp>
        <p:nvSpPr>
          <p:cNvPr id="39" name="Segnaposto testo 4">
            <a:extLst>
              <a:ext uri="{FF2B5EF4-FFF2-40B4-BE49-F238E27FC236}">
                <a16:creationId xmlns:a16="http://schemas.microsoft.com/office/drawing/2014/main" id="{900F52BC-7B97-B1AC-CD5A-66B704174458}"/>
              </a:ext>
            </a:extLst>
          </p:cNvPr>
          <p:cNvSpPr>
            <a:spLocks noGrp="1"/>
          </p:cNvSpPr>
          <p:nvPr>
            <p:ph type="body" sz="quarter" idx="48" hasCustomPrompt="1"/>
          </p:nvPr>
        </p:nvSpPr>
        <p:spPr>
          <a:xfrm>
            <a:off x="8960470" y="2057621"/>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0" name="Segnaposto testo 4">
            <a:extLst>
              <a:ext uri="{FF2B5EF4-FFF2-40B4-BE49-F238E27FC236}">
                <a16:creationId xmlns:a16="http://schemas.microsoft.com/office/drawing/2014/main" id="{FD78BB9F-8627-6447-F456-274B7A1F9E3A}"/>
              </a:ext>
            </a:extLst>
          </p:cNvPr>
          <p:cNvSpPr>
            <a:spLocks noGrp="1"/>
          </p:cNvSpPr>
          <p:nvPr>
            <p:ph type="body" sz="quarter" idx="49" hasCustomPrompt="1"/>
          </p:nvPr>
        </p:nvSpPr>
        <p:spPr>
          <a:xfrm>
            <a:off x="8960470" y="1786555"/>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grpSp>
        <p:nvGrpSpPr>
          <p:cNvPr id="74" name="Groep 73">
            <a:extLst>
              <a:ext uri="{FF2B5EF4-FFF2-40B4-BE49-F238E27FC236}">
                <a16:creationId xmlns:a16="http://schemas.microsoft.com/office/drawing/2014/main" id="{A3312D28-EF52-063F-60E5-745E3C946A8C}"/>
              </a:ext>
            </a:extLst>
          </p:cNvPr>
          <p:cNvGrpSpPr>
            <a:grpSpLocks noChangeAspect="1"/>
          </p:cNvGrpSpPr>
          <p:nvPr userDrawn="1"/>
        </p:nvGrpSpPr>
        <p:grpSpPr>
          <a:xfrm>
            <a:off x="550863" y="1376363"/>
            <a:ext cx="11090276" cy="4773055"/>
            <a:chOff x="-1145801" y="525680"/>
            <a:chExt cx="13111733" cy="5643054"/>
          </a:xfrm>
        </p:grpSpPr>
        <p:grpSp>
          <p:nvGrpSpPr>
            <p:cNvPr id="41" name="Group 32">
              <a:extLst>
                <a:ext uri="{FF2B5EF4-FFF2-40B4-BE49-F238E27FC236}">
                  <a16:creationId xmlns:a16="http://schemas.microsoft.com/office/drawing/2014/main" id="{6EF67C30-F024-65ED-63D8-7444225AD2B1}"/>
                </a:ext>
              </a:extLst>
            </p:cNvPr>
            <p:cNvGrpSpPr/>
            <p:nvPr userDrawn="1"/>
          </p:nvGrpSpPr>
          <p:grpSpPr>
            <a:xfrm>
              <a:off x="1186408" y="525680"/>
              <a:ext cx="6545942" cy="5643054"/>
              <a:chOff x="5101773" y="2670629"/>
              <a:chExt cx="6545942" cy="5643054"/>
            </a:xfrm>
          </p:grpSpPr>
          <p:sp>
            <p:nvSpPr>
              <p:cNvPr id="42" name="Freeform 22">
                <a:extLst>
                  <a:ext uri="{FF2B5EF4-FFF2-40B4-BE49-F238E27FC236}">
                    <a16:creationId xmlns:a16="http://schemas.microsoft.com/office/drawing/2014/main" id="{7BFAC815-D0EF-5179-462F-B3FE820824ED}"/>
                  </a:ext>
                </a:extLst>
              </p:cNvPr>
              <p:cNvSpPr/>
              <p:nvPr/>
            </p:nvSpPr>
            <p:spPr>
              <a:xfrm>
                <a:off x="7317546" y="2670629"/>
                <a:ext cx="2114397" cy="1822756"/>
              </a:xfrm>
              <a:custGeom>
                <a:avLst/>
                <a:gdLst>
                  <a:gd name="connsiteX0" fmla="*/ 1229070 w 2458140"/>
                  <a:gd name="connsiteY0" fmla="*/ 0 h 2119086"/>
                  <a:gd name="connsiteX1" fmla="*/ 2458140 w 2458140"/>
                  <a:gd name="connsiteY1" fmla="*/ 2119086 h 2119086"/>
                  <a:gd name="connsiteX2" fmla="*/ 0 w 2458140"/>
                  <a:gd name="connsiteY2" fmla="*/ 2119086 h 2119086"/>
                </a:gdLst>
                <a:ahLst/>
                <a:cxnLst>
                  <a:cxn ang="0">
                    <a:pos x="connsiteX0" y="connsiteY0"/>
                  </a:cxn>
                  <a:cxn ang="0">
                    <a:pos x="connsiteX1" y="connsiteY1"/>
                  </a:cxn>
                  <a:cxn ang="0">
                    <a:pos x="connsiteX2" y="connsiteY2"/>
                  </a:cxn>
                </a:cxnLst>
                <a:rect l="l" t="t" r="r" b="b"/>
                <a:pathLst>
                  <a:path w="2458140" h="2119086">
                    <a:moveTo>
                      <a:pt x="1229070" y="0"/>
                    </a:moveTo>
                    <a:lnTo>
                      <a:pt x="2458140" y="2119086"/>
                    </a:lnTo>
                    <a:lnTo>
                      <a:pt x="0" y="2119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3" name="Freeform 23">
                <a:extLst>
                  <a:ext uri="{FF2B5EF4-FFF2-40B4-BE49-F238E27FC236}">
                    <a16:creationId xmlns:a16="http://schemas.microsoft.com/office/drawing/2014/main" id="{D36B5B5D-4249-73EC-97F4-97A189118CE9}"/>
                  </a:ext>
                </a:extLst>
              </p:cNvPr>
              <p:cNvSpPr/>
              <p:nvPr/>
            </p:nvSpPr>
            <p:spPr>
              <a:xfrm>
                <a:off x="6209659" y="4580778"/>
                <a:ext cx="4330169" cy="1822756"/>
              </a:xfrm>
              <a:custGeom>
                <a:avLst/>
                <a:gdLst>
                  <a:gd name="connsiteX0" fmla="*/ 1229070 w 5034135"/>
                  <a:gd name="connsiteY0" fmla="*/ 0 h 2119086"/>
                  <a:gd name="connsiteX1" fmla="*/ 3805066 w 5034135"/>
                  <a:gd name="connsiteY1" fmla="*/ 0 h 2119086"/>
                  <a:gd name="connsiteX2" fmla="*/ 5034135 w 5034135"/>
                  <a:gd name="connsiteY2" fmla="*/ 2119086 h 2119086"/>
                  <a:gd name="connsiteX3" fmla="*/ 0 w 5034135"/>
                  <a:gd name="connsiteY3" fmla="*/ 2119086 h 2119086"/>
                </a:gdLst>
                <a:ahLst/>
                <a:cxnLst>
                  <a:cxn ang="0">
                    <a:pos x="connsiteX0" y="connsiteY0"/>
                  </a:cxn>
                  <a:cxn ang="0">
                    <a:pos x="connsiteX1" y="connsiteY1"/>
                  </a:cxn>
                  <a:cxn ang="0">
                    <a:pos x="connsiteX2" y="connsiteY2"/>
                  </a:cxn>
                  <a:cxn ang="0">
                    <a:pos x="connsiteX3" y="connsiteY3"/>
                  </a:cxn>
                </a:cxnLst>
                <a:rect l="l" t="t" r="r" b="b"/>
                <a:pathLst>
                  <a:path w="5034135" h="2119086">
                    <a:moveTo>
                      <a:pt x="1229070" y="0"/>
                    </a:moveTo>
                    <a:lnTo>
                      <a:pt x="3805066" y="0"/>
                    </a:lnTo>
                    <a:lnTo>
                      <a:pt x="5034135" y="2119086"/>
                    </a:lnTo>
                    <a:lnTo>
                      <a:pt x="0" y="211908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4" name="Freeform 24">
                <a:extLst>
                  <a:ext uri="{FF2B5EF4-FFF2-40B4-BE49-F238E27FC236}">
                    <a16:creationId xmlns:a16="http://schemas.microsoft.com/office/drawing/2014/main" id="{687AA077-D7C4-3DB7-8A5C-3E8A8AFBF4D6}"/>
                  </a:ext>
                </a:extLst>
              </p:cNvPr>
              <p:cNvSpPr/>
              <p:nvPr/>
            </p:nvSpPr>
            <p:spPr>
              <a:xfrm>
                <a:off x="5101773" y="6490927"/>
                <a:ext cx="6545942" cy="1822756"/>
              </a:xfrm>
              <a:custGeom>
                <a:avLst/>
                <a:gdLst>
                  <a:gd name="connsiteX0" fmla="*/ 1229070 w 7610131"/>
                  <a:gd name="connsiteY0" fmla="*/ 0 h 2119086"/>
                  <a:gd name="connsiteX1" fmla="*/ 6381061 w 7610131"/>
                  <a:gd name="connsiteY1" fmla="*/ 0 h 2119086"/>
                  <a:gd name="connsiteX2" fmla="*/ 7610131 w 7610131"/>
                  <a:gd name="connsiteY2" fmla="*/ 2119086 h 2119086"/>
                  <a:gd name="connsiteX3" fmla="*/ 0 w 7610131"/>
                  <a:gd name="connsiteY3" fmla="*/ 2119086 h 2119086"/>
                </a:gdLst>
                <a:ahLst/>
                <a:cxnLst>
                  <a:cxn ang="0">
                    <a:pos x="connsiteX0" y="connsiteY0"/>
                  </a:cxn>
                  <a:cxn ang="0">
                    <a:pos x="connsiteX1" y="connsiteY1"/>
                  </a:cxn>
                  <a:cxn ang="0">
                    <a:pos x="connsiteX2" y="connsiteY2"/>
                  </a:cxn>
                  <a:cxn ang="0">
                    <a:pos x="connsiteX3" y="connsiteY3"/>
                  </a:cxn>
                </a:cxnLst>
                <a:rect l="l" t="t" r="r" b="b"/>
                <a:pathLst>
                  <a:path w="7610131" h="2119086">
                    <a:moveTo>
                      <a:pt x="1229070" y="0"/>
                    </a:moveTo>
                    <a:lnTo>
                      <a:pt x="6381061" y="0"/>
                    </a:lnTo>
                    <a:lnTo>
                      <a:pt x="7610131" y="2119086"/>
                    </a:lnTo>
                    <a:lnTo>
                      <a:pt x="0" y="211908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5" name="Freeform 25">
                <a:extLst>
                  <a:ext uri="{FF2B5EF4-FFF2-40B4-BE49-F238E27FC236}">
                    <a16:creationId xmlns:a16="http://schemas.microsoft.com/office/drawing/2014/main" id="{02564504-3556-7EDE-44FD-B17AA066B068}"/>
                  </a:ext>
                </a:extLst>
              </p:cNvPr>
              <p:cNvSpPr/>
              <p:nvPr/>
            </p:nvSpPr>
            <p:spPr>
              <a:xfrm>
                <a:off x="8374743" y="2670629"/>
                <a:ext cx="1057200" cy="1822756"/>
              </a:xfrm>
              <a:custGeom>
                <a:avLst/>
                <a:gdLst>
                  <a:gd name="connsiteX0" fmla="*/ 1 w 1057200"/>
                  <a:gd name="connsiteY0" fmla="*/ 0 h 1822756"/>
                  <a:gd name="connsiteX1" fmla="*/ 1057200 w 1057200"/>
                  <a:gd name="connsiteY1" fmla="*/ 1822756 h 1822756"/>
                  <a:gd name="connsiteX2" fmla="*/ 0 w 1057200"/>
                  <a:gd name="connsiteY2" fmla="*/ 1822756 h 1822756"/>
                  <a:gd name="connsiteX3" fmla="*/ 0 w 1057200"/>
                  <a:gd name="connsiteY3" fmla="*/ 2 h 1822756"/>
                </a:gdLst>
                <a:ahLst/>
                <a:cxnLst>
                  <a:cxn ang="0">
                    <a:pos x="connsiteX0" y="connsiteY0"/>
                  </a:cxn>
                  <a:cxn ang="0">
                    <a:pos x="connsiteX1" y="connsiteY1"/>
                  </a:cxn>
                  <a:cxn ang="0">
                    <a:pos x="connsiteX2" y="connsiteY2"/>
                  </a:cxn>
                  <a:cxn ang="0">
                    <a:pos x="connsiteX3" y="connsiteY3"/>
                  </a:cxn>
                </a:cxnLst>
                <a:rect l="l" t="t" r="r" b="b"/>
                <a:pathLst>
                  <a:path w="1057200" h="1822756">
                    <a:moveTo>
                      <a:pt x="1" y="0"/>
                    </a:moveTo>
                    <a:lnTo>
                      <a:pt x="1057200" y="1822756"/>
                    </a:lnTo>
                    <a:lnTo>
                      <a:pt x="0" y="1822756"/>
                    </a:lnTo>
                    <a:lnTo>
                      <a:pt x="0" y="2"/>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6" name="Freeform 27">
                <a:extLst>
                  <a:ext uri="{FF2B5EF4-FFF2-40B4-BE49-F238E27FC236}">
                    <a16:creationId xmlns:a16="http://schemas.microsoft.com/office/drawing/2014/main" id="{15267F72-9015-FC32-3C40-745A9223061E}"/>
                  </a:ext>
                </a:extLst>
              </p:cNvPr>
              <p:cNvSpPr/>
              <p:nvPr/>
            </p:nvSpPr>
            <p:spPr>
              <a:xfrm>
                <a:off x="8374743" y="4580778"/>
                <a:ext cx="2165085" cy="1822756"/>
              </a:xfrm>
              <a:custGeom>
                <a:avLst/>
                <a:gdLst>
                  <a:gd name="connsiteX0" fmla="*/ 0 w 2165085"/>
                  <a:gd name="connsiteY0" fmla="*/ 0 h 1822756"/>
                  <a:gd name="connsiteX1" fmla="*/ 1107887 w 2165085"/>
                  <a:gd name="connsiteY1" fmla="*/ 0 h 1822756"/>
                  <a:gd name="connsiteX2" fmla="*/ 2165085 w 2165085"/>
                  <a:gd name="connsiteY2" fmla="*/ 1822756 h 1822756"/>
                  <a:gd name="connsiteX3" fmla="*/ 0 w 2165085"/>
                  <a:gd name="connsiteY3" fmla="*/ 1822756 h 1822756"/>
                </a:gdLst>
                <a:ahLst/>
                <a:cxnLst>
                  <a:cxn ang="0">
                    <a:pos x="connsiteX0" y="connsiteY0"/>
                  </a:cxn>
                  <a:cxn ang="0">
                    <a:pos x="connsiteX1" y="connsiteY1"/>
                  </a:cxn>
                  <a:cxn ang="0">
                    <a:pos x="connsiteX2" y="connsiteY2"/>
                  </a:cxn>
                  <a:cxn ang="0">
                    <a:pos x="connsiteX3" y="connsiteY3"/>
                  </a:cxn>
                </a:cxnLst>
                <a:rect l="l" t="t" r="r" b="b"/>
                <a:pathLst>
                  <a:path w="2165085" h="1822756">
                    <a:moveTo>
                      <a:pt x="0" y="0"/>
                    </a:moveTo>
                    <a:lnTo>
                      <a:pt x="1107887" y="0"/>
                    </a:lnTo>
                    <a:lnTo>
                      <a:pt x="2165085" y="1822756"/>
                    </a:lnTo>
                    <a:lnTo>
                      <a:pt x="0" y="182275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47" name="Freeform 29">
                <a:extLst>
                  <a:ext uri="{FF2B5EF4-FFF2-40B4-BE49-F238E27FC236}">
                    <a16:creationId xmlns:a16="http://schemas.microsoft.com/office/drawing/2014/main" id="{A39A28A8-C831-85FE-A7CC-DE321581CD50}"/>
                  </a:ext>
                </a:extLst>
              </p:cNvPr>
              <p:cNvSpPr/>
              <p:nvPr/>
            </p:nvSpPr>
            <p:spPr>
              <a:xfrm>
                <a:off x="8374743" y="6490927"/>
                <a:ext cx="3272972" cy="1822756"/>
              </a:xfrm>
              <a:custGeom>
                <a:avLst/>
                <a:gdLst>
                  <a:gd name="connsiteX0" fmla="*/ 0 w 3272972"/>
                  <a:gd name="connsiteY0" fmla="*/ 0 h 1822756"/>
                  <a:gd name="connsiteX1" fmla="*/ 2215773 w 3272972"/>
                  <a:gd name="connsiteY1" fmla="*/ 0 h 1822756"/>
                  <a:gd name="connsiteX2" fmla="*/ 3272972 w 3272972"/>
                  <a:gd name="connsiteY2" fmla="*/ 1822756 h 1822756"/>
                  <a:gd name="connsiteX3" fmla="*/ 0 w 3272972"/>
                  <a:gd name="connsiteY3" fmla="*/ 1822756 h 1822756"/>
                </a:gdLst>
                <a:ahLst/>
                <a:cxnLst>
                  <a:cxn ang="0">
                    <a:pos x="connsiteX0" y="connsiteY0"/>
                  </a:cxn>
                  <a:cxn ang="0">
                    <a:pos x="connsiteX1" y="connsiteY1"/>
                  </a:cxn>
                  <a:cxn ang="0">
                    <a:pos x="connsiteX2" y="connsiteY2"/>
                  </a:cxn>
                  <a:cxn ang="0">
                    <a:pos x="connsiteX3" y="connsiteY3"/>
                  </a:cxn>
                </a:cxnLst>
                <a:rect l="l" t="t" r="r" b="b"/>
                <a:pathLst>
                  <a:path w="3272972" h="1822756">
                    <a:moveTo>
                      <a:pt x="0" y="0"/>
                    </a:moveTo>
                    <a:lnTo>
                      <a:pt x="2215773" y="0"/>
                    </a:lnTo>
                    <a:lnTo>
                      <a:pt x="3272972" y="1822756"/>
                    </a:lnTo>
                    <a:lnTo>
                      <a:pt x="0" y="1822756"/>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grpSp>
        <p:sp>
          <p:nvSpPr>
            <p:cNvPr id="48" name="TextBox 41">
              <a:extLst>
                <a:ext uri="{FF2B5EF4-FFF2-40B4-BE49-F238E27FC236}">
                  <a16:creationId xmlns:a16="http://schemas.microsoft.com/office/drawing/2014/main" id="{9AD5F94A-07F7-019E-0D4A-6ED4582B06D2}"/>
                </a:ext>
              </a:extLst>
            </p:cNvPr>
            <p:cNvSpPr txBox="1"/>
            <p:nvPr userDrawn="1"/>
          </p:nvSpPr>
          <p:spPr>
            <a:xfrm>
              <a:off x="3480877" y="4578817"/>
              <a:ext cx="943428" cy="1564666"/>
            </a:xfrm>
            <a:prstGeom prst="rect">
              <a:avLst/>
            </a:prstGeom>
            <a:noFill/>
          </p:spPr>
          <p:txBody>
            <a:bodyPr wrap="square" numCol="1" rtlCol="0" anchor="ctr">
              <a:spAutoFit/>
            </a:bodyPr>
            <a:lstStyle/>
            <a:p>
              <a:pPr algn="r">
                <a:lnSpc>
                  <a:spcPct val="100000"/>
                </a:lnSpc>
              </a:pPr>
              <a:r>
                <a:rPr lang="en-US" sz="8000" b="1">
                  <a:solidFill>
                    <a:schemeClr val="bg1"/>
                  </a:solidFill>
                  <a:latin typeface="Fave Script Bold Pro" pitchFamily="2" charset="77"/>
                </a:rPr>
                <a:t>1</a:t>
              </a:r>
              <a:endParaRPr lang="en-GB" sz="8000" b="1">
                <a:solidFill>
                  <a:schemeClr val="bg1"/>
                </a:solidFill>
                <a:latin typeface="Fave Script Bold Pro" pitchFamily="2" charset="77"/>
              </a:endParaRPr>
            </a:p>
          </p:txBody>
        </p:sp>
        <p:sp>
          <p:nvSpPr>
            <p:cNvPr id="49" name="TextBox 42">
              <a:extLst>
                <a:ext uri="{FF2B5EF4-FFF2-40B4-BE49-F238E27FC236}">
                  <a16:creationId xmlns:a16="http://schemas.microsoft.com/office/drawing/2014/main" id="{1B2AD4A3-5E42-7C46-334D-998C72581A1D}"/>
                </a:ext>
              </a:extLst>
            </p:cNvPr>
            <p:cNvSpPr txBox="1"/>
            <p:nvPr userDrawn="1"/>
          </p:nvSpPr>
          <p:spPr>
            <a:xfrm>
              <a:off x="3480877" y="2668668"/>
              <a:ext cx="943428" cy="1564666"/>
            </a:xfrm>
            <a:prstGeom prst="rect">
              <a:avLst/>
            </a:prstGeom>
            <a:noFill/>
          </p:spPr>
          <p:txBody>
            <a:bodyPr wrap="square" numCol="1" rtlCol="0" anchor="ctr">
              <a:spAutoFit/>
            </a:bodyPr>
            <a:lstStyle/>
            <a:p>
              <a:pPr algn="r">
                <a:lnSpc>
                  <a:spcPct val="100000"/>
                </a:lnSpc>
              </a:pPr>
              <a:r>
                <a:rPr lang="en-US" sz="8000" b="1">
                  <a:solidFill>
                    <a:schemeClr val="bg1"/>
                  </a:solidFill>
                  <a:latin typeface="Fave Script Bold Pro" pitchFamily="2" charset="77"/>
                </a:rPr>
                <a:t>2</a:t>
              </a:r>
              <a:endParaRPr lang="en-GB" sz="8000" b="1">
                <a:solidFill>
                  <a:schemeClr val="bg1"/>
                </a:solidFill>
                <a:latin typeface="Fave Script Bold Pro" pitchFamily="2" charset="77"/>
              </a:endParaRPr>
            </a:p>
          </p:txBody>
        </p:sp>
        <p:sp>
          <p:nvSpPr>
            <p:cNvPr id="50" name="TextBox 43">
              <a:extLst>
                <a:ext uri="{FF2B5EF4-FFF2-40B4-BE49-F238E27FC236}">
                  <a16:creationId xmlns:a16="http://schemas.microsoft.com/office/drawing/2014/main" id="{E03D2A05-30FB-077C-6E13-9E80340AC84E}"/>
                </a:ext>
              </a:extLst>
            </p:cNvPr>
            <p:cNvSpPr txBox="1"/>
            <p:nvPr userDrawn="1"/>
          </p:nvSpPr>
          <p:spPr>
            <a:xfrm>
              <a:off x="3480877" y="1099499"/>
              <a:ext cx="943428" cy="1564666"/>
            </a:xfrm>
            <a:prstGeom prst="rect">
              <a:avLst/>
            </a:prstGeom>
            <a:noFill/>
          </p:spPr>
          <p:txBody>
            <a:bodyPr wrap="square" numCol="1" rtlCol="0" anchor="ctr">
              <a:spAutoFit/>
            </a:bodyPr>
            <a:lstStyle/>
            <a:p>
              <a:pPr algn="r">
                <a:lnSpc>
                  <a:spcPct val="100000"/>
                </a:lnSpc>
              </a:pPr>
              <a:r>
                <a:rPr lang="en-US" sz="8000" b="1">
                  <a:solidFill>
                    <a:schemeClr val="bg1"/>
                  </a:solidFill>
                  <a:latin typeface="Fave Script Bold Pro" pitchFamily="2" charset="77"/>
                </a:rPr>
                <a:t>3</a:t>
              </a:r>
              <a:endParaRPr lang="en-GB" sz="8000" b="1">
                <a:solidFill>
                  <a:schemeClr val="bg1"/>
                </a:solidFill>
                <a:latin typeface="Fave Script Bold Pro" pitchFamily="2" charset="77"/>
              </a:endParaRPr>
            </a:p>
          </p:txBody>
        </p:sp>
        <p:cxnSp>
          <p:nvCxnSpPr>
            <p:cNvPr id="51" name="Straight Connector 45">
              <a:extLst>
                <a:ext uri="{FF2B5EF4-FFF2-40B4-BE49-F238E27FC236}">
                  <a16:creationId xmlns:a16="http://schemas.microsoft.com/office/drawing/2014/main" id="{2B3BF1F7-B7D2-1B6E-57C7-8869A740EA26}"/>
                </a:ext>
              </a:extLst>
            </p:cNvPr>
            <p:cNvCxnSpPr>
              <a:cxnSpLocks/>
            </p:cNvCxnSpPr>
            <p:nvPr userDrawn="1"/>
          </p:nvCxnSpPr>
          <p:spPr>
            <a:xfrm>
              <a:off x="-1145801" y="6168734"/>
              <a:ext cx="1311173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 name="Group 46">
              <a:extLst>
                <a:ext uri="{FF2B5EF4-FFF2-40B4-BE49-F238E27FC236}">
                  <a16:creationId xmlns:a16="http://schemas.microsoft.com/office/drawing/2014/main" id="{664A91A1-816E-811A-F337-8C7D00FFEA83}"/>
                </a:ext>
              </a:extLst>
            </p:cNvPr>
            <p:cNvGrpSpPr/>
            <p:nvPr userDrawn="1"/>
          </p:nvGrpSpPr>
          <p:grpSpPr>
            <a:xfrm>
              <a:off x="8035281" y="2695570"/>
              <a:ext cx="460133" cy="735564"/>
              <a:chOff x="526144" y="337004"/>
              <a:chExt cx="676275" cy="1081088"/>
            </a:xfrm>
          </p:grpSpPr>
          <p:sp>
            <p:nvSpPr>
              <p:cNvPr id="53" name="Freeform 3">
                <a:extLst>
                  <a:ext uri="{FF2B5EF4-FFF2-40B4-BE49-F238E27FC236}">
                    <a16:creationId xmlns:a16="http://schemas.microsoft.com/office/drawing/2014/main" id="{8099C34D-35C2-A51F-EDB1-157F83AAD9AD}"/>
                  </a:ext>
                </a:extLst>
              </p:cNvPr>
              <p:cNvSpPr>
                <a:spLocks noChangeArrowheads="1"/>
              </p:cNvSpPr>
              <p:nvPr/>
            </p:nvSpPr>
            <p:spPr bwMode="auto">
              <a:xfrm>
                <a:off x="581706" y="337004"/>
                <a:ext cx="563563" cy="1081088"/>
              </a:xfrm>
              <a:custGeom>
                <a:avLst/>
                <a:gdLst>
                  <a:gd name="T0" fmla="*/ 1438 w 1574"/>
                  <a:gd name="T1" fmla="*/ 1859 h 3011"/>
                  <a:gd name="T2" fmla="*/ 1438 w 1574"/>
                  <a:gd name="T3" fmla="*/ 1859 h 3011"/>
                  <a:gd name="T4" fmla="*/ 833 w 1574"/>
                  <a:gd name="T5" fmla="*/ 1859 h 3011"/>
                  <a:gd name="T6" fmla="*/ 833 w 1574"/>
                  <a:gd name="T7" fmla="*/ 1271 h 3011"/>
                  <a:gd name="T8" fmla="*/ 1422 w 1574"/>
                  <a:gd name="T9" fmla="*/ 635 h 3011"/>
                  <a:gd name="T10" fmla="*/ 787 w 1574"/>
                  <a:gd name="T11" fmla="*/ 0 h 3011"/>
                  <a:gd name="T12" fmla="*/ 151 w 1574"/>
                  <a:gd name="T13" fmla="*/ 635 h 3011"/>
                  <a:gd name="T14" fmla="*/ 740 w 1574"/>
                  <a:gd name="T15" fmla="*/ 1271 h 3011"/>
                  <a:gd name="T16" fmla="*/ 740 w 1574"/>
                  <a:gd name="T17" fmla="*/ 1859 h 3011"/>
                  <a:gd name="T18" fmla="*/ 136 w 1574"/>
                  <a:gd name="T19" fmla="*/ 1859 h 3011"/>
                  <a:gd name="T20" fmla="*/ 42 w 1574"/>
                  <a:gd name="T21" fmla="*/ 1901 h 3011"/>
                  <a:gd name="T22" fmla="*/ 0 w 1574"/>
                  <a:gd name="T23" fmla="*/ 1995 h 3011"/>
                  <a:gd name="T24" fmla="*/ 42 w 1574"/>
                  <a:gd name="T25" fmla="*/ 2088 h 3011"/>
                  <a:gd name="T26" fmla="*/ 89 w 1574"/>
                  <a:gd name="T27" fmla="*/ 2120 h 3011"/>
                  <a:gd name="T28" fmla="*/ 89 w 1574"/>
                  <a:gd name="T29" fmla="*/ 2547 h 3011"/>
                  <a:gd name="T30" fmla="*/ 177 w 1574"/>
                  <a:gd name="T31" fmla="*/ 2760 h 3011"/>
                  <a:gd name="T32" fmla="*/ 349 w 1574"/>
                  <a:gd name="T33" fmla="*/ 2849 h 3011"/>
                  <a:gd name="T34" fmla="*/ 349 w 1574"/>
                  <a:gd name="T35" fmla="*/ 3010 h 3011"/>
                  <a:gd name="T36" fmla="*/ 1224 w 1574"/>
                  <a:gd name="T37" fmla="*/ 3010 h 3011"/>
                  <a:gd name="T38" fmla="*/ 1224 w 1574"/>
                  <a:gd name="T39" fmla="*/ 2849 h 3011"/>
                  <a:gd name="T40" fmla="*/ 1396 w 1574"/>
                  <a:gd name="T41" fmla="*/ 2760 h 3011"/>
                  <a:gd name="T42" fmla="*/ 1485 w 1574"/>
                  <a:gd name="T43" fmla="*/ 2547 h 3011"/>
                  <a:gd name="T44" fmla="*/ 1485 w 1574"/>
                  <a:gd name="T45" fmla="*/ 2120 h 3011"/>
                  <a:gd name="T46" fmla="*/ 1531 w 1574"/>
                  <a:gd name="T47" fmla="*/ 2088 h 3011"/>
                  <a:gd name="T48" fmla="*/ 1573 w 1574"/>
                  <a:gd name="T49" fmla="*/ 1995 h 3011"/>
                  <a:gd name="T50" fmla="*/ 1531 w 1574"/>
                  <a:gd name="T51" fmla="*/ 1901 h 3011"/>
                  <a:gd name="T52" fmla="*/ 1438 w 1574"/>
                  <a:gd name="T53" fmla="*/ 1859 h 3011"/>
                  <a:gd name="T54" fmla="*/ 245 w 1574"/>
                  <a:gd name="T55" fmla="*/ 635 h 3011"/>
                  <a:gd name="T56" fmla="*/ 245 w 1574"/>
                  <a:gd name="T57" fmla="*/ 635 h 3011"/>
                  <a:gd name="T58" fmla="*/ 787 w 1574"/>
                  <a:gd name="T59" fmla="*/ 94 h 3011"/>
                  <a:gd name="T60" fmla="*/ 1328 w 1574"/>
                  <a:gd name="T61" fmla="*/ 635 h 3011"/>
                  <a:gd name="T62" fmla="*/ 787 w 1574"/>
                  <a:gd name="T63" fmla="*/ 1177 h 3011"/>
                  <a:gd name="T64" fmla="*/ 245 w 1574"/>
                  <a:gd name="T65" fmla="*/ 635 h 3011"/>
                  <a:gd name="T66" fmla="*/ 104 w 1574"/>
                  <a:gd name="T67" fmla="*/ 1969 h 3011"/>
                  <a:gd name="T68" fmla="*/ 104 w 1574"/>
                  <a:gd name="T69" fmla="*/ 1969 h 3011"/>
                  <a:gd name="T70" fmla="*/ 136 w 1574"/>
                  <a:gd name="T71" fmla="*/ 1953 h 3011"/>
                  <a:gd name="T72" fmla="*/ 1438 w 1574"/>
                  <a:gd name="T73" fmla="*/ 1953 h 3011"/>
                  <a:gd name="T74" fmla="*/ 1469 w 1574"/>
                  <a:gd name="T75" fmla="*/ 1969 h 3011"/>
                  <a:gd name="T76" fmla="*/ 1479 w 1574"/>
                  <a:gd name="T77" fmla="*/ 1995 h 3011"/>
                  <a:gd name="T78" fmla="*/ 1469 w 1574"/>
                  <a:gd name="T79" fmla="*/ 2026 h 3011"/>
                  <a:gd name="T80" fmla="*/ 1438 w 1574"/>
                  <a:gd name="T81" fmla="*/ 2036 h 3011"/>
                  <a:gd name="T82" fmla="*/ 136 w 1574"/>
                  <a:gd name="T83" fmla="*/ 2036 h 3011"/>
                  <a:gd name="T84" fmla="*/ 104 w 1574"/>
                  <a:gd name="T85" fmla="*/ 2026 h 3011"/>
                  <a:gd name="T86" fmla="*/ 94 w 1574"/>
                  <a:gd name="T87" fmla="*/ 1995 h 3011"/>
                  <a:gd name="T88" fmla="*/ 104 w 1574"/>
                  <a:gd name="T89" fmla="*/ 1969 h 3011"/>
                  <a:gd name="T90" fmla="*/ 1130 w 1574"/>
                  <a:gd name="T91" fmla="*/ 2917 h 3011"/>
                  <a:gd name="T92" fmla="*/ 1130 w 1574"/>
                  <a:gd name="T93" fmla="*/ 2917 h 3011"/>
                  <a:gd name="T94" fmla="*/ 443 w 1574"/>
                  <a:gd name="T95" fmla="*/ 2917 h 3011"/>
                  <a:gd name="T96" fmla="*/ 443 w 1574"/>
                  <a:gd name="T97" fmla="*/ 2854 h 3011"/>
                  <a:gd name="T98" fmla="*/ 1130 w 1574"/>
                  <a:gd name="T99" fmla="*/ 2854 h 3011"/>
                  <a:gd name="T100" fmla="*/ 1130 w 1574"/>
                  <a:gd name="T101" fmla="*/ 2917 h 3011"/>
                  <a:gd name="T102" fmla="*/ 1391 w 1574"/>
                  <a:gd name="T103" fmla="*/ 2547 h 3011"/>
                  <a:gd name="T104" fmla="*/ 1391 w 1574"/>
                  <a:gd name="T105" fmla="*/ 2547 h 3011"/>
                  <a:gd name="T106" fmla="*/ 1328 w 1574"/>
                  <a:gd name="T107" fmla="*/ 2698 h 3011"/>
                  <a:gd name="T108" fmla="*/ 1177 w 1574"/>
                  <a:gd name="T109" fmla="*/ 2760 h 3011"/>
                  <a:gd name="T110" fmla="*/ 396 w 1574"/>
                  <a:gd name="T111" fmla="*/ 2760 h 3011"/>
                  <a:gd name="T112" fmla="*/ 245 w 1574"/>
                  <a:gd name="T113" fmla="*/ 2698 h 3011"/>
                  <a:gd name="T114" fmla="*/ 182 w 1574"/>
                  <a:gd name="T115" fmla="*/ 2547 h 3011"/>
                  <a:gd name="T116" fmla="*/ 182 w 1574"/>
                  <a:gd name="T117" fmla="*/ 2130 h 3011"/>
                  <a:gd name="T118" fmla="*/ 1391 w 1574"/>
                  <a:gd name="T119" fmla="*/ 2130 h 3011"/>
                  <a:gd name="T120" fmla="*/ 1391 w 1574"/>
                  <a:gd name="T121" fmla="*/ 2547 h 3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4" h="3011">
                    <a:moveTo>
                      <a:pt x="1438" y="1859"/>
                    </a:moveTo>
                    <a:lnTo>
                      <a:pt x="1438" y="1859"/>
                    </a:lnTo>
                    <a:cubicBezTo>
                      <a:pt x="833" y="1859"/>
                      <a:pt x="1035" y="1859"/>
                      <a:pt x="833" y="1859"/>
                    </a:cubicBezTo>
                    <a:cubicBezTo>
                      <a:pt x="833" y="1271"/>
                      <a:pt x="833" y="1467"/>
                      <a:pt x="833" y="1271"/>
                    </a:cubicBezTo>
                    <a:cubicBezTo>
                      <a:pt x="1162" y="1245"/>
                      <a:pt x="1422" y="974"/>
                      <a:pt x="1422" y="635"/>
                    </a:cubicBezTo>
                    <a:cubicBezTo>
                      <a:pt x="1422" y="286"/>
                      <a:pt x="1136" y="0"/>
                      <a:pt x="787" y="0"/>
                    </a:cubicBezTo>
                    <a:cubicBezTo>
                      <a:pt x="438" y="0"/>
                      <a:pt x="151" y="286"/>
                      <a:pt x="151" y="635"/>
                    </a:cubicBezTo>
                    <a:cubicBezTo>
                      <a:pt x="151" y="974"/>
                      <a:pt x="412" y="1245"/>
                      <a:pt x="740" y="1271"/>
                    </a:cubicBezTo>
                    <a:cubicBezTo>
                      <a:pt x="740" y="1859"/>
                      <a:pt x="740" y="1663"/>
                      <a:pt x="740" y="1859"/>
                    </a:cubicBezTo>
                    <a:cubicBezTo>
                      <a:pt x="136" y="1859"/>
                      <a:pt x="337" y="1859"/>
                      <a:pt x="136" y="1859"/>
                    </a:cubicBezTo>
                    <a:cubicBezTo>
                      <a:pt x="99" y="1859"/>
                      <a:pt x="63" y="1875"/>
                      <a:pt x="42" y="1901"/>
                    </a:cubicBezTo>
                    <a:cubicBezTo>
                      <a:pt x="16" y="1927"/>
                      <a:pt x="0" y="1958"/>
                      <a:pt x="0" y="1995"/>
                    </a:cubicBezTo>
                    <a:cubicBezTo>
                      <a:pt x="0" y="2031"/>
                      <a:pt x="16" y="2068"/>
                      <a:pt x="42" y="2088"/>
                    </a:cubicBezTo>
                    <a:cubicBezTo>
                      <a:pt x="52" y="2104"/>
                      <a:pt x="68" y="2114"/>
                      <a:pt x="89" y="2120"/>
                    </a:cubicBezTo>
                    <a:cubicBezTo>
                      <a:pt x="89" y="2547"/>
                      <a:pt x="89" y="2405"/>
                      <a:pt x="89" y="2547"/>
                    </a:cubicBezTo>
                    <a:cubicBezTo>
                      <a:pt x="89" y="2625"/>
                      <a:pt x="120" y="2703"/>
                      <a:pt x="177" y="2760"/>
                    </a:cubicBezTo>
                    <a:cubicBezTo>
                      <a:pt x="224" y="2807"/>
                      <a:pt x="281" y="2838"/>
                      <a:pt x="349" y="2849"/>
                    </a:cubicBezTo>
                    <a:cubicBezTo>
                      <a:pt x="349" y="3010"/>
                      <a:pt x="349" y="2956"/>
                      <a:pt x="349" y="3010"/>
                    </a:cubicBezTo>
                    <a:cubicBezTo>
                      <a:pt x="1224" y="3010"/>
                      <a:pt x="932" y="3010"/>
                      <a:pt x="1224" y="3010"/>
                    </a:cubicBezTo>
                    <a:cubicBezTo>
                      <a:pt x="1224" y="2849"/>
                      <a:pt x="1224" y="2903"/>
                      <a:pt x="1224" y="2849"/>
                    </a:cubicBezTo>
                    <a:cubicBezTo>
                      <a:pt x="1292" y="2838"/>
                      <a:pt x="1349" y="2807"/>
                      <a:pt x="1396" y="2760"/>
                    </a:cubicBezTo>
                    <a:cubicBezTo>
                      <a:pt x="1453" y="2703"/>
                      <a:pt x="1485" y="2625"/>
                      <a:pt x="1485" y="2547"/>
                    </a:cubicBezTo>
                    <a:cubicBezTo>
                      <a:pt x="1485" y="2120"/>
                      <a:pt x="1485" y="2262"/>
                      <a:pt x="1485" y="2120"/>
                    </a:cubicBezTo>
                    <a:cubicBezTo>
                      <a:pt x="1505" y="2114"/>
                      <a:pt x="1521" y="2104"/>
                      <a:pt x="1531" y="2088"/>
                    </a:cubicBezTo>
                    <a:cubicBezTo>
                      <a:pt x="1557" y="2062"/>
                      <a:pt x="1573" y="2031"/>
                      <a:pt x="1573" y="1995"/>
                    </a:cubicBezTo>
                    <a:cubicBezTo>
                      <a:pt x="1573" y="1958"/>
                      <a:pt x="1557" y="1927"/>
                      <a:pt x="1531" y="1901"/>
                    </a:cubicBezTo>
                    <a:cubicBezTo>
                      <a:pt x="1511" y="1875"/>
                      <a:pt x="1474" y="1859"/>
                      <a:pt x="1438" y="1859"/>
                    </a:cubicBezTo>
                    <a:close/>
                    <a:moveTo>
                      <a:pt x="245" y="635"/>
                    </a:moveTo>
                    <a:lnTo>
                      <a:pt x="245" y="635"/>
                    </a:lnTo>
                    <a:cubicBezTo>
                      <a:pt x="245" y="338"/>
                      <a:pt x="490" y="94"/>
                      <a:pt x="787" y="94"/>
                    </a:cubicBezTo>
                    <a:cubicBezTo>
                      <a:pt x="1083" y="94"/>
                      <a:pt x="1328" y="338"/>
                      <a:pt x="1328" y="635"/>
                    </a:cubicBezTo>
                    <a:cubicBezTo>
                      <a:pt x="1328" y="937"/>
                      <a:pt x="1083" y="1177"/>
                      <a:pt x="787" y="1177"/>
                    </a:cubicBezTo>
                    <a:cubicBezTo>
                      <a:pt x="490" y="1177"/>
                      <a:pt x="245" y="937"/>
                      <a:pt x="245" y="635"/>
                    </a:cubicBezTo>
                    <a:close/>
                    <a:moveTo>
                      <a:pt x="104" y="1969"/>
                    </a:moveTo>
                    <a:lnTo>
                      <a:pt x="104" y="1969"/>
                    </a:lnTo>
                    <a:cubicBezTo>
                      <a:pt x="115" y="1958"/>
                      <a:pt x="125" y="1953"/>
                      <a:pt x="136" y="1953"/>
                    </a:cubicBezTo>
                    <a:cubicBezTo>
                      <a:pt x="1438" y="1953"/>
                      <a:pt x="1004" y="1953"/>
                      <a:pt x="1438" y="1953"/>
                    </a:cubicBezTo>
                    <a:cubicBezTo>
                      <a:pt x="1448" y="1953"/>
                      <a:pt x="1458" y="1958"/>
                      <a:pt x="1469" y="1969"/>
                    </a:cubicBezTo>
                    <a:cubicBezTo>
                      <a:pt x="1474" y="1974"/>
                      <a:pt x="1479" y="1984"/>
                      <a:pt x="1479" y="1995"/>
                    </a:cubicBezTo>
                    <a:cubicBezTo>
                      <a:pt x="1479" y="2005"/>
                      <a:pt x="1474" y="2015"/>
                      <a:pt x="1469" y="2026"/>
                    </a:cubicBezTo>
                    <a:cubicBezTo>
                      <a:pt x="1458" y="2031"/>
                      <a:pt x="1448" y="2036"/>
                      <a:pt x="1438" y="2036"/>
                    </a:cubicBezTo>
                    <a:cubicBezTo>
                      <a:pt x="136" y="2036"/>
                      <a:pt x="570" y="2036"/>
                      <a:pt x="136" y="2036"/>
                    </a:cubicBezTo>
                    <a:cubicBezTo>
                      <a:pt x="125" y="2036"/>
                      <a:pt x="115" y="2031"/>
                      <a:pt x="104" y="2026"/>
                    </a:cubicBezTo>
                    <a:cubicBezTo>
                      <a:pt x="99" y="2015"/>
                      <a:pt x="94" y="2005"/>
                      <a:pt x="94" y="1995"/>
                    </a:cubicBezTo>
                    <a:cubicBezTo>
                      <a:pt x="94" y="1984"/>
                      <a:pt x="99" y="1974"/>
                      <a:pt x="104" y="1969"/>
                    </a:cubicBezTo>
                    <a:close/>
                    <a:moveTo>
                      <a:pt x="1130" y="2917"/>
                    </a:moveTo>
                    <a:lnTo>
                      <a:pt x="1130" y="2917"/>
                    </a:lnTo>
                    <a:cubicBezTo>
                      <a:pt x="443" y="2917"/>
                      <a:pt x="672" y="2917"/>
                      <a:pt x="443" y="2917"/>
                    </a:cubicBezTo>
                    <a:cubicBezTo>
                      <a:pt x="443" y="2854"/>
                      <a:pt x="443" y="2875"/>
                      <a:pt x="443" y="2854"/>
                    </a:cubicBezTo>
                    <a:cubicBezTo>
                      <a:pt x="1130" y="2854"/>
                      <a:pt x="901" y="2854"/>
                      <a:pt x="1130" y="2854"/>
                    </a:cubicBezTo>
                    <a:cubicBezTo>
                      <a:pt x="1130" y="2875"/>
                      <a:pt x="1130" y="2896"/>
                      <a:pt x="1130" y="2917"/>
                    </a:cubicBezTo>
                    <a:close/>
                    <a:moveTo>
                      <a:pt x="1391" y="2547"/>
                    </a:moveTo>
                    <a:lnTo>
                      <a:pt x="1391" y="2547"/>
                    </a:lnTo>
                    <a:cubicBezTo>
                      <a:pt x="1391" y="2604"/>
                      <a:pt x="1370" y="2656"/>
                      <a:pt x="1328" y="2698"/>
                    </a:cubicBezTo>
                    <a:cubicBezTo>
                      <a:pt x="1287" y="2739"/>
                      <a:pt x="1235" y="2760"/>
                      <a:pt x="1177" y="2760"/>
                    </a:cubicBezTo>
                    <a:cubicBezTo>
                      <a:pt x="396" y="2760"/>
                      <a:pt x="656" y="2760"/>
                      <a:pt x="396" y="2760"/>
                    </a:cubicBezTo>
                    <a:cubicBezTo>
                      <a:pt x="339" y="2760"/>
                      <a:pt x="287" y="2739"/>
                      <a:pt x="245" y="2698"/>
                    </a:cubicBezTo>
                    <a:cubicBezTo>
                      <a:pt x="203" y="2656"/>
                      <a:pt x="182" y="2604"/>
                      <a:pt x="182" y="2547"/>
                    </a:cubicBezTo>
                    <a:cubicBezTo>
                      <a:pt x="182" y="2130"/>
                      <a:pt x="182" y="2269"/>
                      <a:pt x="182" y="2130"/>
                    </a:cubicBezTo>
                    <a:cubicBezTo>
                      <a:pt x="1391" y="2130"/>
                      <a:pt x="988" y="2130"/>
                      <a:pt x="1391" y="2130"/>
                    </a:cubicBezTo>
                    <a:cubicBezTo>
                      <a:pt x="1391" y="2269"/>
                      <a:pt x="1391" y="2408"/>
                      <a:pt x="1391" y="2547"/>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4" name="Freeform 4">
                <a:extLst>
                  <a:ext uri="{FF2B5EF4-FFF2-40B4-BE49-F238E27FC236}">
                    <a16:creationId xmlns:a16="http://schemas.microsoft.com/office/drawing/2014/main" id="{5FC6AD8F-5466-6179-E88B-1CCE5A5D481F}"/>
                  </a:ext>
                </a:extLst>
              </p:cNvPr>
              <p:cNvSpPr>
                <a:spLocks noChangeArrowheads="1"/>
              </p:cNvSpPr>
              <p:nvPr/>
            </p:nvSpPr>
            <p:spPr bwMode="auto">
              <a:xfrm>
                <a:off x="526144" y="779917"/>
                <a:ext cx="284163" cy="192088"/>
              </a:xfrm>
              <a:custGeom>
                <a:avLst/>
                <a:gdLst>
                  <a:gd name="T0" fmla="*/ 797 w 798"/>
                  <a:gd name="T1" fmla="*/ 542 h 543"/>
                  <a:gd name="T2" fmla="*/ 797 w 798"/>
                  <a:gd name="T3" fmla="*/ 542 h 543"/>
                  <a:gd name="T4" fmla="*/ 797 w 798"/>
                  <a:gd name="T5" fmla="*/ 271 h 543"/>
                  <a:gd name="T6" fmla="*/ 713 w 798"/>
                  <a:gd name="T7" fmla="*/ 78 h 543"/>
                  <a:gd name="T8" fmla="*/ 526 w 798"/>
                  <a:gd name="T9" fmla="*/ 0 h 543"/>
                  <a:gd name="T10" fmla="*/ 0 w 798"/>
                  <a:gd name="T11" fmla="*/ 0 h 543"/>
                  <a:gd name="T12" fmla="*/ 0 w 798"/>
                  <a:gd name="T13" fmla="*/ 271 h 543"/>
                  <a:gd name="T14" fmla="*/ 78 w 798"/>
                  <a:gd name="T15" fmla="*/ 464 h 543"/>
                  <a:gd name="T16" fmla="*/ 271 w 798"/>
                  <a:gd name="T17" fmla="*/ 542 h 543"/>
                  <a:gd name="T18" fmla="*/ 797 w 798"/>
                  <a:gd name="T19" fmla="*/ 542 h 543"/>
                  <a:gd name="T20" fmla="*/ 94 w 798"/>
                  <a:gd name="T21" fmla="*/ 271 h 543"/>
                  <a:gd name="T22" fmla="*/ 94 w 798"/>
                  <a:gd name="T23" fmla="*/ 271 h 543"/>
                  <a:gd name="T24" fmla="*/ 94 w 798"/>
                  <a:gd name="T25" fmla="*/ 94 h 543"/>
                  <a:gd name="T26" fmla="*/ 526 w 798"/>
                  <a:gd name="T27" fmla="*/ 94 h 543"/>
                  <a:gd name="T28" fmla="*/ 651 w 798"/>
                  <a:gd name="T29" fmla="*/ 146 h 543"/>
                  <a:gd name="T30" fmla="*/ 703 w 798"/>
                  <a:gd name="T31" fmla="*/ 271 h 543"/>
                  <a:gd name="T32" fmla="*/ 703 w 798"/>
                  <a:gd name="T33" fmla="*/ 448 h 543"/>
                  <a:gd name="T34" fmla="*/ 271 w 798"/>
                  <a:gd name="T35" fmla="*/ 448 h 543"/>
                  <a:gd name="T36" fmla="*/ 146 w 798"/>
                  <a:gd name="T37" fmla="*/ 396 h 543"/>
                  <a:gd name="T38" fmla="*/ 94 w 798"/>
                  <a:gd name="T39" fmla="*/ 271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8" h="543">
                    <a:moveTo>
                      <a:pt x="797" y="542"/>
                    </a:moveTo>
                    <a:lnTo>
                      <a:pt x="797" y="542"/>
                    </a:lnTo>
                    <a:cubicBezTo>
                      <a:pt x="797" y="271"/>
                      <a:pt x="797" y="361"/>
                      <a:pt x="797" y="271"/>
                    </a:cubicBezTo>
                    <a:cubicBezTo>
                      <a:pt x="797" y="198"/>
                      <a:pt x="766" y="130"/>
                      <a:pt x="713" y="78"/>
                    </a:cubicBezTo>
                    <a:cubicBezTo>
                      <a:pt x="667" y="26"/>
                      <a:pt x="599" y="0"/>
                      <a:pt x="526" y="0"/>
                    </a:cubicBezTo>
                    <a:cubicBezTo>
                      <a:pt x="0" y="0"/>
                      <a:pt x="175" y="0"/>
                      <a:pt x="0" y="0"/>
                    </a:cubicBezTo>
                    <a:cubicBezTo>
                      <a:pt x="0" y="271"/>
                      <a:pt x="0" y="181"/>
                      <a:pt x="0" y="271"/>
                    </a:cubicBezTo>
                    <a:cubicBezTo>
                      <a:pt x="0" y="344"/>
                      <a:pt x="31" y="411"/>
                      <a:pt x="78" y="464"/>
                    </a:cubicBezTo>
                    <a:cubicBezTo>
                      <a:pt x="130" y="510"/>
                      <a:pt x="198" y="542"/>
                      <a:pt x="271" y="542"/>
                    </a:cubicBezTo>
                    <a:cubicBezTo>
                      <a:pt x="446" y="542"/>
                      <a:pt x="622" y="542"/>
                      <a:pt x="797" y="542"/>
                    </a:cubicBezTo>
                    <a:close/>
                    <a:moveTo>
                      <a:pt x="94" y="271"/>
                    </a:moveTo>
                    <a:lnTo>
                      <a:pt x="94" y="271"/>
                    </a:lnTo>
                    <a:cubicBezTo>
                      <a:pt x="94" y="94"/>
                      <a:pt x="94" y="153"/>
                      <a:pt x="94" y="94"/>
                    </a:cubicBezTo>
                    <a:cubicBezTo>
                      <a:pt x="526" y="94"/>
                      <a:pt x="382" y="94"/>
                      <a:pt x="526" y="94"/>
                    </a:cubicBezTo>
                    <a:cubicBezTo>
                      <a:pt x="573" y="94"/>
                      <a:pt x="614" y="109"/>
                      <a:pt x="651" y="146"/>
                    </a:cubicBezTo>
                    <a:cubicBezTo>
                      <a:pt x="682" y="177"/>
                      <a:pt x="703" y="224"/>
                      <a:pt x="703" y="271"/>
                    </a:cubicBezTo>
                    <a:cubicBezTo>
                      <a:pt x="703" y="448"/>
                      <a:pt x="703" y="389"/>
                      <a:pt x="703" y="448"/>
                    </a:cubicBezTo>
                    <a:cubicBezTo>
                      <a:pt x="271" y="448"/>
                      <a:pt x="415" y="448"/>
                      <a:pt x="271" y="448"/>
                    </a:cubicBezTo>
                    <a:cubicBezTo>
                      <a:pt x="224" y="448"/>
                      <a:pt x="182" y="427"/>
                      <a:pt x="146" y="396"/>
                    </a:cubicBezTo>
                    <a:cubicBezTo>
                      <a:pt x="114" y="359"/>
                      <a:pt x="94" y="318"/>
                      <a:pt x="94" y="271"/>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5" name="Freeform 5">
                <a:extLst>
                  <a:ext uri="{FF2B5EF4-FFF2-40B4-BE49-F238E27FC236}">
                    <a16:creationId xmlns:a16="http://schemas.microsoft.com/office/drawing/2014/main" id="{3916B269-66F0-2C07-3C03-66EE1E066A01}"/>
                  </a:ext>
                </a:extLst>
              </p:cNvPr>
              <p:cNvSpPr>
                <a:spLocks noChangeArrowheads="1"/>
              </p:cNvSpPr>
              <p:nvPr/>
            </p:nvSpPr>
            <p:spPr bwMode="auto">
              <a:xfrm>
                <a:off x="918256" y="779917"/>
                <a:ext cx="284163" cy="192088"/>
              </a:xfrm>
              <a:custGeom>
                <a:avLst/>
                <a:gdLst>
                  <a:gd name="T0" fmla="*/ 271 w 798"/>
                  <a:gd name="T1" fmla="*/ 0 h 543"/>
                  <a:gd name="T2" fmla="*/ 271 w 798"/>
                  <a:gd name="T3" fmla="*/ 0 h 543"/>
                  <a:gd name="T4" fmla="*/ 84 w 798"/>
                  <a:gd name="T5" fmla="*/ 78 h 543"/>
                  <a:gd name="T6" fmla="*/ 0 w 798"/>
                  <a:gd name="T7" fmla="*/ 271 h 543"/>
                  <a:gd name="T8" fmla="*/ 0 w 798"/>
                  <a:gd name="T9" fmla="*/ 542 h 543"/>
                  <a:gd name="T10" fmla="*/ 526 w 798"/>
                  <a:gd name="T11" fmla="*/ 542 h 543"/>
                  <a:gd name="T12" fmla="*/ 719 w 798"/>
                  <a:gd name="T13" fmla="*/ 464 h 543"/>
                  <a:gd name="T14" fmla="*/ 797 w 798"/>
                  <a:gd name="T15" fmla="*/ 271 h 543"/>
                  <a:gd name="T16" fmla="*/ 797 w 798"/>
                  <a:gd name="T17" fmla="*/ 0 h 543"/>
                  <a:gd name="T18" fmla="*/ 271 w 798"/>
                  <a:gd name="T19" fmla="*/ 0 h 543"/>
                  <a:gd name="T20" fmla="*/ 704 w 798"/>
                  <a:gd name="T21" fmla="*/ 271 h 543"/>
                  <a:gd name="T22" fmla="*/ 704 w 798"/>
                  <a:gd name="T23" fmla="*/ 271 h 543"/>
                  <a:gd name="T24" fmla="*/ 651 w 798"/>
                  <a:gd name="T25" fmla="*/ 396 h 543"/>
                  <a:gd name="T26" fmla="*/ 526 w 798"/>
                  <a:gd name="T27" fmla="*/ 448 h 543"/>
                  <a:gd name="T28" fmla="*/ 94 w 798"/>
                  <a:gd name="T29" fmla="*/ 448 h 543"/>
                  <a:gd name="T30" fmla="*/ 94 w 798"/>
                  <a:gd name="T31" fmla="*/ 271 h 543"/>
                  <a:gd name="T32" fmla="*/ 146 w 798"/>
                  <a:gd name="T33" fmla="*/ 146 h 543"/>
                  <a:gd name="T34" fmla="*/ 271 w 798"/>
                  <a:gd name="T35" fmla="*/ 94 h 543"/>
                  <a:gd name="T36" fmla="*/ 704 w 798"/>
                  <a:gd name="T37" fmla="*/ 94 h 543"/>
                  <a:gd name="T38" fmla="*/ 704 w 798"/>
                  <a:gd name="T39" fmla="*/ 271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8" h="543">
                    <a:moveTo>
                      <a:pt x="271" y="0"/>
                    </a:moveTo>
                    <a:lnTo>
                      <a:pt x="271" y="0"/>
                    </a:lnTo>
                    <a:cubicBezTo>
                      <a:pt x="198" y="0"/>
                      <a:pt x="131" y="26"/>
                      <a:pt x="84" y="78"/>
                    </a:cubicBezTo>
                    <a:cubicBezTo>
                      <a:pt x="32" y="130"/>
                      <a:pt x="0" y="198"/>
                      <a:pt x="0" y="271"/>
                    </a:cubicBezTo>
                    <a:cubicBezTo>
                      <a:pt x="0" y="542"/>
                      <a:pt x="0" y="452"/>
                      <a:pt x="0" y="542"/>
                    </a:cubicBezTo>
                    <a:cubicBezTo>
                      <a:pt x="526" y="542"/>
                      <a:pt x="351" y="542"/>
                      <a:pt x="526" y="542"/>
                    </a:cubicBezTo>
                    <a:cubicBezTo>
                      <a:pt x="599" y="542"/>
                      <a:pt x="667" y="510"/>
                      <a:pt x="719" y="464"/>
                    </a:cubicBezTo>
                    <a:cubicBezTo>
                      <a:pt x="766" y="411"/>
                      <a:pt x="797" y="344"/>
                      <a:pt x="797" y="271"/>
                    </a:cubicBezTo>
                    <a:cubicBezTo>
                      <a:pt x="797" y="0"/>
                      <a:pt x="797" y="90"/>
                      <a:pt x="797" y="0"/>
                    </a:cubicBezTo>
                    <a:cubicBezTo>
                      <a:pt x="622" y="0"/>
                      <a:pt x="446" y="0"/>
                      <a:pt x="271" y="0"/>
                    </a:cubicBezTo>
                    <a:close/>
                    <a:moveTo>
                      <a:pt x="704" y="271"/>
                    </a:moveTo>
                    <a:lnTo>
                      <a:pt x="704" y="271"/>
                    </a:lnTo>
                    <a:cubicBezTo>
                      <a:pt x="704" y="318"/>
                      <a:pt x="683" y="359"/>
                      <a:pt x="651" y="396"/>
                    </a:cubicBezTo>
                    <a:cubicBezTo>
                      <a:pt x="615" y="427"/>
                      <a:pt x="573" y="448"/>
                      <a:pt x="526" y="448"/>
                    </a:cubicBezTo>
                    <a:cubicBezTo>
                      <a:pt x="94" y="448"/>
                      <a:pt x="238" y="448"/>
                      <a:pt x="94" y="448"/>
                    </a:cubicBezTo>
                    <a:cubicBezTo>
                      <a:pt x="94" y="271"/>
                      <a:pt x="94" y="330"/>
                      <a:pt x="94" y="271"/>
                    </a:cubicBezTo>
                    <a:cubicBezTo>
                      <a:pt x="94" y="224"/>
                      <a:pt x="115" y="177"/>
                      <a:pt x="146" y="146"/>
                    </a:cubicBezTo>
                    <a:cubicBezTo>
                      <a:pt x="183" y="109"/>
                      <a:pt x="224" y="94"/>
                      <a:pt x="271" y="94"/>
                    </a:cubicBezTo>
                    <a:cubicBezTo>
                      <a:pt x="704" y="94"/>
                      <a:pt x="560" y="94"/>
                      <a:pt x="704" y="94"/>
                    </a:cubicBezTo>
                    <a:cubicBezTo>
                      <a:pt x="704" y="153"/>
                      <a:pt x="704" y="212"/>
                      <a:pt x="704" y="271"/>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6" name="Freeform 6">
                <a:extLst>
                  <a:ext uri="{FF2B5EF4-FFF2-40B4-BE49-F238E27FC236}">
                    <a16:creationId xmlns:a16="http://schemas.microsoft.com/office/drawing/2014/main" id="{682CE25F-58D9-5001-C001-C4EA9776E805}"/>
                  </a:ext>
                </a:extLst>
              </p:cNvPr>
              <p:cNvSpPr>
                <a:spLocks noChangeArrowheads="1"/>
              </p:cNvSpPr>
              <p:nvPr/>
            </p:nvSpPr>
            <p:spPr bwMode="auto">
              <a:xfrm>
                <a:off x="699181" y="398917"/>
                <a:ext cx="330200" cy="330200"/>
              </a:xfrm>
              <a:custGeom>
                <a:avLst/>
                <a:gdLst>
                  <a:gd name="T0" fmla="*/ 927 w 928"/>
                  <a:gd name="T1" fmla="*/ 463 h 928"/>
                  <a:gd name="T2" fmla="*/ 927 w 928"/>
                  <a:gd name="T3" fmla="*/ 463 h 928"/>
                  <a:gd name="T4" fmla="*/ 464 w 928"/>
                  <a:gd name="T5" fmla="*/ 0 h 928"/>
                  <a:gd name="T6" fmla="*/ 0 w 928"/>
                  <a:gd name="T7" fmla="*/ 463 h 928"/>
                  <a:gd name="T8" fmla="*/ 464 w 928"/>
                  <a:gd name="T9" fmla="*/ 927 h 928"/>
                  <a:gd name="T10" fmla="*/ 927 w 928"/>
                  <a:gd name="T11" fmla="*/ 463 h 928"/>
                  <a:gd name="T12" fmla="*/ 94 w 928"/>
                  <a:gd name="T13" fmla="*/ 463 h 928"/>
                  <a:gd name="T14" fmla="*/ 94 w 928"/>
                  <a:gd name="T15" fmla="*/ 463 h 928"/>
                  <a:gd name="T16" fmla="*/ 464 w 928"/>
                  <a:gd name="T17" fmla="*/ 93 h 928"/>
                  <a:gd name="T18" fmla="*/ 833 w 928"/>
                  <a:gd name="T19" fmla="*/ 463 h 928"/>
                  <a:gd name="T20" fmla="*/ 464 w 928"/>
                  <a:gd name="T21" fmla="*/ 833 h 928"/>
                  <a:gd name="T22" fmla="*/ 94 w 928"/>
                  <a:gd name="T23" fmla="*/ 463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8" h="928">
                    <a:moveTo>
                      <a:pt x="927" y="463"/>
                    </a:moveTo>
                    <a:lnTo>
                      <a:pt x="927" y="463"/>
                    </a:lnTo>
                    <a:cubicBezTo>
                      <a:pt x="927" y="208"/>
                      <a:pt x="719" y="0"/>
                      <a:pt x="464" y="0"/>
                    </a:cubicBezTo>
                    <a:cubicBezTo>
                      <a:pt x="208" y="0"/>
                      <a:pt x="0" y="208"/>
                      <a:pt x="0" y="463"/>
                    </a:cubicBezTo>
                    <a:cubicBezTo>
                      <a:pt x="0" y="724"/>
                      <a:pt x="208" y="927"/>
                      <a:pt x="464" y="927"/>
                    </a:cubicBezTo>
                    <a:cubicBezTo>
                      <a:pt x="719" y="927"/>
                      <a:pt x="927" y="724"/>
                      <a:pt x="927" y="463"/>
                    </a:cubicBezTo>
                    <a:close/>
                    <a:moveTo>
                      <a:pt x="94" y="463"/>
                    </a:moveTo>
                    <a:lnTo>
                      <a:pt x="94" y="463"/>
                    </a:lnTo>
                    <a:cubicBezTo>
                      <a:pt x="94" y="260"/>
                      <a:pt x="260" y="93"/>
                      <a:pt x="464" y="93"/>
                    </a:cubicBezTo>
                    <a:cubicBezTo>
                      <a:pt x="667" y="93"/>
                      <a:pt x="833" y="260"/>
                      <a:pt x="833" y="463"/>
                    </a:cubicBezTo>
                    <a:cubicBezTo>
                      <a:pt x="833" y="672"/>
                      <a:pt x="667" y="833"/>
                      <a:pt x="464" y="833"/>
                    </a:cubicBezTo>
                    <a:cubicBezTo>
                      <a:pt x="260" y="833"/>
                      <a:pt x="94" y="672"/>
                      <a:pt x="94" y="463"/>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57" name="Freeform 7">
                <a:extLst>
                  <a:ext uri="{FF2B5EF4-FFF2-40B4-BE49-F238E27FC236}">
                    <a16:creationId xmlns:a16="http://schemas.microsoft.com/office/drawing/2014/main" id="{2EF15290-8E29-A55F-FACC-F5B5728548C4}"/>
                  </a:ext>
                </a:extLst>
              </p:cNvPr>
              <p:cNvSpPr>
                <a:spLocks noChangeArrowheads="1"/>
              </p:cNvSpPr>
              <p:nvPr/>
            </p:nvSpPr>
            <p:spPr bwMode="auto">
              <a:xfrm>
                <a:off x="803956" y="471942"/>
                <a:ext cx="120650" cy="184150"/>
              </a:xfrm>
              <a:custGeom>
                <a:avLst/>
                <a:gdLst>
                  <a:gd name="T0" fmla="*/ 218 w 344"/>
                  <a:gd name="T1" fmla="*/ 521 h 522"/>
                  <a:gd name="T2" fmla="*/ 218 w 344"/>
                  <a:gd name="T3" fmla="*/ 521 h 522"/>
                  <a:gd name="T4" fmla="*/ 218 w 344"/>
                  <a:gd name="T5" fmla="*/ 495 h 522"/>
                  <a:gd name="T6" fmla="*/ 302 w 344"/>
                  <a:gd name="T7" fmla="*/ 453 h 522"/>
                  <a:gd name="T8" fmla="*/ 343 w 344"/>
                  <a:gd name="T9" fmla="*/ 354 h 522"/>
                  <a:gd name="T10" fmla="*/ 302 w 344"/>
                  <a:gd name="T11" fmla="*/ 255 h 522"/>
                  <a:gd name="T12" fmla="*/ 203 w 344"/>
                  <a:gd name="T13" fmla="*/ 213 h 522"/>
                  <a:gd name="T14" fmla="*/ 140 w 344"/>
                  <a:gd name="T15" fmla="*/ 213 h 522"/>
                  <a:gd name="T16" fmla="*/ 109 w 344"/>
                  <a:gd name="T17" fmla="*/ 203 h 522"/>
                  <a:gd name="T18" fmla="*/ 93 w 344"/>
                  <a:gd name="T19" fmla="*/ 172 h 522"/>
                  <a:gd name="T20" fmla="*/ 109 w 344"/>
                  <a:gd name="T21" fmla="*/ 135 h 522"/>
                  <a:gd name="T22" fmla="*/ 140 w 344"/>
                  <a:gd name="T23" fmla="*/ 125 h 522"/>
                  <a:gd name="T24" fmla="*/ 203 w 344"/>
                  <a:gd name="T25" fmla="*/ 125 h 522"/>
                  <a:gd name="T26" fmla="*/ 234 w 344"/>
                  <a:gd name="T27" fmla="*/ 135 h 522"/>
                  <a:gd name="T28" fmla="*/ 250 w 344"/>
                  <a:gd name="T29" fmla="*/ 172 h 522"/>
                  <a:gd name="T30" fmla="*/ 343 w 344"/>
                  <a:gd name="T31" fmla="*/ 172 h 522"/>
                  <a:gd name="T32" fmla="*/ 302 w 344"/>
                  <a:gd name="T33" fmla="*/ 73 h 522"/>
                  <a:gd name="T34" fmla="*/ 218 w 344"/>
                  <a:gd name="T35" fmla="*/ 31 h 522"/>
                  <a:gd name="T36" fmla="*/ 218 w 344"/>
                  <a:gd name="T37" fmla="*/ 0 h 522"/>
                  <a:gd name="T38" fmla="*/ 125 w 344"/>
                  <a:gd name="T39" fmla="*/ 0 h 522"/>
                  <a:gd name="T40" fmla="*/ 125 w 344"/>
                  <a:gd name="T41" fmla="*/ 31 h 522"/>
                  <a:gd name="T42" fmla="*/ 41 w 344"/>
                  <a:gd name="T43" fmla="*/ 73 h 522"/>
                  <a:gd name="T44" fmla="*/ 0 w 344"/>
                  <a:gd name="T45" fmla="*/ 172 h 522"/>
                  <a:gd name="T46" fmla="*/ 41 w 344"/>
                  <a:gd name="T47" fmla="*/ 271 h 522"/>
                  <a:gd name="T48" fmla="*/ 140 w 344"/>
                  <a:gd name="T49" fmla="*/ 307 h 522"/>
                  <a:gd name="T50" fmla="*/ 203 w 344"/>
                  <a:gd name="T51" fmla="*/ 307 h 522"/>
                  <a:gd name="T52" fmla="*/ 234 w 344"/>
                  <a:gd name="T53" fmla="*/ 323 h 522"/>
                  <a:gd name="T54" fmla="*/ 250 w 344"/>
                  <a:gd name="T55" fmla="*/ 354 h 522"/>
                  <a:gd name="T56" fmla="*/ 234 w 344"/>
                  <a:gd name="T57" fmla="*/ 390 h 522"/>
                  <a:gd name="T58" fmla="*/ 203 w 344"/>
                  <a:gd name="T59" fmla="*/ 401 h 522"/>
                  <a:gd name="T60" fmla="*/ 140 w 344"/>
                  <a:gd name="T61" fmla="*/ 401 h 522"/>
                  <a:gd name="T62" fmla="*/ 109 w 344"/>
                  <a:gd name="T63" fmla="*/ 390 h 522"/>
                  <a:gd name="T64" fmla="*/ 93 w 344"/>
                  <a:gd name="T65" fmla="*/ 354 h 522"/>
                  <a:gd name="T66" fmla="*/ 0 w 344"/>
                  <a:gd name="T67" fmla="*/ 354 h 522"/>
                  <a:gd name="T68" fmla="*/ 41 w 344"/>
                  <a:gd name="T69" fmla="*/ 453 h 522"/>
                  <a:gd name="T70" fmla="*/ 125 w 344"/>
                  <a:gd name="T71" fmla="*/ 495 h 522"/>
                  <a:gd name="T72" fmla="*/ 125 w 344"/>
                  <a:gd name="T73" fmla="*/ 521 h 522"/>
                  <a:gd name="T74" fmla="*/ 218 w 344"/>
                  <a:gd name="T75" fmla="*/ 52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4" h="522">
                    <a:moveTo>
                      <a:pt x="218" y="521"/>
                    </a:moveTo>
                    <a:lnTo>
                      <a:pt x="218" y="521"/>
                    </a:lnTo>
                    <a:cubicBezTo>
                      <a:pt x="218" y="495"/>
                      <a:pt x="218" y="504"/>
                      <a:pt x="218" y="495"/>
                    </a:cubicBezTo>
                    <a:cubicBezTo>
                      <a:pt x="250" y="489"/>
                      <a:pt x="281" y="479"/>
                      <a:pt x="302" y="453"/>
                    </a:cubicBezTo>
                    <a:cubicBezTo>
                      <a:pt x="328" y="427"/>
                      <a:pt x="343" y="390"/>
                      <a:pt x="343" y="354"/>
                    </a:cubicBezTo>
                    <a:cubicBezTo>
                      <a:pt x="343" y="318"/>
                      <a:pt x="328" y="281"/>
                      <a:pt x="302" y="255"/>
                    </a:cubicBezTo>
                    <a:cubicBezTo>
                      <a:pt x="276" y="229"/>
                      <a:pt x="239" y="213"/>
                      <a:pt x="203" y="213"/>
                    </a:cubicBezTo>
                    <a:cubicBezTo>
                      <a:pt x="140" y="213"/>
                      <a:pt x="161" y="213"/>
                      <a:pt x="140" y="213"/>
                    </a:cubicBezTo>
                    <a:cubicBezTo>
                      <a:pt x="130" y="213"/>
                      <a:pt x="114" y="213"/>
                      <a:pt x="109" y="203"/>
                    </a:cubicBezTo>
                    <a:cubicBezTo>
                      <a:pt x="99" y="193"/>
                      <a:pt x="93" y="182"/>
                      <a:pt x="93" y="172"/>
                    </a:cubicBezTo>
                    <a:cubicBezTo>
                      <a:pt x="93" y="156"/>
                      <a:pt x="99" y="146"/>
                      <a:pt x="109" y="135"/>
                    </a:cubicBezTo>
                    <a:cubicBezTo>
                      <a:pt x="114" y="130"/>
                      <a:pt x="130" y="125"/>
                      <a:pt x="140" y="125"/>
                    </a:cubicBezTo>
                    <a:cubicBezTo>
                      <a:pt x="203" y="125"/>
                      <a:pt x="182" y="125"/>
                      <a:pt x="203" y="125"/>
                    </a:cubicBezTo>
                    <a:cubicBezTo>
                      <a:pt x="213" y="125"/>
                      <a:pt x="229" y="130"/>
                      <a:pt x="234" y="135"/>
                    </a:cubicBezTo>
                    <a:cubicBezTo>
                      <a:pt x="245" y="146"/>
                      <a:pt x="250" y="156"/>
                      <a:pt x="250" y="172"/>
                    </a:cubicBezTo>
                    <a:cubicBezTo>
                      <a:pt x="343" y="172"/>
                      <a:pt x="312" y="172"/>
                      <a:pt x="343" y="172"/>
                    </a:cubicBezTo>
                    <a:cubicBezTo>
                      <a:pt x="343" y="130"/>
                      <a:pt x="328" y="99"/>
                      <a:pt x="302" y="73"/>
                    </a:cubicBezTo>
                    <a:cubicBezTo>
                      <a:pt x="281" y="47"/>
                      <a:pt x="250" y="36"/>
                      <a:pt x="218" y="31"/>
                    </a:cubicBezTo>
                    <a:cubicBezTo>
                      <a:pt x="218" y="0"/>
                      <a:pt x="218" y="10"/>
                      <a:pt x="218" y="0"/>
                    </a:cubicBezTo>
                    <a:cubicBezTo>
                      <a:pt x="125" y="0"/>
                      <a:pt x="156" y="0"/>
                      <a:pt x="125" y="0"/>
                    </a:cubicBezTo>
                    <a:cubicBezTo>
                      <a:pt x="125" y="31"/>
                      <a:pt x="125" y="21"/>
                      <a:pt x="125" y="31"/>
                    </a:cubicBezTo>
                    <a:cubicBezTo>
                      <a:pt x="93" y="36"/>
                      <a:pt x="62" y="47"/>
                      <a:pt x="41" y="73"/>
                    </a:cubicBezTo>
                    <a:cubicBezTo>
                      <a:pt x="15" y="99"/>
                      <a:pt x="0" y="130"/>
                      <a:pt x="0" y="172"/>
                    </a:cubicBezTo>
                    <a:cubicBezTo>
                      <a:pt x="0" y="208"/>
                      <a:pt x="15" y="245"/>
                      <a:pt x="41" y="271"/>
                    </a:cubicBezTo>
                    <a:cubicBezTo>
                      <a:pt x="67" y="297"/>
                      <a:pt x="104" y="307"/>
                      <a:pt x="140" y="307"/>
                    </a:cubicBezTo>
                    <a:cubicBezTo>
                      <a:pt x="203" y="307"/>
                      <a:pt x="182" y="307"/>
                      <a:pt x="203" y="307"/>
                    </a:cubicBezTo>
                    <a:cubicBezTo>
                      <a:pt x="213" y="307"/>
                      <a:pt x="229" y="312"/>
                      <a:pt x="234" y="323"/>
                    </a:cubicBezTo>
                    <a:cubicBezTo>
                      <a:pt x="245" y="333"/>
                      <a:pt x="250" y="344"/>
                      <a:pt x="250" y="354"/>
                    </a:cubicBezTo>
                    <a:cubicBezTo>
                      <a:pt x="250" y="370"/>
                      <a:pt x="245" y="380"/>
                      <a:pt x="234" y="390"/>
                    </a:cubicBezTo>
                    <a:cubicBezTo>
                      <a:pt x="229" y="396"/>
                      <a:pt x="213" y="401"/>
                      <a:pt x="203" y="401"/>
                    </a:cubicBezTo>
                    <a:cubicBezTo>
                      <a:pt x="140" y="401"/>
                      <a:pt x="161" y="401"/>
                      <a:pt x="140" y="401"/>
                    </a:cubicBezTo>
                    <a:cubicBezTo>
                      <a:pt x="130" y="401"/>
                      <a:pt x="114" y="396"/>
                      <a:pt x="109" y="390"/>
                    </a:cubicBezTo>
                    <a:cubicBezTo>
                      <a:pt x="99" y="380"/>
                      <a:pt x="93" y="370"/>
                      <a:pt x="93" y="354"/>
                    </a:cubicBezTo>
                    <a:cubicBezTo>
                      <a:pt x="0" y="354"/>
                      <a:pt x="31" y="354"/>
                      <a:pt x="0" y="354"/>
                    </a:cubicBezTo>
                    <a:cubicBezTo>
                      <a:pt x="0" y="390"/>
                      <a:pt x="15" y="427"/>
                      <a:pt x="41" y="453"/>
                    </a:cubicBezTo>
                    <a:cubicBezTo>
                      <a:pt x="62" y="479"/>
                      <a:pt x="93" y="489"/>
                      <a:pt x="125" y="495"/>
                    </a:cubicBezTo>
                    <a:cubicBezTo>
                      <a:pt x="125" y="521"/>
                      <a:pt x="125" y="512"/>
                      <a:pt x="125" y="521"/>
                    </a:cubicBezTo>
                    <a:cubicBezTo>
                      <a:pt x="156" y="521"/>
                      <a:pt x="187" y="521"/>
                      <a:pt x="218" y="521"/>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nvGrpSpPr>
            <p:cNvPr id="58" name="Group 52">
              <a:extLst>
                <a:ext uri="{FF2B5EF4-FFF2-40B4-BE49-F238E27FC236}">
                  <a16:creationId xmlns:a16="http://schemas.microsoft.com/office/drawing/2014/main" id="{8F54D4BA-FA28-E4D8-E185-B15CBBB90BB8}"/>
                </a:ext>
              </a:extLst>
            </p:cNvPr>
            <p:cNvGrpSpPr/>
            <p:nvPr userDrawn="1"/>
          </p:nvGrpSpPr>
          <p:grpSpPr>
            <a:xfrm>
              <a:off x="7969933" y="4574564"/>
              <a:ext cx="589747" cy="731243"/>
              <a:chOff x="430894" y="1938792"/>
              <a:chExt cx="866775" cy="1074737"/>
            </a:xfrm>
          </p:grpSpPr>
          <p:sp>
            <p:nvSpPr>
              <p:cNvPr id="59" name="Freeform 73">
                <a:extLst>
                  <a:ext uri="{FF2B5EF4-FFF2-40B4-BE49-F238E27FC236}">
                    <a16:creationId xmlns:a16="http://schemas.microsoft.com/office/drawing/2014/main" id="{1800F47C-5F7D-50EE-742F-963F252ADD85}"/>
                  </a:ext>
                </a:extLst>
              </p:cNvPr>
              <p:cNvSpPr>
                <a:spLocks noChangeArrowheads="1"/>
              </p:cNvSpPr>
              <p:nvPr/>
            </p:nvSpPr>
            <p:spPr bwMode="auto">
              <a:xfrm>
                <a:off x="430894" y="1938792"/>
                <a:ext cx="866775" cy="962025"/>
              </a:xfrm>
              <a:custGeom>
                <a:avLst/>
                <a:gdLst>
                  <a:gd name="T0" fmla="*/ 2365 w 2418"/>
                  <a:gd name="T1" fmla="*/ 1953 h 2683"/>
                  <a:gd name="T2" fmla="*/ 2104 w 2418"/>
                  <a:gd name="T3" fmla="*/ 1953 h 2683"/>
                  <a:gd name="T4" fmla="*/ 2047 w 2418"/>
                  <a:gd name="T5" fmla="*/ 2099 h 2683"/>
                  <a:gd name="T6" fmla="*/ 1568 w 2418"/>
                  <a:gd name="T7" fmla="*/ 1088 h 2683"/>
                  <a:gd name="T8" fmla="*/ 1209 w 2418"/>
                  <a:gd name="T9" fmla="*/ 0 h 2683"/>
                  <a:gd name="T10" fmla="*/ 849 w 2418"/>
                  <a:gd name="T11" fmla="*/ 1088 h 2683"/>
                  <a:gd name="T12" fmla="*/ 370 w 2418"/>
                  <a:gd name="T13" fmla="*/ 2099 h 2683"/>
                  <a:gd name="T14" fmla="*/ 313 w 2418"/>
                  <a:gd name="T15" fmla="*/ 1953 h 2683"/>
                  <a:gd name="T16" fmla="*/ 52 w 2418"/>
                  <a:gd name="T17" fmla="*/ 1953 h 2683"/>
                  <a:gd name="T18" fmla="*/ 0 w 2418"/>
                  <a:gd name="T19" fmla="*/ 2682 h 2683"/>
                  <a:gd name="T20" fmla="*/ 370 w 2418"/>
                  <a:gd name="T21" fmla="*/ 2567 h 2683"/>
                  <a:gd name="T22" fmla="*/ 964 w 2418"/>
                  <a:gd name="T23" fmla="*/ 2682 h 2683"/>
                  <a:gd name="T24" fmla="*/ 1547 w 2418"/>
                  <a:gd name="T25" fmla="*/ 2474 h 2683"/>
                  <a:gd name="T26" fmla="*/ 2047 w 2418"/>
                  <a:gd name="T27" fmla="*/ 2682 h 2683"/>
                  <a:gd name="T28" fmla="*/ 2417 w 2418"/>
                  <a:gd name="T29" fmla="*/ 2083 h 2683"/>
                  <a:gd name="T30" fmla="*/ 2141 w 2418"/>
                  <a:gd name="T31" fmla="*/ 2083 h 2683"/>
                  <a:gd name="T32" fmla="*/ 2167 w 2418"/>
                  <a:gd name="T33" fmla="*/ 2021 h 2683"/>
                  <a:gd name="T34" fmla="*/ 2297 w 2418"/>
                  <a:gd name="T35" fmla="*/ 2021 h 2683"/>
                  <a:gd name="T36" fmla="*/ 2323 w 2418"/>
                  <a:gd name="T37" fmla="*/ 2396 h 2683"/>
                  <a:gd name="T38" fmla="*/ 2141 w 2418"/>
                  <a:gd name="T39" fmla="*/ 2104 h 2683"/>
                  <a:gd name="T40" fmla="*/ 1209 w 2418"/>
                  <a:gd name="T41" fmla="*/ 166 h 2683"/>
                  <a:gd name="T42" fmla="*/ 1380 w 2418"/>
                  <a:gd name="T43" fmla="*/ 526 h 2683"/>
                  <a:gd name="T44" fmla="*/ 1209 w 2418"/>
                  <a:gd name="T45" fmla="*/ 166 h 2683"/>
                  <a:gd name="T46" fmla="*/ 943 w 2418"/>
                  <a:gd name="T47" fmla="*/ 1088 h 2683"/>
                  <a:gd name="T48" fmla="*/ 1412 w 2418"/>
                  <a:gd name="T49" fmla="*/ 620 h 2683"/>
                  <a:gd name="T50" fmla="*/ 1474 w 2418"/>
                  <a:gd name="T51" fmla="*/ 1349 h 2683"/>
                  <a:gd name="T52" fmla="*/ 943 w 2418"/>
                  <a:gd name="T53" fmla="*/ 2375 h 2683"/>
                  <a:gd name="T54" fmla="*/ 943 w 2418"/>
                  <a:gd name="T55" fmla="*/ 1088 h 2683"/>
                  <a:gd name="T56" fmla="*/ 120 w 2418"/>
                  <a:gd name="T57" fmla="*/ 2021 h 2683"/>
                  <a:gd name="T58" fmla="*/ 250 w 2418"/>
                  <a:gd name="T59" fmla="*/ 2021 h 2683"/>
                  <a:gd name="T60" fmla="*/ 276 w 2418"/>
                  <a:gd name="T61" fmla="*/ 2104 h 2683"/>
                  <a:gd name="T62" fmla="*/ 94 w 2418"/>
                  <a:gd name="T63" fmla="*/ 2396 h 2683"/>
                  <a:gd name="T64" fmla="*/ 120 w 2418"/>
                  <a:gd name="T65" fmla="*/ 2021 h 2683"/>
                  <a:gd name="T66" fmla="*/ 276 w 2418"/>
                  <a:gd name="T67" fmla="*/ 2588 h 2683"/>
                  <a:gd name="T68" fmla="*/ 94 w 2418"/>
                  <a:gd name="T69" fmla="*/ 2489 h 2683"/>
                  <a:gd name="T70" fmla="*/ 276 w 2418"/>
                  <a:gd name="T71" fmla="*/ 2583 h 2683"/>
                  <a:gd name="T72" fmla="*/ 370 w 2418"/>
                  <a:gd name="T73" fmla="*/ 2198 h 2683"/>
                  <a:gd name="T74" fmla="*/ 849 w 2418"/>
                  <a:gd name="T75" fmla="*/ 1797 h 2683"/>
                  <a:gd name="T76" fmla="*/ 370 w 2418"/>
                  <a:gd name="T77" fmla="*/ 2474 h 2683"/>
                  <a:gd name="T78" fmla="*/ 1021 w 2418"/>
                  <a:gd name="T79" fmla="*/ 2588 h 2683"/>
                  <a:gd name="T80" fmla="*/ 969 w 2418"/>
                  <a:gd name="T81" fmla="*/ 2469 h 2683"/>
                  <a:gd name="T82" fmla="*/ 1396 w 2418"/>
                  <a:gd name="T83" fmla="*/ 2588 h 2683"/>
                  <a:gd name="T84" fmla="*/ 1568 w 2418"/>
                  <a:gd name="T85" fmla="*/ 2385 h 2683"/>
                  <a:gd name="T86" fmla="*/ 1568 w 2418"/>
                  <a:gd name="T87" fmla="*/ 1797 h 2683"/>
                  <a:gd name="T88" fmla="*/ 2047 w 2418"/>
                  <a:gd name="T89" fmla="*/ 2474 h 2683"/>
                  <a:gd name="T90" fmla="*/ 2141 w 2418"/>
                  <a:gd name="T91" fmla="*/ 2588 h 2683"/>
                  <a:gd name="T92" fmla="*/ 2141 w 2418"/>
                  <a:gd name="T93" fmla="*/ 2583 h 2683"/>
                  <a:gd name="T94" fmla="*/ 2323 w 2418"/>
                  <a:gd name="T95" fmla="*/ 2489 h 2683"/>
                  <a:gd name="T96" fmla="*/ 2141 w 2418"/>
                  <a:gd name="T97" fmla="*/ 2588 h 2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18" h="2683">
                    <a:moveTo>
                      <a:pt x="2365" y="1953"/>
                    </a:moveTo>
                    <a:lnTo>
                      <a:pt x="2365" y="1953"/>
                    </a:lnTo>
                    <a:cubicBezTo>
                      <a:pt x="2328" y="1916"/>
                      <a:pt x="2282" y="1901"/>
                      <a:pt x="2235" y="1901"/>
                    </a:cubicBezTo>
                    <a:cubicBezTo>
                      <a:pt x="2183" y="1901"/>
                      <a:pt x="2136" y="1916"/>
                      <a:pt x="2104" y="1953"/>
                    </a:cubicBezTo>
                    <a:cubicBezTo>
                      <a:pt x="2068" y="1989"/>
                      <a:pt x="2047" y="2036"/>
                      <a:pt x="2047" y="2083"/>
                    </a:cubicBezTo>
                    <a:cubicBezTo>
                      <a:pt x="2047" y="2099"/>
                      <a:pt x="2047" y="2093"/>
                      <a:pt x="2047" y="2099"/>
                    </a:cubicBezTo>
                    <a:cubicBezTo>
                      <a:pt x="1782" y="2067"/>
                      <a:pt x="1568" y="1739"/>
                      <a:pt x="1568" y="1349"/>
                    </a:cubicBezTo>
                    <a:cubicBezTo>
                      <a:pt x="1568" y="1088"/>
                      <a:pt x="1568" y="1175"/>
                      <a:pt x="1568" y="1088"/>
                    </a:cubicBezTo>
                    <a:cubicBezTo>
                      <a:pt x="1568" y="719"/>
                      <a:pt x="1459" y="359"/>
                      <a:pt x="1245" y="52"/>
                    </a:cubicBezTo>
                    <a:cubicBezTo>
                      <a:pt x="1209" y="0"/>
                      <a:pt x="1221" y="17"/>
                      <a:pt x="1209" y="0"/>
                    </a:cubicBezTo>
                    <a:cubicBezTo>
                      <a:pt x="1172" y="52"/>
                      <a:pt x="1184" y="34"/>
                      <a:pt x="1172" y="52"/>
                    </a:cubicBezTo>
                    <a:cubicBezTo>
                      <a:pt x="959" y="359"/>
                      <a:pt x="849" y="719"/>
                      <a:pt x="849" y="1088"/>
                    </a:cubicBezTo>
                    <a:cubicBezTo>
                      <a:pt x="849" y="1349"/>
                      <a:pt x="849" y="1262"/>
                      <a:pt x="849" y="1349"/>
                    </a:cubicBezTo>
                    <a:cubicBezTo>
                      <a:pt x="849" y="1739"/>
                      <a:pt x="636" y="2067"/>
                      <a:pt x="370" y="2099"/>
                    </a:cubicBezTo>
                    <a:cubicBezTo>
                      <a:pt x="370" y="2083"/>
                      <a:pt x="370" y="2088"/>
                      <a:pt x="370" y="2083"/>
                    </a:cubicBezTo>
                    <a:cubicBezTo>
                      <a:pt x="370" y="2036"/>
                      <a:pt x="349" y="1989"/>
                      <a:pt x="313" y="1953"/>
                    </a:cubicBezTo>
                    <a:cubicBezTo>
                      <a:pt x="282" y="1916"/>
                      <a:pt x="235" y="1901"/>
                      <a:pt x="183" y="1901"/>
                    </a:cubicBezTo>
                    <a:cubicBezTo>
                      <a:pt x="136" y="1901"/>
                      <a:pt x="89" y="1916"/>
                      <a:pt x="52" y="1953"/>
                    </a:cubicBezTo>
                    <a:cubicBezTo>
                      <a:pt x="21" y="1989"/>
                      <a:pt x="0" y="2036"/>
                      <a:pt x="0" y="2083"/>
                    </a:cubicBezTo>
                    <a:cubicBezTo>
                      <a:pt x="0" y="2682"/>
                      <a:pt x="0" y="2482"/>
                      <a:pt x="0" y="2682"/>
                    </a:cubicBezTo>
                    <a:cubicBezTo>
                      <a:pt x="370" y="2682"/>
                      <a:pt x="247" y="2682"/>
                      <a:pt x="370" y="2682"/>
                    </a:cubicBezTo>
                    <a:cubicBezTo>
                      <a:pt x="370" y="2567"/>
                      <a:pt x="370" y="2605"/>
                      <a:pt x="370" y="2567"/>
                    </a:cubicBezTo>
                    <a:cubicBezTo>
                      <a:pt x="870" y="2474"/>
                      <a:pt x="703" y="2505"/>
                      <a:pt x="870" y="2474"/>
                    </a:cubicBezTo>
                    <a:cubicBezTo>
                      <a:pt x="964" y="2682"/>
                      <a:pt x="933" y="2612"/>
                      <a:pt x="964" y="2682"/>
                    </a:cubicBezTo>
                    <a:cubicBezTo>
                      <a:pt x="1453" y="2682"/>
                      <a:pt x="1290" y="2682"/>
                      <a:pt x="1453" y="2682"/>
                    </a:cubicBezTo>
                    <a:cubicBezTo>
                      <a:pt x="1547" y="2474"/>
                      <a:pt x="1516" y="2543"/>
                      <a:pt x="1547" y="2474"/>
                    </a:cubicBezTo>
                    <a:cubicBezTo>
                      <a:pt x="2047" y="2567"/>
                      <a:pt x="1880" y="2536"/>
                      <a:pt x="2047" y="2567"/>
                    </a:cubicBezTo>
                    <a:cubicBezTo>
                      <a:pt x="2047" y="2682"/>
                      <a:pt x="2047" y="2643"/>
                      <a:pt x="2047" y="2682"/>
                    </a:cubicBezTo>
                    <a:cubicBezTo>
                      <a:pt x="2417" y="2682"/>
                      <a:pt x="2294" y="2682"/>
                      <a:pt x="2417" y="2682"/>
                    </a:cubicBezTo>
                    <a:cubicBezTo>
                      <a:pt x="2417" y="2083"/>
                      <a:pt x="2417" y="2282"/>
                      <a:pt x="2417" y="2083"/>
                    </a:cubicBezTo>
                    <a:cubicBezTo>
                      <a:pt x="2417" y="2036"/>
                      <a:pt x="2396" y="1989"/>
                      <a:pt x="2365" y="1953"/>
                    </a:cubicBezTo>
                    <a:close/>
                    <a:moveTo>
                      <a:pt x="2141" y="2083"/>
                    </a:moveTo>
                    <a:lnTo>
                      <a:pt x="2141" y="2083"/>
                    </a:lnTo>
                    <a:cubicBezTo>
                      <a:pt x="2141" y="2057"/>
                      <a:pt x="2151" y="2036"/>
                      <a:pt x="2167" y="2021"/>
                    </a:cubicBezTo>
                    <a:cubicBezTo>
                      <a:pt x="2188" y="2000"/>
                      <a:pt x="2209" y="1995"/>
                      <a:pt x="2235" y="1995"/>
                    </a:cubicBezTo>
                    <a:cubicBezTo>
                      <a:pt x="2255" y="1995"/>
                      <a:pt x="2282" y="2000"/>
                      <a:pt x="2297" y="2021"/>
                    </a:cubicBezTo>
                    <a:cubicBezTo>
                      <a:pt x="2313" y="2036"/>
                      <a:pt x="2323" y="2057"/>
                      <a:pt x="2323" y="2083"/>
                    </a:cubicBezTo>
                    <a:cubicBezTo>
                      <a:pt x="2323" y="2396"/>
                      <a:pt x="2323" y="2291"/>
                      <a:pt x="2323" y="2396"/>
                    </a:cubicBezTo>
                    <a:cubicBezTo>
                      <a:pt x="2141" y="2396"/>
                      <a:pt x="2202" y="2396"/>
                      <a:pt x="2141" y="2396"/>
                    </a:cubicBezTo>
                    <a:cubicBezTo>
                      <a:pt x="2141" y="2104"/>
                      <a:pt x="2141" y="2201"/>
                      <a:pt x="2141" y="2104"/>
                    </a:cubicBezTo>
                    <a:cubicBezTo>
                      <a:pt x="2141" y="2097"/>
                      <a:pt x="2141" y="2090"/>
                      <a:pt x="2141" y="2083"/>
                    </a:cubicBezTo>
                    <a:close/>
                    <a:moveTo>
                      <a:pt x="1209" y="166"/>
                    </a:moveTo>
                    <a:lnTo>
                      <a:pt x="1209" y="166"/>
                    </a:lnTo>
                    <a:cubicBezTo>
                      <a:pt x="1282" y="281"/>
                      <a:pt x="1339" y="401"/>
                      <a:pt x="1380" y="526"/>
                    </a:cubicBezTo>
                    <a:cubicBezTo>
                      <a:pt x="1037" y="526"/>
                      <a:pt x="1151" y="526"/>
                      <a:pt x="1037" y="526"/>
                    </a:cubicBezTo>
                    <a:cubicBezTo>
                      <a:pt x="1078" y="401"/>
                      <a:pt x="1136" y="281"/>
                      <a:pt x="1209" y="166"/>
                    </a:cubicBezTo>
                    <a:close/>
                    <a:moveTo>
                      <a:pt x="943" y="1088"/>
                    </a:moveTo>
                    <a:lnTo>
                      <a:pt x="943" y="1088"/>
                    </a:lnTo>
                    <a:cubicBezTo>
                      <a:pt x="943" y="927"/>
                      <a:pt x="964" y="771"/>
                      <a:pt x="1005" y="620"/>
                    </a:cubicBezTo>
                    <a:cubicBezTo>
                      <a:pt x="1412" y="620"/>
                      <a:pt x="1276" y="620"/>
                      <a:pt x="1412" y="620"/>
                    </a:cubicBezTo>
                    <a:cubicBezTo>
                      <a:pt x="1453" y="771"/>
                      <a:pt x="1474" y="927"/>
                      <a:pt x="1474" y="1088"/>
                    </a:cubicBezTo>
                    <a:cubicBezTo>
                      <a:pt x="1474" y="1349"/>
                      <a:pt x="1474" y="1262"/>
                      <a:pt x="1474" y="1349"/>
                    </a:cubicBezTo>
                    <a:cubicBezTo>
                      <a:pt x="1474" y="2375"/>
                      <a:pt x="1474" y="2033"/>
                      <a:pt x="1474" y="2375"/>
                    </a:cubicBezTo>
                    <a:cubicBezTo>
                      <a:pt x="943" y="2375"/>
                      <a:pt x="1120" y="2375"/>
                      <a:pt x="943" y="2375"/>
                    </a:cubicBezTo>
                    <a:cubicBezTo>
                      <a:pt x="943" y="1349"/>
                      <a:pt x="943" y="1691"/>
                      <a:pt x="943" y="1349"/>
                    </a:cubicBezTo>
                    <a:cubicBezTo>
                      <a:pt x="943" y="1262"/>
                      <a:pt x="943" y="1175"/>
                      <a:pt x="943" y="1088"/>
                    </a:cubicBezTo>
                    <a:close/>
                    <a:moveTo>
                      <a:pt x="120" y="2021"/>
                    </a:moveTo>
                    <a:lnTo>
                      <a:pt x="120" y="2021"/>
                    </a:lnTo>
                    <a:cubicBezTo>
                      <a:pt x="136" y="2000"/>
                      <a:pt x="162" y="1995"/>
                      <a:pt x="183" y="1995"/>
                    </a:cubicBezTo>
                    <a:cubicBezTo>
                      <a:pt x="209" y="1995"/>
                      <a:pt x="229" y="2000"/>
                      <a:pt x="250" y="2021"/>
                    </a:cubicBezTo>
                    <a:cubicBezTo>
                      <a:pt x="266" y="2036"/>
                      <a:pt x="276" y="2057"/>
                      <a:pt x="276" y="2083"/>
                    </a:cubicBezTo>
                    <a:cubicBezTo>
                      <a:pt x="276" y="2104"/>
                      <a:pt x="276" y="2097"/>
                      <a:pt x="276" y="2104"/>
                    </a:cubicBezTo>
                    <a:cubicBezTo>
                      <a:pt x="276" y="2396"/>
                      <a:pt x="276" y="2298"/>
                      <a:pt x="276" y="2396"/>
                    </a:cubicBezTo>
                    <a:cubicBezTo>
                      <a:pt x="94" y="2396"/>
                      <a:pt x="155" y="2396"/>
                      <a:pt x="94" y="2396"/>
                    </a:cubicBezTo>
                    <a:cubicBezTo>
                      <a:pt x="94" y="2083"/>
                      <a:pt x="94" y="2187"/>
                      <a:pt x="94" y="2083"/>
                    </a:cubicBezTo>
                    <a:cubicBezTo>
                      <a:pt x="94" y="2057"/>
                      <a:pt x="104" y="2036"/>
                      <a:pt x="120" y="2021"/>
                    </a:cubicBezTo>
                    <a:close/>
                    <a:moveTo>
                      <a:pt x="276" y="2588"/>
                    </a:moveTo>
                    <a:lnTo>
                      <a:pt x="276" y="2588"/>
                    </a:lnTo>
                    <a:cubicBezTo>
                      <a:pt x="94" y="2588"/>
                      <a:pt x="155" y="2588"/>
                      <a:pt x="94" y="2588"/>
                    </a:cubicBezTo>
                    <a:cubicBezTo>
                      <a:pt x="94" y="2489"/>
                      <a:pt x="94" y="2522"/>
                      <a:pt x="94" y="2489"/>
                    </a:cubicBezTo>
                    <a:cubicBezTo>
                      <a:pt x="276" y="2489"/>
                      <a:pt x="215" y="2489"/>
                      <a:pt x="276" y="2489"/>
                    </a:cubicBezTo>
                    <a:cubicBezTo>
                      <a:pt x="276" y="2583"/>
                      <a:pt x="276" y="2551"/>
                      <a:pt x="276" y="2583"/>
                    </a:cubicBezTo>
                    <a:cubicBezTo>
                      <a:pt x="276" y="2584"/>
                      <a:pt x="276" y="2586"/>
                      <a:pt x="276" y="2588"/>
                    </a:cubicBezTo>
                    <a:close/>
                    <a:moveTo>
                      <a:pt x="370" y="2198"/>
                    </a:moveTo>
                    <a:lnTo>
                      <a:pt x="370" y="2198"/>
                    </a:lnTo>
                    <a:cubicBezTo>
                      <a:pt x="573" y="2177"/>
                      <a:pt x="745" y="2021"/>
                      <a:pt x="849" y="1797"/>
                    </a:cubicBezTo>
                    <a:cubicBezTo>
                      <a:pt x="849" y="2385"/>
                      <a:pt x="849" y="2189"/>
                      <a:pt x="849" y="2385"/>
                    </a:cubicBezTo>
                    <a:cubicBezTo>
                      <a:pt x="370" y="2474"/>
                      <a:pt x="530" y="2444"/>
                      <a:pt x="370" y="2474"/>
                    </a:cubicBezTo>
                    <a:cubicBezTo>
                      <a:pt x="370" y="2382"/>
                      <a:pt x="370" y="2290"/>
                      <a:pt x="370" y="2198"/>
                    </a:cubicBezTo>
                    <a:close/>
                    <a:moveTo>
                      <a:pt x="1021" y="2588"/>
                    </a:moveTo>
                    <a:lnTo>
                      <a:pt x="1021" y="2588"/>
                    </a:lnTo>
                    <a:cubicBezTo>
                      <a:pt x="969" y="2469"/>
                      <a:pt x="986" y="2508"/>
                      <a:pt x="969" y="2469"/>
                    </a:cubicBezTo>
                    <a:cubicBezTo>
                      <a:pt x="1448" y="2469"/>
                      <a:pt x="1288" y="2469"/>
                      <a:pt x="1448" y="2469"/>
                    </a:cubicBezTo>
                    <a:cubicBezTo>
                      <a:pt x="1396" y="2588"/>
                      <a:pt x="1413" y="2548"/>
                      <a:pt x="1396" y="2588"/>
                    </a:cubicBezTo>
                    <a:cubicBezTo>
                      <a:pt x="1271" y="2588"/>
                      <a:pt x="1146" y="2588"/>
                      <a:pt x="1021" y="2588"/>
                    </a:cubicBezTo>
                    <a:close/>
                    <a:moveTo>
                      <a:pt x="1568" y="2385"/>
                    </a:moveTo>
                    <a:lnTo>
                      <a:pt x="1568" y="2385"/>
                    </a:lnTo>
                    <a:cubicBezTo>
                      <a:pt x="1568" y="1797"/>
                      <a:pt x="1568" y="1993"/>
                      <a:pt x="1568" y="1797"/>
                    </a:cubicBezTo>
                    <a:cubicBezTo>
                      <a:pt x="1672" y="2021"/>
                      <a:pt x="1844" y="2177"/>
                      <a:pt x="2047" y="2198"/>
                    </a:cubicBezTo>
                    <a:cubicBezTo>
                      <a:pt x="2047" y="2474"/>
                      <a:pt x="2047" y="2382"/>
                      <a:pt x="2047" y="2474"/>
                    </a:cubicBezTo>
                    <a:cubicBezTo>
                      <a:pt x="1887" y="2444"/>
                      <a:pt x="1728" y="2414"/>
                      <a:pt x="1568" y="2385"/>
                    </a:cubicBezTo>
                    <a:close/>
                    <a:moveTo>
                      <a:pt x="2141" y="2588"/>
                    </a:moveTo>
                    <a:lnTo>
                      <a:pt x="2141" y="2588"/>
                    </a:lnTo>
                    <a:cubicBezTo>
                      <a:pt x="2141" y="2583"/>
                      <a:pt x="2141" y="2584"/>
                      <a:pt x="2141" y="2583"/>
                    </a:cubicBezTo>
                    <a:cubicBezTo>
                      <a:pt x="2141" y="2489"/>
                      <a:pt x="2141" y="2520"/>
                      <a:pt x="2141" y="2489"/>
                    </a:cubicBezTo>
                    <a:cubicBezTo>
                      <a:pt x="2323" y="2489"/>
                      <a:pt x="2262" y="2489"/>
                      <a:pt x="2323" y="2489"/>
                    </a:cubicBezTo>
                    <a:cubicBezTo>
                      <a:pt x="2323" y="2588"/>
                      <a:pt x="2323" y="2555"/>
                      <a:pt x="2323" y="2588"/>
                    </a:cubicBezTo>
                    <a:cubicBezTo>
                      <a:pt x="2262" y="2588"/>
                      <a:pt x="2202" y="2588"/>
                      <a:pt x="2141" y="2588"/>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0" name="Freeform 74">
                <a:extLst>
                  <a:ext uri="{FF2B5EF4-FFF2-40B4-BE49-F238E27FC236}">
                    <a16:creationId xmlns:a16="http://schemas.microsoft.com/office/drawing/2014/main" id="{21613506-4CCB-4130-132C-5C5BD2DC8F79}"/>
                  </a:ext>
                </a:extLst>
              </p:cNvPr>
              <p:cNvSpPr>
                <a:spLocks noChangeArrowheads="1"/>
              </p:cNvSpPr>
              <p:nvPr/>
            </p:nvSpPr>
            <p:spPr bwMode="auto">
              <a:xfrm>
                <a:off x="796019" y="2229304"/>
                <a:ext cx="136525" cy="136525"/>
              </a:xfrm>
              <a:custGeom>
                <a:avLst/>
                <a:gdLst>
                  <a:gd name="T0" fmla="*/ 193 w 386"/>
                  <a:gd name="T1" fmla="*/ 386 h 387"/>
                  <a:gd name="T2" fmla="*/ 193 w 386"/>
                  <a:gd name="T3" fmla="*/ 386 h 387"/>
                  <a:gd name="T4" fmla="*/ 385 w 386"/>
                  <a:gd name="T5" fmla="*/ 193 h 387"/>
                  <a:gd name="T6" fmla="*/ 193 w 386"/>
                  <a:gd name="T7" fmla="*/ 0 h 387"/>
                  <a:gd name="T8" fmla="*/ 0 w 386"/>
                  <a:gd name="T9" fmla="*/ 193 h 387"/>
                  <a:gd name="T10" fmla="*/ 193 w 386"/>
                  <a:gd name="T11" fmla="*/ 386 h 387"/>
                  <a:gd name="T12" fmla="*/ 193 w 386"/>
                  <a:gd name="T13" fmla="*/ 94 h 387"/>
                  <a:gd name="T14" fmla="*/ 193 w 386"/>
                  <a:gd name="T15" fmla="*/ 94 h 387"/>
                  <a:gd name="T16" fmla="*/ 292 w 386"/>
                  <a:gd name="T17" fmla="*/ 193 h 387"/>
                  <a:gd name="T18" fmla="*/ 193 w 386"/>
                  <a:gd name="T19" fmla="*/ 292 h 387"/>
                  <a:gd name="T20" fmla="*/ 94 w 386"/>
                  <a:gd name="T21" fmla="*/ 193 h 387"/>
                  <a:gd name="T22" fmla="*/ 193 w 386"/>
                  <a:gd name="T23" fmla="*/ 9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6" h="387">
                    <a:moveTo>
                      <a:pt x="193" y="386"/>
                    </a:moveTo>
                    <a:lnTo>
                      <a:pt x="193" y="386"/>
                    </a:lnTo>
                    <a:cubicBezTo>
                      <a:pt x="302" y="386"/>
                      <a:pt x="385" y="297"/>
                      <a:pt x="385" y="193"/>
                    </a:cubicBezTo>
                    <a:cubicBezTo>
                      <a:pt x="385" y="84"/>
                      <a:pt x="302" y="0"/>
                      <a:pt x="193" y="0"/>
                    </a:cubicBezTo>
                    <a:cubicBezTo>
                      <a:pt x="83" y="0"/>
                      <a:pt x="0" y="84"/>
                      <a:pt x="0" y="193"/>
                    </a:cubicBezTo>
                    <a:cubicBezTo>
                      <a:pt x="0" y="297"/>
                      <a:pt x="83" y="386"/>
                      <a:pt x="193" y="386"/>
                    </a:cubicBezTo>
                    <a:close/>
                    <a:moveTo>
                      <a:pt x="193" y="94"/>
                    </a:moveTo>
                    <a:lnTo>
                      <a:pt x="193" y="94"/>
                    </a:lnTo>
                    <a:cubicBezTo>
                      <a:pt x="250" y="94"/>
                      <a:pt x="292" y="136"/>
                      <a:pt x="292" y="193"/>
                    </a:cubicBezTo>
                    <a:cubicBezTo>
                      <a:pt x="292" y="245"/>
                      <a:pt x="250" y="292"/>
                      <a:pt x="193" y="292"/>
                    </a:cubicBezTo>
                    <a:cubicBezTo>
                      <a:pt x="135" y="292"/>
                      <a:pt x="94" y="245"/>
                      <a:pt x="94" y="193"/>
                    </a:cubicBezTo>
                    <a:cubicBezTo>
                      <a:pt x="94" y="136"/>
                      <a:pt x="135" y="94"/>
                      <a:pt x="193" y="94"/>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1" name="Freeform 75">
                <a:extLst>
                  <a:ext uri="{FF2B5EF4-FFF2-40B4-BE49-F238E27FC236}">
                    <a16:creationId xmlns:a16="http://schemas.microsoft.com/office/drawing/2014/main" id="{F1A52D0B-E712-3A78-0BB4-86E3090CFB1E}"/>
                  </a:ext>
                </a:extLst>
              </p:cNvPr>
              <p:cNvSpPr>
                <a:spLocks noChangeArrowheads="1"/>
              </p:cNvSpPr>
              <p:nvPr/>
            </p:nvSpPr>
            <p:spPr bwMode="auto">
              <a:xfrm>
                <a:off x="884919" y="2930979"/>
                <a:ext cx="30163" cy="82550"/>
              </a:xfrm>
              <a:custGeom>
                <a:avLst/>
                <a:gdLst>
                  <a:gd name="T0" fmla="*/ 0 w 94"/>
                  <a:gd name="T1" fmla="*/ 235 h 236"/>
                  <a:gd name="T2" fmla="*/ 93 w 94"/>
                  <a:gd name="T3" fmla="*/ 235 h 236"/>
                  <a:gd name="T4" fmla="*/ 93 w 94"/>
                  <a:gd name="T5" fmla="*/ 0 h 236"/>
                  <a:gd name="T6" fmla="*/ 0 w 94"/>
                  <a:gd name="T7" fmla="*/ 0 h 236"/>
                  <a:gd name="T8" fmla="*/ 0 w 94"/>
                  <a:gd name="T9" fmla="*/ 235 h 236"/>
                </a:gdLst>
                <a:ahLst/>
                <a:cxnLst>
                  <a:cxn ang="0">
                    <a:pos x="T0" y="T1"/>
                  </a:cxn>
                  <a:cxn ang="0">
                    <a:pos x="T2" y="T3"/>
                  </a:cxn>
                  <a:cxn ang="0">
                    <a:pos x="T4" y="T5"/>
                  </a:cxn>
                  <a:cxn ang="0">
                    <a:pos x="T6" y="T7"/>
                  </a:cxn>
                  <a:cxn ang="0">
                    <a:pos x="T8" y="T9"/>
                  </a:cxn>
                </a:cxnLst>
                <a:rect l="0" t="0" r="r" b="b"/>
                <a:pathLst>
                  <a:path w="94" h="236">
                    <a:moveTo>
                      <a:pt x="0" y="235"/>
                    </a:moveTo>
                    <a:cubicBezTo>
                      <a:pt x="31" y="235"/>
                      <a:pt x="62" y="235"/>
                      <a:pt x="93" y="235"/>
                    </a:cubicBezTo>
                    <a:cubicBezTo>
                      <a:pt x="93" y="156"/>
                      <a:pt x="93" y="78"/>
                      <a:pt x="93" y="0"/>
                    </a:cubicBezTo>
                    <a:cubicBezTo>
                      <a:pt x="62" y="0"/>
                      <a:pt x="31" y="0"/>
                      <a:pt x="0" y="0"/>
                    </a:cubicBezTo>
                    <a:cubicBezTo>
                      <a:pt x="0" y="78"/>
                      <a:pt x="0" y="156"/>
                      <a:pt x="0" y="235"/>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2" name="Freeform 76">
                <a:extLst>
                  <a:ext uri="{FF2B5EF4-FFF2-40B4-BE49-F238E27FC236}">
                    <a16:creationId xmlns:a16="http://schemas.microsoft.com/office/drawing/2014/main" id="{90252764-DEDD-2AB7-DBAD-2359FFA67C6B}"/>
                  </a:ext>
                </a:extLst>
              </p:cNvPr>
              <p:cNvSpPr>
                <a:spLocks noChangeArrowheads="1"/>
              </p:cNvSpPr>
              <p:nvPr/>
            </p:nvSpPr>
            <p:spPr bwMode="auto">
              <a:xfrm>
                <a:off x="813481" y="2930979"/>
                <a:ext cx="31750" cy="82550"/>
              </a:xfrm>
              <a:custGeom>
                <a:avLst/>
                <a:gdLst>
                  <a:gd name="T0" fmla="*/ 0 w 95"/>
                  <a:gd name="T1" fmla="*/ 235 h 236"/>
                  <a:gd name="T2" fmla="*/ 94 w 95"/>
                  <a:gd name="T3" fmla="*/ 235 h 236"/>
                  <a:gd name="T4" fmla="*/ 94 w 95"/>
                  <a:gd name="T5" fmla="*/ 0 h 236"/>
                  <a:gd name="T6" fmla="*/ 0 w 95"/>
                  <a:gd name="T7" fmla="*/ 0 h 236"/>
                  <a:gd name="T8" fmla="*/ 0 w 95"/>
                  <a:gd name="T9" fmla="*/ 235 h 236"/>
                </a:gdLst>
                <a:ahLst/>
                <a:cxnLst>
                  <a:cxn ang="0">
                    <a:pos x="T0" y="T1"/>
                  </a:cxn>
                  <a:cxn ang="0">
                    <a:pos x="T2" y="T3"/>
                  </a:cxn>
                  <a:cxn ang="0">
                    <a:pos x="T4" y="T5"/>
                  </a:cxn>
                  <a:cxn ang="0">
                    <a:pos x="T6" y="T7"/>
                  </a:cxn>
                  <a:cxn ang="0">
                    <a:pos x="T8" y="T9"/>
                  </a:cxn>
                </a:cxnLst>
                <a:rect l="0" t="0" r="r" b="b"/>
                <a:pathLst>
                  <a:path w="95" h="236">
                    <a:moveTo>
                      <a:pt x="0" y="235"/>
                    </a:moveTo>
                    <a:cubicBezTo>
                      <a:pt x="31" y="235"/>
                      <a:pt x="63" y="235"/>
                      <a:pt x="94" y="235"/>
                    </a:cubicBezTo>
                    <a:cubicBezTo>
                      <a:pt x="94" y="156"/>
                      <a:pt x="94" y="78"/>
                      <a:pt x="94" y="0"/>
                    </a:cubicBezTo>
                    <a:cubicBezTo>
                      <a:pt x="63" y="0"/>
                      <a:pt x="31" y="0"/>
                      <a:pt x="0" y="0"/>
                    </a:cubicBezTo>
                    <a:cubicBezTo>
                      <a:pt x="0" y="78"/>
                      <a:pt x="0" y="156"/>
                      <a:pt x="0" y="235"/>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3" name="Freeform 77">
                <a:extLst>
                  <a:ext uri="{FF2B5EF4-FFF2-40B4-BE49-F238E27FC236}">
                    <a16:creationId xmlns:a16="http://schemas.microsoft.com/office/drawing/2014/main" id="{D1C25D40-FB53-9B33-F041-2520B3D1AA13}"/>
                  </a:ext>
                </a:extLst>
              </p:cNvPr>
              <p:cNvSpPr>
                <a:spLocks noChangeArrowheads="1"/>
              </p:cNvSpPr>
              <p:nvPr/>
            </p:nvSpPr>
            <p:spPr bwMode="auto">
              <a:xfrm>
                <a:off x="1218294" y="2930979"/>
                <a:ext cx="31750" cy="82550"/>
              </a:xfrm>
              <a:custGeom>
                <a:avLst/>
                <a:gdLst>
                  <a:gd name="T0" fmla="*/ 0 w 95"/>
                  <a:gd name="T1" fmla="*/ 235 h 236"/>
                  <a:gd name="T2" fmla="*/ 94 w 95"/>
                  <a:gd name="T3" fmla="*/ 235 h 236"/>
                  <a:gd name="T4" fmla="*/ 94 w 95"/>
                  <a:gd name="T5" fmla="*/ 0 h 236"/>
                  <a:gd name="T6" fmla="*/ 0 w 95"/>
                  <a:gd name="T7" fmla="*/ 0 h 236"/>
                  <a:gd name="T8" fmla="*/ 0 w 95"/>
                  <a:gd name="T9" fmla="*/ 235 h 236"/>
                </a:gdLst>
                <a:ahLst/>
                <a:cxnLst>
                  <a:cxn ang="0">
                    <a:pos x="T0" y="T1"/>
                  </a:cxn>
                  <a:cxn ang="0">
                    <a:pos x="T2" y="T3"/>
                  </a:cxn>
                  <a:cxn ang="0">
                    <a:pos x="T4" y="T5"/>
                  </a:cxn>
                  <a:cxn ang="0">
                    <a:pos x="T6" y="T7"/>
                  </a:cxn>
                  <a:cxn ang="0">
                    <a:pos x="T8" y="T9"/>
                  </a:cxn>
                </a:cxnLst>
                <a:rect l="0" t="0" r="r" b="b"/>
                <a:pathLst>
                  <a:path w="95" h="236">
                    <a:moveTo>
                      <a:pt x="0" y="235"/>
                    </a:moveTo>
                    <a:cubicBezTo>
                      <a:pt x="31" y="235"/>
                      <a:pt x="63" y="235"/>
                      <a:pt x="94" y="235"/>
                    </a:cubicBezTo>
                    <a:cubicBezTo>
                      <a:pt x="94" y="156"/>
                      <a:pt x="94" y="78"/>
                      <a:pt x="94" y="0"/>
                    </a:cubicBezTo>
                    <a:cubicBezTo>
                      <a:pt x="63" y="0"/>
                      <a:pt x="31" y="0"/>
                      <a:pt x="0" y="0"/>
                    </a:cubicBezTo>
                    <a:cubicBezTo>
                      <a:pt x="0" y="78"/>
                      <a:pt x="0" y="156"/>
                      <a:pt x="0" y="235"/>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4" name="Freeform 78">
                <a:extLst>
                  <a:ext uri="{FF2B5EF4-FFF2-40B4-BE49-F238E27FC236}">
                    <a16:creationId xmlns:a16="http://schemas.microsoft.com/office/drawing/2014/main" id="{42DBCD55-3AF0-FB73-E372-376661CD4DC8}"/>
                  </a:ext>
                </a:extLst>
              </p:cNvPr>
              <p:cNvSpPr>
                <a:spLocks noChangeArrowheads="1"/>
              </p:cNvSpPr>
              <p:nvPr/>
            </p:nvSpPr>
            <p:spPr bwMode="auto">
              <a:xfrm>
                <a:off x="478519" y="2930979"/>
                <a:ext cx="30163" cy="82550"/>
              </a:xfrm>
              <a:custGeom>
                <a:avLst/>
                <a:gdLst>
                  <a:gd name="T0" fmla="*/ 0 w 94"/>
                  <a:gd name="T1" fmla="*/ 235 h 236"/>
                  <a:gd name="T2" fmla="*/ 93 w 94"/>
                  <a:gd name="T3" fmla="*/ 235 h 236"/>
                  <a:gd name="T4" fmla="*/ 93 w 94"/>
                  <a:gd name="T5" fmla="*/ 0 h 236"/>
                  <a:gd name="T6" fmla="*/ 0 w 94"/>
                  <a:gd name="T7" fmla="*/ 0 h 236"/>
                  <a:gd name="T8" fmla="*/ 0 w 94"/>
                  <a:gd name="T9" fmla="*/ 235 h 236"/>
                </a:gdLst>
                <a:ahLst/>
                <a:cxnLst>
                  <a:cxn ang="0">
                    <a:pos x="T0" y="T1"/>
                  </a:cxn>
                  <a:cxn ang="0">
                    <a:pos x="T2" y="T3"/>
                  </a:cxn>
                  <a:cxn ang="0">
                    <a:pos x="T4" y="T5"/>
                  </a:cxn>
                  <a:cxn ang="0">
                    <a:pos x="T6" y="T7"/>
                  </a:cxn>
                  <a:cxn ang="0">
                    <a:pos x="T8" y="T9"/>
                  </a:cxn>
                </a:cxnLst>
                <a:rect l="0" t="0" r="r" b="b"/>
                <a:pathLst>
                  <a:path w="94" h="236">
                    <a:moveTo>
                      <a:pt x="0" y="235"/>
                    </a:moveTo>
                    <a:cubicBezTo>
                      <a:pt x="31" y="235"/>
                      <a:pt x="62" y="235"/>
                      <a:pt x="93" y="235"/>
                    </a:cubicBezTo>
                    <a:cubicBezTo>
                      <a:pt x="93" y="156"/>
                      <a:pt x="93" y="78"/>
                      <a:pt x="93" y="0"/>
                    </a:cubicBezTo>
                    <a:cubicBezTo>
                      <a:pt x="62" y="0"/>
                      <a:pt x="31" y="0"/>
                      <a:pt x="0" y="0"/>
                    </a:cubicBezTo>
                    <a:cubicBezTo>
                      <a:pt x="0" y="78"/>
                      <a:pt x="0" y="156"/>
                      <a:pt x="0" y="235"/>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5" name="Freeform 79">
                <a:extLst>
                  <a:ext uri="{FF2B5EF4-FFF2-40B4-BE49-F238E27FC236}">
                    <a16:creationId xmlns:a16="http://schemas.microsoft.com/office/drawing/2014/main" id="{274D555E-2539-DE1E-246D-14F297B21BEA}"/>
                  </a:ext>
                </a:extLst>
              </p:cNvPr>
              <p:cNvSpPr>
                <a:spLocks noChangeArrowheads="1"/>
              </p:cNvSpPr>
              <p:nvPr/>
            </p:nvSpPr>
            <p:spPr bwMode="auto">
              <a:xfrm>
                <a:off x="848406" y="2476954"/>
                <a:ext cx="30163" cy="30163"/>
              </a:xfrm>
              <a:custGeom>
                <a:avLst/>
                <a:gdLst>
                  <a:gd name="T0" fmla="*/ 0 w 94"/>
                  <a:gd name="T1" fmla="*/ 93 h 94"/>
                  <a:gd name="T2" fmla="*/ 93 w 94"/>
                  <a:gd name="T3" fmla="*/ 93 h 94"/>
                  <a:gd name="T4" fmla="*/ 93 w 94"/>
                  <a:gd name="T5" fmla="*/ 0 h 94"/>
                  <a:gd name="T6" fmla="*/ 0 w 94"/>
                  <a:gd name="T7" fmla="*/ 0 h 94"/>
                  <a:gd name="T8" fmla="*/ 0 w 94"/>
                  <a:gd name="T9" fmla="*/ 93 h 94"/>
                </a:gdLst>
                <a:ahLst/>
                <a:cxnLst>
                  <a:cxn ang="0">
                    <a:pos x="T0" y="T1"/>
                  </a:cxn>
                  <a:cxn ang="0">
                    <a:pos x="T2" y="T3"/>
                  </a:cxn>
                  <a:cxn ang="0">
                    <a:pos x="T4" y="T5"/>
                  </a:cxn>
                  <a:cxn ang="0">
                    <a:pos x="T6" y="T7"/>
                  </a:cxn>
                  <a:cxn ang="0">
                    <a:pos x="T8" y="T9"/>
                  </a:cxn>
                </a:cxnLst>
                <a:rect l="0" t="0" r="r" b="b"/>
                <a:pathLst>
                  <a:path w="94" h="94">
                    <a:moveTo>
                      <a:pt x="0" y="93"/>
                    </a:moveTo>
                    <a:cubicBezTo>
                      <a:pt x="31" y="93"/>
                      <a:pt x="62" y="93"/>
                      <a:pt x="93" y="93"/>
                    </a:cubicBezTo>
                    <a:cubicBezTo>
                      <a:pt x="93" y="62"/>
                      <a:pt x="93" y="31"/>
                      <a:pt x="93" y="0"/>
                    </a:cubicBezTo>
                    <a:cubicBezTo>
                      <a:pt x="62" y="0"/>
                      <a:pt x="31" y="0"/>
                      <a:pt x="0" y="0"/>
                    </a:cubicBezTo>
                    <a:cubicBezTo>
                      <a:pt x="0" y="31"/>
                      <a:pt x="0" y="62"/>
                      <a:pt x="0" y="93"/>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6" name="Freeform 80">
                <a:extLst>
                  <a:ext uri="{FF2B5EF4-FFF2-40B4-BE49-F238E27FC236}">
                    <a16:creationId xmlns:a16="http://schemas.microsoft.com/office/drawing/2014/main" id="{D0E0B32C-9A67-4C56-25CA-92D6858C17B6}"/>
                  </a:ext>
                </a:extLst>
              </p:cNvPr>
              <p:cNvSpPr>
                <a:spLocks noChangeArrowheads="1"/>
              </p:cNvSpPr>
              <p:nvPr/>
            </p:nvSpPr>
            <p:spPr bwMode="auto">
              <a:xfrm>
                <a:off x="848406" y="2532517"/>
                <a:ext cx="30163" cy="31750"/>
              </a:xfrm>
              <a:custGeom>
                <a:avLst/>
                <a:gdLst>
                  <a:gd name="T0" fmla="*/ 0 w 94"/>
                  <a:gd name="T1" fmla="*/ 94 h 95"/>
                  <a:gd name="T2" fmla="*/ 93 w 94"/>
                  <a:gd name="T3" fmla="*/ 94 h 95"/>
                  <a:gd name="T4" fmla="*/ 93 w 94"/>
                  <a:gd name="T5" fmla="*/ 0 h 95"/>
                  <a:gd name="T6" fmla="*/ 0 w 94"/>
                  <a:gd name="T7" fmla="*/ 0 h 95"/>
                  <a:gd name="T8" fmla="*/ 0 w 94"/>
                  <a:gd name="T9" fmla="*/ 94 h 95"/>
                </a:gdLst>
                <a:ahLst/>
                <a:cxnLst>
                  <a:cxn ang="0">
                    <a:pos x="T0" y="T1"/>
                  </a:cxn>
                  <a:cxn ang="0">
                    <a:pos x="T2" y="T3"/>
                  </a:cxn>
                  <a:cxn ang="0">
                    <a:pos x="T4" y="T5"/>
                  </a:cxn>
                  <a:cxn ang="0">
                    <a:pos x="T6" y="T7"/>
                  </a:cxn>
                  <a:cxn ang="0">
                    <a:pos x="T8" y="T9"/>
                  </a:cxn>
                </a:cxnLst>
                <a:rect l="0" t="0" r="r" b="b"/>
                <a:pathLst>
                  <a:path w="94" h="95">
                    <a:moveTo>
                      <a:pt x="0" y="94"/>
                    </a:moveTo>
                    <a:cubicBezTo>
                      <a:pt x="31" y="94"/>
                      <a:pt x="62" y="94"/>
                      <a:pt x="93" y="94"/>
                    </a:cubicBezTo>
                    <a:cubicBezTo>
                      <a:pt x="93" y="62"/>
                      <a:pt x="93" y="31"/>
                      <a:pt x="93" y="0"/>
                    </a:cubicBezTo>
                    <a:cubicBezTo>
                      <a:pt x="62" y="0"/>
                      <a:pt x="31" y="0"/>
                      <a:pt x="0" y="0"/>
                    </a:cubicBezTo>
                    <a:cubicBezTo>
                      <a:pt x="0" y="31"/>
                      <a:pt x="0" y="62"/>
                      <a:pt x="0" y="94"/>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7" name="Freeform 81">
                <a:extLst>
                  <a:ext uri="{FF2B5EF4-FFF2-40B4-BE49-F238E27FC236}">
                    <a16:creationId xmlns:a16="http://schemas.microsoft.com/office/drawing/2014/main" id="{11EACB40-C6C5-19F4-A285-EA63393A859C}"/>
                  </a:ext>
                </a:extLst>
              </p:cNvPr>
              <p:cNvSpPr>
                <a:spLocks noChangeArrowheads="1"/>
              </p:cNvSpPr>
              <p:nvPr/>
            </p:nvSpPr>
            <p:spPr bwMode="auto">
              <a:xfrm>
                <a:off x="848406" y="2594429"/>
                <a:ext cx="30163" cy="30163"/>
              </a:xfrm>
              <a:custGeom>
                <a:avLst/>
                <a:gdLst>
                  <a:gd name="T0" fmla="*/ 0 w 94"/>
                  <a:gd name="T1" fmla="*/ 93 h 94"/>
                  <a:gd name="T2" fmla="*/ 93 w 94"/>
                  <a:gd name="T3" fmla="*/ 93 h 94"/>
                  <a:gd name="T4" fmla="*/ 93 w 94"/>
                  <a:gd name="T5" fmla="*/ 0 h 94"/>
                  <a:gd name="T6" fmla="*/ 0 w 94"/>
                  <a:gd name="T7" fmla="*/ 0 h 94"/>
                  <a:gd name="T8" fmla="*/ 0 w 94"/>
                  <a:gd name="T9" fmla="*/ 93 h 94"/>
                </a:gdLst>
                <a:ahLst/>
                <a:cxnLst>
                  <a:cxn ang="0">
                    <a:pos x="T0" y="T1"/>
                  </a:cxn>
                  <a:cxn ang="0">
                    <a:pos x="T2" y="T3"/>
                  </a:cxn>
                  <a:cxn ang="0">
                    <a:pos x="T4" y="T5"/>
                  </a:cxn>
                  <a:cxn ang="0">
                    <a:pos x="T6" y="T7"/>
                  </a:cxn>
                  <a:cxn ang="0">
                    <a:pos x="T8" y="T9"/>
                  </a:cxn>
                </a:cxnLst>
                <a:rect l="0" t="0" r="r" b="b"/>
                <a:pathLst>
                  <a:path w="94" h="94">
                    <a:moveTo>
                      <a:pt x="0" y="93"/>
                    </a:moveTo>
                    <a:cubicBezTo>
                      <a:pt x="31" y="93"/>
                      <a:pt x="62" y="93"/>
                      <a:pt x="93" y="93"/>
                    </a:cubicBezTo>
                    <a:cubicBezTo>
                      <a:pt x="93" y="62"/>
                      <a:pt x="93" y="31"/>
                      <a:pt x="93" y="0"/>
                    </a:cubicBezTo>
                    <a:cubicBezTo>
                      <a:pt x="62" y="0"/>
                      <a:pt x="31" y="0"/>
                      <a:pt x="0" y="0"/>
                    </a:cubicBezTo>
                    <a:cubicBezTo>
                      <a:pt x="0" y="31"/>
                      <a:pt x="0" y="62"/>
                      <a:pt x="0" y="93"/>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68" name="Freeform 82">
                <a:extLst>
                  <a:ext uri="{FF2B5EF4-FFF2-40B4-BE49-F238E27FC236}">
                    <a16:creationId xmlns:a16="http://schemas.microsoft.com/office/drawing/2014/main" id="{542563FB-F00B-6C99-7F25-DD8F0B628530}"/>
                  </a:ext>
                </a:extLst>
              </p:cNvPr>
              <p:cNvSpPr>
                <a:spLocks noChangeArrowheads="1"/>
              </p:cNvSpPr>
              <p:nvPr/>
            </p:nvSpPr>
            <p:spPr bwMode="auto">
              <a:xfrm>
                <a:off x="848406" y="2653167"/>
                <a:ext cx="30163" cy="31750"/>
              </a:xfrm>
              <a:custGeom>
                <a:avLst/>
                <a:gdLst>
                  <a:gd name="T0" fmla="*/ 0 w 94"/>
                  <a:gd name="T1" fmla="*/ 94 h 95"/>
                  <a:gd name="T2" fmla="*/ 93 w 94"/>
                  <a:gd name="T3" fmla="*/ 94 h 95"/>
                  <a:gd name="T4" fmla="*/ 93 w 94"/>
                  <a:gd name="T5" fmla="*/ 0 h 95"/>
                  <a:gd name="T6" fmla="*/ 0 w 94"/>
                  <a:gd name="T7" fmla="*/ 0 h 95"/>
                  <a:gd name="T8" fmla="*/ 0 w 94"/>
                  <a:gd name="T9" fmla="*/ 94 h 95"/>
                </a:gdLst>
                <a:ahLst/>
                <a:cxnLst>
                  <a:cxn ang="0">
                    <a:pos x="T0" y="T1"/>
                  </a:cxn>
                  <a:cxn ang="0">
                    <a:pos x="T2" y="T3"/>
                  </a:cxn>
                  <a:cxn ang="0">
                    <a:pos x="T4" y="T5"/>
                  </a:cxn>
                  <a:cxn ang="0">
                    <a:pos x="T6" y="T7"/>
                  </a:cxn>
                  <a:cxn ang="0">
                    <a:pos x="T8" y="T9"/>
                  </a:cxn>
                </a:cxnLst>
                <a:rect l="0" t="0" r="r" b="b"/>
                <a:pathLst>
                  <a:path w="94" h="95">
                    <a:moveTo>
                      <a:pt x="0" y="94"/>
                    </a:moveTo>
                    <a:cubicBezTo>
                      <a:pt x="31" y="94"/>
                      <a:pt x="62" y="94"/>
                      <a:pt x="93" y="94"/>
                    </a:cubicBezTo>
                    <a:cubicBezTo>
                      <a:pt x="93" y="62"/>
                      <a:pt x="93" y="31"/>
                      <a:pt x="93" y="0"/>
                    </a:cubicBezTo>
                    <a:cubicBezTo>
                      <a:pt x="62" y="0"/>
                      <a:pt x="31" y="0"/>
                      <a:pt x="0" y="0"/>
                    </a:cubicBezTo>
                    <a:cubicBezTo>
                      <a:pt x="0" y="31"/>
                      <a:pt x="0" y="62"/>
                      <a:pt x="0" y="94"/>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nvGrpSpPr>
            <p:cNvPr id="69" name="Group 63">
              <a:extLst>
                <a:ext uri="{FF2B5EF4-FFF2-40B4-BE49-F238E27FC236}">
                  <a16:creationId xmlns:a16="http://schemas.microsoft.com/office/drawing/2014/main" id="{39F0D4BF-AA02-9983-9C5C-1A434C6F30E9}"/>
                </a:ext>
              </a:extLst>
            </p:cNvPr>
            <p:cNvGrpSpPr/>
            <p:nvPr userDrawn="1"/>
          </p:nvGrpSpPr>
          <p:grpSpPr>
            <a:xfrm>
              <a:off x="7981275" y="1015929"/>
              <a:ext cx="514139" cy="767968"/>
              <a:chOff x="8381322" y="380660"/>
              <a:chExt cx="755650" cy="1128713"/>
            </a:xfrm>
          </p:grpSpPr>
          <p:sp>
            <p:nvSpPr>
              <p:cNvPr id="70" name="Freeform 200">
                <a:extLst>
                  <a:ext uri="{FF2B5EF4-FFF2-40B4-BE49-F238E27FC236}">
                    <a16:creationId xmlns:a16="http://schemas.microsoft.com/office/drawing/2014/main" id="{1D0DE863-637C-F479-852D-1FA2882B9E8B}"/>
                  </a:ext>
                </a:extLst>
              </p:cNvPr>
              <p:cNvSpPr>
                <a:spLocks noChangeArrowheads="1"/>
              </p:cNvSpPr>
              <p:nvPr/>
            </p:nvSpPr>
            <p:spPr bwMode="auto">
              <a:xfrm>
                <a:off x="8436885" y="1177585"/>
                <a:ext cx="182563" cy="173038"/>
              </a:xfrm>
              <a:custGeom>
                <a:avLst/>
                <a:gdLst>
                  <a:gd name="T0" fmla="*/ 99 w 517"/>
                  <a:gd name="T1" fmla="*/ 67 h 490"/>
                  <a:gd name="T2" fmla="*/ 99 w 517"/>
                  <a:gd name="T3" fmla="*/ 67 h 490"/>
                  <a:gd name="T4" fmla="*/ 99 w 517"/>
                  <a:gd name="T5" fmla="*/ 416 h 490"/>
                  <a:gd name="T6" fmla="*/ 271 w 517"/>
                  <a:gd name="T7" fmla="*/ 489 h 490"/>
                  <a:gd name="T8" fmla="*/ 443 w 517"/>
                  <a:gd name="T9" fmla="*/ 416 h 490"/>
                  <a:gd name="T10" fmla="*/ 516 w 517"/>
                  <a:gd name="T11" fmla="*/ 244 h 490"/>
                  <a:gd name="T12" fmla="*/ 443 w 517"/>
                  <a:gd name="T13" fmla="*/ 67 h 490"/>
                  <a:gd name="T14" fmla="*/ 271 w 517"/>
                  <a:gd name="T15" fmla="*/ 0 h 490"/>
                  <a:gd name="T16" fmla="*/ 99 w 517"/>
                  <a:gd name="T17" fmla="*/ 67 h 490"/>
                  <a:gd name="T18" fmla="*/ 422 w 517"/>
                  <a:gd name="T19" fmla="*/ 244 h 490"/>
                  <a:gd name="T20" fmla="*/ 422 w 517"/>
                  <a:gd name="T21" fmla="*/ 244 h 490"/>
                  <a:gd name="T22" fmla="*/ 381 w 517"/>
                  <a:gd name="T23" fmla="*/ 349 h 490"/>
                  <a:gd name="T24" fmla="*/ 271 w 517"/>
                  <a:gd name="T25" fmla="*/ 395 h 490"/>
                  <a:gd name="T26" fmla="*/ 167 w 517"/>
                  <a:gd name="T27" fmla="*/ 349 h 490"/>
                  <a:gd name="T28" fmla="*/ 167 w 517"/>
                  <a:gd name="T29" fmla="*/ 135 h 490"/>
                  <a:gd name="T30" fmla="*/ 271 w 517"/>
                  <a:gd name="T31" fmla="*/ 93 h 490"/>
                  <a:gd name="T32" fmla="*/ 381 w 517"/>
                  <a:gd name="T33" fmla="*/ 135 h 490"/>
                  <a:gd name="T34" fmla="*/ 422 w 517"/>
                  <a:gd name="T35" fmla="*/ 24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7" h="490">
                    <a:moveTo>
                      <a:pt x="99" y="67"/>
                    </a:moveTo>
                    <a:lnTo>
                      <a:pt x="99" y="67"/>
                    </a:lnTo>
                    <a:cubicBezTo>
                      <a:pt x="0" y="166"/>
                      <a:pt x="0" y="317"/>
                      <a:pt x="99" y="416"/>
                    </a:cubicBezTo>
                    <a:cubicBezTo>
                      <a:pt x="146" y="463"/>
                      <a:pt x="203" y="489"/>
                      <a:pt x="271" y="489"/>
                    </a:cubicBezTo>
                    <a:cubicBezTo>
                      <a:pt x="339" y="489"/>
                      <a:pt x="396" y="463"/>
                      <a:pt x="443" y="416"/>
                    </a:cubicBezTo>
                    <a:cubicBezTo>
                      <a:pt x="490" y="369"/>
                      <a:pt x="516" y="307"/>
                      <a:pt x="516" y="244"/>
                    </a:cubicBezTo>
                    <a:cubicBezTo>
                      <a:pt x="516" y="177"/>
                      <a:pt x="490" y="114"/>
                      <a:pt x="443" y="67"/>
                    </a:cubicBezTo>
                    <a:cubicBezTo>
                      <a:pt x="396" y="20"/>
                      <a:pt x="339" y="0"/>
                      <a:pt x="271" y="0"/>
                    </a:cubicBezTo>
                    <a:cubicBezTo>
                      <a:pt x="203" y="0"/>
                      <a:pt x="146" y="20"/>
                      <a:pt x="99" y="67"/>
                    </a:cubicBezTo>
                    <a:close/>
                    <a:moveTo>
                      <a:pt x="422" y="244"/>
                    </a:moveTo>
                    <a:lnTo>
                      <a:pt x="422" y="244"/>
                    </a:lnTo>
                    <a:cubicBezTo>
                      <a:pt x="422" y="281"/>
                      <a:pt x="407" y="322"/>
                      <a:pt x="381" y="349"/>
                    </a:cubicBezTo>
                    <a:cubicBezTo>
                      <a:pt x="349" y="380"/>
                      <a:pt x="313" y="395"/>
                      <a:pt x="271" y="395"/>
                    </a:cubicBezTo>
                    <a:cubicBezTo>
                      <a:pt x="230" y="395"/>
                      <a:pt x="193" y="380"/>
                      <a:pt x="167" y="349"/>
                    </a:cubicBezTo>
                    <a:cubicBezTo>
                      <a:pt x="105" y="291"/>
                      <a:pt x="105" y="192"/>
                      <a:pt x="167" y="135"/>
                    </a:cubicBezTo>
                    <a:cubicBezTo>
                      <a:pt x="193" y="109"/>
                      <a:pt x="230" y="93"/>
                      <a:pt x="271" y="93"/>
                    </a:cubicBezTo>
                    <a:cubicBezTo>
                      <a:pt x="313" y="93"/>
                      <a:pt x="349" y="109"/>
                      <a:pt x="381" y="135"/>
                    </a:cubicBezTo>
                    <a:cubicBezTo>
                      <a:pt x="407" y="166"/>
                      <a:pt x="422" y="203"/>
                      <a:pt x="422" y="244"/>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1" name="Freeform 201">
                <a:extLst>
                  <a:ext uri="{FF2B5EF4-FFF2-40B4-BE49-F238E27FC236}">
                    <a16:creationId xmlns:a16="http://schemas.microsoft.com/office/drawing/2014/main" id="{C2132EC8-84E0-02E0-DD90-8DF10BC6BE57}"/>
                  </a:ext>
                </a:extLst>
              </p:cNvPr>
              <p:cNvSpPr>
                <a:spLocks noChangeArrowheads="1"/>
              </p:cNvSpPr>
              <p:nvPr/>
            </p:nvSpPr>
            <p:spPr bwMode="auto">
              <a:xfrm>
                <a:off x="8381322" y="380660"/>
                <a:ext cx="755650" cy="1128713"/>
              </a:xfrm>
              <a:custGeom>
                <a:avLst/>
                <a:gdLst>
                  <a:gd name="T0" fmla="*/ 1714 w 2110"/>
                  <a:gd name="T1" fmla="*/ 1813 h 3142"/>
                  <a:gd name="T2" fmla="*/ 1313 w 2110"/>
                  <a:gd name="T3" fmla="*/ 1396 h 3142"/>
                  <a:gd name="T4" fmla="*/ 1714 w 2110"/>
                  <a:gd name="T5" fmla="*/ 990 h 3142"/>
                  <a:gd name="T6" fmla="*/ 1948 w 2110"/>
                  <a:gd name="T7" fmla="*/ 484 h 3142"/>
                  <a:gd name="T8" fmla="*/ 1516 w 2110"/>
                  <a:gd name="T9" fmla="*/ 198 h 3142"/>
                  <a:gd name="T10" fmla="*/ 828 w 2110"/>
                  <a:gd name="T11" fmla="*/ 1260 h 3142"/>
                  <a:gd name="T12" fmla="*/ 703 w 2110"/>
                  <a:gd name="T13" fmla="*/ 411 h 3142"/>
                  <a:gd name="T14" fmla="*/ 151 w 2110"/>
                  <a:gd name="T15" fmla="*/ 958 h 3142"/>
                  <a:gd name="T16" fmla="*/ 672 w 2110"/>
                  <a:gd name="T17" fmla="*/ 1484 h 3142"/>
                  <a:gd name="T18" fmla="*/ 151 w 2110"/>
                  <a:gd name="T19" fmla="*/ 2182 h 3142"/>
                  <a:gd name="T20" fmla="*/ 151 w 2110"/>
                  <a:gd name="T21" fmla="*/ 2729 h 3142"/>
                  <a:gd name="T22" fmla="*/ 818 w 2110"/>
                  <a:gd name="T23" fmla="*/ 2458 h 3142"/>
                  <a:gd name="T24" fmla="*/ 828 w 2110"/>
                  <a:gd name="T25" fmla="*/ 1880 h 3142"/>
                  <a:gd name="T26" fmla="*/ 1516 w 2110"/>
                  <a:gd name="T27" fmla="*/ 2943 h 3142"/>
                  <a:gd name="T28" fmla="*/ 1797 w 2110"/>
                  <a:gd name="T29" fmla="*/ 2688 h 3142"/>
                  <a:gd name="T30" fmla="*/ 1714 w 2110"/>
                  <a:gd name="T31" fmla="*/ 2151 h 3142"/>
                  <a:gd name="T32" fmla="*/ 1620 w 2110"/>
                  <a:gd name="T33" fmla="*/ 2057 h 3142"/>
                  <a:gd name="T34" fmla="*/ 1620 w 2110"/>
                  <a:gd name="T35" fmla="*/ 1906 h 3142"/>
                  <a:gd name="T36" fmla="*/ 1974 w 2110"/>
                  <a:gd name="T37" fmla="*/ 604 h 3142"/>
                  <a:gd name="T38" fmla="*/ 1912 w 2110"/>
                  <a:gd name="T39" fmla="*/ 568 h 3142"/>
                  <a:gd name="T40" fmla="*/ 1516 w 2110"/>
                  <a:gd name="T41" fmla="*/ 333 h 3142"/>
                  <a:gd name="T42" fmla="*/ 1406 w 2110"/>
                  <a:gd name="T43" fmla="*/ 1526 h 3142"/>
                  <a:gd name="T44" fmla="*/ 219 w 2110"/>
                  <a:gd name="T45" fmla="*/ 474 h 3142"/>
                  <a:gd name="T46" fmla="*/ 636 w 2110"/>
                  <a:gd name="T47" fmla="*/ 896 h 3142"/>
                  <a:gd name="T48" fmla="*/ 219 w 2110"/>
                  <a:gd name="T49" fmla="*/ 474 h 3142"/>
                  <a:gd name="T50" fmla="*/ 500 w 2110"/>
                  <a:gd name="T51" fmla="*/ 1068 h 3142"/>
                  <a:gd name="T52" fmla="*/ 396 w 2110"/>
                  <a:gd name="T53" fmla="*/ 1073 h 3142"/>
                  <a:gd name="T54" fmla="*/ 724 w 2110"/>
                  <a:gd name="T55" fmla="*/ 2458 h 3142"/>
                  <a:gd name="T56" fmla="*/ 219 w 2110"/>
                  <a:gd name="T57" fmla="*/ 2667 h 3142"/>
                  <a:gd name="T58" fmla="*/ 219 w 2110"/>
                  <a:gd name="T59" fmla="*/ 2245 h 3142"/>
                  <a:gd name="T60" fmla="*/ 427 w 2110"/>
                  <a:gd name="T61" fmla="*/ 2161 h 3142"/>
                  <a:gd name="T62" fmla="*/ 427 w 2110"/>
                  <a:gd name="T63" fmla="*/ 2068 h 3142"/>
                  <a:gd name="T64" fmla="*/ 740 w 2110"/>
                  <a:gd name="T65" fmla="*/ 1724 h 3142"/>
                  <a:gd name="T66" fmla="*/ 1313 w 2110"/>
                  <a:gd name="T67" fmla="*/ 906 h 3142"/>
                  <a:gd name="T68" fmla="*/ 427 w 2110"/>
                  <a:gd name="T69" fmla="*/ 2068 h 3142"/>
                  <a:gd name="T70" fmla="*/ 1620 w 2110"/>
                  <a:gd name="T71" fmla="*/ 2917 h 3142"/>
                  <a:gd name="T72" fmla="*/ 1406 w 2110"/>
                  <a:gd name="T73" fmla="*/ 2458 h 3142"/>
                  <a:gd name="T74" fmla="*/ 1557 w 2110"/>
                  <a:gd name="T75" fmla="*/ 2604 h 3142"/>
                  <a:gd name="T76" fmla="*/ 1604 w 2110"/>
                  <a:gd name="T77" fmla="*/ 2635 h 3142"/>
                  <a:gd name="T78" fmla="*/ 1797 w 2110"/>
                  <a:gd name="T79" fmla="*/ 2594 h 3142"/>
                  <a:gd name="T80" fmla="*/ 1589 w 2110"/>
                  <a:gd name="T81" fmla="*/ 2505 h 3142"/>
                  <a:gd name="T82" fmla="*/ 1245 w 2110"/>
                  <a:gd name="T83" fmla="*/ 1813 h 3142"/>
                  <a:gd name="T84" fmla="*/ 1714 w 2110"/>
                  <a:gd name="T85" fmla="*/ 2281 h 3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0" h="3142">
                    <a:moveTo>
                      <a:pt x="1714" y="2151"/>
                    </a:moveTo>
                    <a:lnTo>
                      <a:pt x="1714" y="2151"/>
                    </a:lnTo>
                    <a:cubicBezTo>
                      <a:pt x="1714" y="1813"/>
                      <a:pt x="1714" y="1926"/>
                      <a:pt x="1714" y="1813"/>
                    </a:cubicBezTo>
                    <a:cubicBezTo>
                      <a:pt x="1380" y="1813"/>
                      <a:pt x="1491" y="1813"/>
                      <a:pt x="1380" y="1813"/>
                    </a:cubicBezTo>
                    <a:cubicBezTo>
                      <a:pt x="1136" y="1573"/>
                      <a:pt x="1217" y="1653"/>
                      <a:pt x="1136" y="1573"/>
                    </a:cubicBezTo>
                    <a:cubicBezTo>
                      <a:pt x="1313" y="1396"/>
                      <a:pt x="1254" y="1455"/>
                      <a:pt x="1313" y="1396"/>
                    </a:cubicBezTo>
                    <a:cubicBezTo>
                      <a:pt x="1313" y="1620"/>
                      <a:pt x="1313" y="1545"/>
                      <a:pt x="1313" y="1620"/>
                    </a:cubicBezTo>
                    <a:cubicBezTo>
                      <a:pt x="1714" y="1620"/>
                      <a:pt x="1580" y="1620"/>
                      <a:pt x="1714" y="1620"/>
                    </a:cubicBezTo>
                    <a:cubicBezTo>
                      <a:pt x="1714" y="990"/>
                      <a:pt x="1714" y="1200"/>
                      <a:pt x="1714" y="990"/>
                    </a:cubicBezTo>
                    <a:cubicBezTo>
                      <a:pt x="2109" y="599"/>
                      <a:pt x="1977" y="729"/>
                      <a:pt x="2109" y="599"/>
                    </a:cubicBezTo>
                    <a:cubicBezTo>
                      <a:pt x="2073" y="568"/>
                      <a:pt x="2085" y="578"/>
                      <a:pt x="2073" y="568"/>
                    </a:cubicBezTo>
                    <a:cubicBezTo>
                      <a:pt x="2037" y="531"/>
                      <a:pt x="1995" y="505"/>
                      <a:pt x="1948" y="484"/>
                    </a:cubicBezTo>
                    <a:cubicBezTo>
                      <a:pt x="1875" y="453"/>
                      <a:pt x="1792" y="443"/>
                      <a:pt x="1714" y="464"/>
                    </a:cubicBezTo>
                    <a:cubicBezTo>
                      <a:pt x="1714" y="0"/>
                      <a:pt x="1714" y="155"/>
                      <a:pt x="1714" y="0"/>
                    </a:cubicBezTo>
                    <a:cubicBezTo>
                      <a:pt x="1516" y="198"/>
                      <a:pt x="1582" y="132"/>
                      <a:pt x="1516" y="198"/>
                    </a:cubicBezTo>
                    <a:cubicBezTo>
                      <a:pt x="1313" y="0"/>
                      <a:pt x="1381" y="66"/>
                      <a:pt x="1313" y="0"/>
                    </a:cubicBezTo>
                    <a:cubicBezTo>
                      <a:pt x="1313" y="776"/>
                      <a:pt x="1313" y="517"/>
                      <a:pt x="1313" y="776"/>
                    </a:cubicBezTo>
                    <a:cubicBezTo>
                      <a:pt x="828" y="1260"/>
                      <a:pt x="990" y="1099"/>
                      <a:pt x="828" y="1260"/>
                    </a:cubicBezTo>
                    <a:cubicBezTo>
                      <a:pt x="599" y="1036"/>
                      <a:pt x="675" y="1111"/>
                      <a:pt x="599" y="1036"/>
                    </a:cubicBezTo>
                    <a:cubicBezTo>
                      <a:pt x="636" y="1016"/>
                      <a:pt x="672" y="990"/>
                      <a:pt x="703" y="958"/>
                    </a:cubicBezTo>
                    <a:cubicBezTo>
                      <a:pt x="854" y="807"/>
                      <a:pt x="854" y="563"/>
                      <a:pt x="703" y="411"/>
                    </a:cubicBezTo>
                    <a:cubicBezTo>
                      <a:pt x="630" y="333"/>
                      <a:pt x="531" y="297"/>
                      <a:pt x="427" y="297"/>
                    </a:cubicBezTo>
                    <a:cubicBezTo>
                      <a:pt x="323" y="297"/>
                      <a:pt x="224" y="333"/>
                      <a:pt x="151" y="411"/>
                    </a:cubicBezTo>
                    <a:cubicBezTo>
                      <a:pt x="0" y="563"/>
                      <a:pt x="0" y="807"/>
                      <a:pt x="151" y="958"/>
                    </a:cubicBezTo>
                    <a:lnTo>
                      <a:pt x="151" y="958"/>
                    </a:lnTo>
                    <a:cubicBezTo>
                      <a:pt x="672" y="1484"/>
                      <a:pt x="498" y="1309"/>
                      <a:pt x="672" y="1484"/>
                    </a:cubicBezTo>
                    <a:lnTo>
                      <a:pt x="672" y="1484"/>
                    </a:lnTo>
                    <a:cubicBezTo>
                      <a:pt x="698" y="1505"/>
                      <a:pt x="708" y="1536"/>
                      <a:pt x="708" y="1573"/>
                    </a:cubicBezTo>
                    <a:cubicBezTo>
                      <a:pt x="708" y="1604"/>
                      <a:pt x="698" y="1635"/>
                      <a:pt x="672" y="1656"/>
                    </a:cubicBezTo>
                    <a:cubicBezTo>
                      <a:pt x="151" y="2182"/>
                      <a:pt x="325" y="2007"/>
                      <a:pt x="151" y="2182"/>
                    </a:cubicBezTo>
                    <a:lnTo>
                      <a:pt x="151" y="2182"/>
                    </a:lnTo>
                    <a:cubicBezTo>
                      <a:pt x="78" y="2255"/>
                      <a:pt x="37" y="2354"/>
                      <a:pt x="37" y="2458"/>
                    </a:cubicBezTo>
                    <a:cubicBezTo>
                      <a:pt x="37" y="2563"/>
                      <a:pt x="78" y="2656"/>
                      <a:pt x="151" y="2729"/>
                    </a:cubicBezTo>
                    <a:cubicBezTo>
                      <a:pt x="224" y="2807"/>
                      <a:pt x="323" y="2844"/>
                      <a:pt x="427" y="2844"/>
                    </a:cubicBezTo>
                    <a:cubicBezTo>
                      <a:pt x="531" y="2844"/>
                      <a:pt x="630" y="2807"/>
                      <a:pt x="703" y="2729"/>
                    </a:cubicBezTo>
                    <a:cubicBezTo>
                      <a:pt x="776" y="2656"/>
                      <a:pt x="818" y="2563"/>
                      <a:pt x="818" y="2458"/>
                    </a:cubicBezTo>
                    <a:cubicBezTo>
                      <a:pt x="818" y="2354"/>
                      <a:pt x="776" y="2255"/>
                      <a:pt x="703" y="2182"/>
                    </a:cubicBezTo>
                    <a:cubicBezTo>
                      <a:pt x="672" y="2151"/>
                      <a:pt x="636" y="2125"/>
                      <a:pt x="599" y="2104"/>
                    </a:cubicBezTo>
                    <a:cubicBezTo>
                      <a:pt x="828" y="1880"/>
                      <a:pt x="752" y="1955"/>
                      <a:pt x="828" y="1880"/>
                    </a:cubicBezTo>
                    <a:cubicBezTo>
                      <a:pt x="1313" y="2365"/>
                      <a:pt x="1151" y="2203"/>
                      <a:pt x="1313" y="2365"/>
                    </a:cubicBezTo>
                    <a:cubicBezTo>
                      <a:pt x="1313" y="3141"/>
                      <a:pt x="1313" y="2882"/>
                      <a:pt x="1313" y="3141"/>
                    </a:cubicBezTo>
                    <a:cubicBezTo>
                      <a:pt x="1516" y="2943"/>
                      <a:pt x="1448" y="3009"/>
                      <a:pt x="1516" y="2943"/>
                    </a:cubicBezTo>
                    <a:cubicBezTo>
                      <a:pt x="1714" y="3141"/>
                      <a:pt x="1648" y="3075"/>
                      <a:pt x="1714" y="3141"/>
                    </a:cubicBezTo>
                    <a:cubicBezTo>
                      <a:pt x="1714" y="2677"/>
                      <a:pt x="1714" y="2832"/>
                      <a:pt x="1714" y="2677"/>
                    </a:cubicBezTo>
                    <a:cubicBezTo>
                      <a:pt x="1745" y="2688"/>
                      <a:pt x="1771" y="2688"/>
                      <a:pt x="1797" y="2688"/>
                    </a:cubicBezTo>
                    <a:cubicBezTo>
                      <a:pt x="1901" y="2688"/>
                      <a:pt x="2000" y="2646"/>
                      <a:pt x="2073" y="2573"/>
                    </a:cubicBezTo>
                    <a:cubicBezTo>
                      <a:pt x="2109" y="2542"/>
                      <a:pt x="2097" y="2552"/>
                      <a:pt x="2109" y="2542"/>
                    </a:cubicBezTo>
                    <a:cubicBezTo>
                      <a:pt x="1977" y="2412"/>
                      <a:pt x="1846" y="2281"/>
                      <a:pt x="1714" y="2151"/>
                    </a:cubicBezTo>
                    <a:close/>
                    <a:moveTo>
                      <a:pt x="1620" y="1906"/>
                    </a:moveTo>
                    <a:lnTo>
                      <a:pt x="1620" y="1906"/>
                    </a:lnTo>
                    <a:cubicBezTo>
                      <a:pt x="1620" y="2057"/>
                      <a:pt x="1620" y="2007"/>
                      <a:pt x="1620" y="2057"/>
                    </a:cubicBezTo>
                    <a:cubicBezTo>
                      <a:pt x="1604" y="2042"/>
                      <a:pt x="1609" y="2047"/>
                      <a:pt x="1604" y="2042"/>
                    </a:cubicBezTo>
                    <a:cubicBezTo>
                      <a:pt x="1474" y="1906"/>
                      <a:pt x="1517" y="1951"/>
                      <a:pt x="1474" y="1906"/>
                    </a:cubicBezTo>
                    <a:cubicBezTo>
                      <a:pt x="1523" y="1906"/>
                      <a:pt x="1571" y="1906"/>
                      <a:pt x="1620" y="1906"/>
                    </a:cubicBezTo>
                    <a:close/>
                    <a:moveTo>
                      <a:pt x="1912" y="568"/>
                    </a:moveTo>
                    <a:lnTo>
                      <a:pt x="1912" y="568"/>
                    </a:lnTo>
                    <a:cubicBezTo>
                      <a:pt x="1932" y="578"/>
                      <a:pt x="1953" y="589"/>
                      <a:pt x="1974" y="604"/>
                    </a:cubicBezTo>
                    <a:cubicBezTo>
                      <a:pt x="1714" y="859"/>
                      <a:pt x="1801" y="774"/>
                      <a:pt x="1714" y="859"/>
                    </a:cubicBezTo>
                    <a:cubicBezTo>
                      <a:pt x="1714" y="557"/>
                      <a:pt x="1714" y="658"/>
                      <a:pt x="1714" y="557"/>
                    </a:cubicBezTo>
                    <a:cubicBezTo>
                      <a:pt x="1781" y="542"/>
                      <a:pt x="1849" y="542"/>
                      <a:pt x="1912" y="568"/>
                    </a:cubicBezTo>
                    <a:close/>
                    <a:moveTo>
                      <a:pt x="1406" y="224"/>
                    </a:moveTo>
                    <a:lnTo>
                      <a:pt x="1406" y="224"/>
                    </a:lnTo>
                    <a:cubicBezTo>
                      <a:pt x="1516" y="333"/>
                      <a:pt x="1479" y="297"/>
                      <a:pt x="1516" y="333"/>
                    </a:cubicBezTo>
                    <a:cubicBezTo>
                      <a:pt x="1620" y="224"/>
                      <a:pt x="1585" y="260"/>
                      <a:pt x="1620" y="224"/>
                    </a:cubicBezTo>
                    <a:cubicBezTo>
                      <a:pt x="1620" y="1526"/>
                      <a:pt x="1620" y="1092"/>
                      <a:pt x="1620" y="1526"/>
                    </a:cubicBezTo>
                    <a:cubicBezTo>
                      <a:pt x="1406" y="1526"/>
                      <a:pt x="1477" y="1526"/>
                      <a:pt x="1406" y="1526"/>
                    </a:cubicBezTo>
                    <a:cubicBezTo>
                      <a:pt x="1406" y="1092"/>
                      <a:pt x="1406" y="658"/>
                      <a:pt x="1406" y="224"/>
                    </a:cubicBezTo>
                    <a:close/>
                    <a:moveTo>
                      <a:pt x="219" y="474"/>
                    </a:moveTo>
                    <a:lnTo>
                      <a:pt x="219" y="474"/>
                    </a:lnTo>
                    <a:cubicBezTo>
                      <a:pt x="276" y="422"/>
                      <a:pt x="349" y="391"/>
                      <a:pt x="427" y="391"/>
                    </a:cubicBezTo>
                    <a:cubicBezTo>
                      <a:pt x="505" y="391"/>
                      <a:pt x="578" y="422"/>
                      <a:pt x="636" y="474"/>
                    </a:cubicBezTo>
                    <a:cubicBezTo>
                      <a:pt x="750" y="589"/>
                      <a:pt x="750" y="781"/>
                      <a:pt x="636" y="896"/>
                    </a:cubicBezTo>
                    <a:cubicBezTo>
                      <a:pt x="583" y="948"/>
                      <a:pt x="505" y="979"/>
                      <a:pt x="427" y="979"/>
                    </a:cubicBezTo>
                    <a:cubicBezTo>
                      <a:pt x="349" y="979"/>
                      <a:pt x="276" y="948"/>
                      <a:pt x="219" y="896"/>
                    </a:cubicBezTo>
                    <a:cubicBezTo>
                      <a:pt x="104" y="781"/>
                      <a:pt x="104" y="589"/>
                      <a:pt x="219" y="474"/>
                    </a:cubicBezTo>
                    <a:close/>
                    <a:moveTo>
                      <a:pt x="427" y="1073"/>
                    </a:moveTo>
                    <a:lnTo>
                      <a:pt x="427" y="1073"/>
                    </a:lnTo>
                    <a:cubicBezTo>
                      <a:pt x="453" y="1073"/>
                      <a:pt x="479" y="1073"/>
                      <a:pt x="500" y="1068"/>
                    </a:cubicBezTo>
                    <a:cubicBezTo>
                      <a:pt x="761" y="1328"/>
                      <a:pt x="674" y="1241"/>
                      <a:pt x="761" y="1328"/>
                    </a:cubicBezTo>
                    <a:cubicBezTo>
                      <a:pt x="708" y="1380"/>
                      <a:pt x="726" y="1363"/>
                      <a:pt x="708" y="1380"/>
                    </a:cubicBezTo>
                    <a:cubicBezTo>
                      <a:pt x="396" y="1073"/>
                      <a:pt x="500" y="1175"/>
                      <a:pt x="396" y="1073"/>
                    </a:cubicBezTo>
                    <a:cubicBezTo>
                      <a:pt x="406" y="1073"/>
                      <a:pt x="417" y="1073"/>
                      <a:pt x="427" y="1073"/>
                    </a:cubicBezTo>
                    <a:close/>
                    <a:moveTo>
                      <a:pt x="724" y="2458"/>
                    </a:moveTo>
                    <a:lnTo>
                      <a:pt x="724" y="2458"/>
                    </a:lnTo>
                    <a:cubicBezTo>
                      <a:pt x="724" y="2536"/>
                      <a:pt x="693" y="2609"/>
                      <a:pt x="636" y="2667"/>
                    </a:cubicBezTo>
                    <a:cubicBezTo>
                      <a:pt x="583" y="2724"/>
                      <a:pt x="505" y="2750"/>
                      <a:pt x="427" y="2750"/>
                    </a:cubicBezTo>
                    <a:cubicBezTo>
                      <a:pt x="349" y="2750"/>
                      <a:pt x="276" y="2724"/>
                      <a:pt x="219" y="2667"/>
                    </a:cubicBezTo>
                    <a:cubicBezTo>
                      <a:pt x="162" y="2609"/>
                      <a:pt x="130" y="2536"/>
                      <a:pt x="130" y="2458"/>
                    </a:cubicBezTo>
                    <a:cubicBezTo>
                      <a:pt x="130" y="2375"/>
                      <a:pt x="162" y="2302"/>
                      <a:pt x="219" y="2245"/>
                    </a:cubicBezTo>
                    <a:lnTo>
                      <a:pt x="219" y="2245"/>
                    </a:lnTo>
                    <a:lnTo>
                      <a:pt x="219" y="2245"/>
                    </a:lnTo>
                    <a:lnTo>
                      <a:pt x="219" y="2245"/>
                    </a:lnTo>
                    <a:cubicBezTo>
                      <a:pt x="276" y="2193"/>
                      <a:pt x="349" y="2161"/>
                      <a:pt x="427" y="2161"/>
                    </a:cubicBezTo>
                    <a:cubicBezTo>
                      <a:pt x="505" y="2161"/>
                      <a:pt x="583" y="2193"/>
                      <a:pt x="636" y="2245"/>
                    </a:cubicBezTo>
                    <a:cubicBezTo>
                      <a:pt x="693" y="2302"/>
                      <a:pt x="724" y="2375"/>
                      <a:pt x="724" y="2458"/>
                    </a:cubicBezTo>
                    <a:close/>
                    <a:moveTo>
                      <a:pt x="427" y="2068"/>
                    </a:moveTo>
                    <a:lnTo>
                      <a:pt x="427" y="2068"/>
                    </a:lnTo>
                    <a:cubicBezTo>
                      <a:pt x="417" y="2068"/>
                      <a:pt x="406" y="2068"/>
                      <a:pt x="396" y="2068"/>
                    </a:cubicBezTo>
                    <a:cubicBezTo>
                      <a:pt x="740" y="1724"/>
                      <a:pt x="625" y="1839"/>
                      <a:pt x="740" y="1724"/>
                    </a:cubicBezTo>
                    <a:cubicBezTo>
                      <a:pt x="781" y="1682"/>
                      <a:pt x="802" y="1630"/>
                      <a:pt x="802" y="1573"/>
                    </a:cubicBezTo>
                    <a:cubicBezTo>
                      <a:pt x="802" y="1526"/>
                      <a:pt x="792" y="1490"/>
                      <a:pt x="771" y="1453"/>
                    </a:cubicBezTo>
                    <a:cubicBezTo>
                      <a:pt x="1313" y="906"/>
                      <a:pt x="1132" y="1088"/>
                      <a:pt x="1313" y="906"/>
                    </a:cubicBezTo>
                    <a:cubicBezTo>
                      <a:pt x="1313" y="1260"/>
                      <a:pt x="1313" y="1142"/>
                      <a:pt x="1313" y="1260"/>
                    </a:cubicBezTo>
                    <a:cubicBezTo>
                      <a:pt x="500" y="2073"/>
                      <a:pt x="771" y="1802"/>
                      <a:pt x="500" y="2073"/>
                    </a:cubicBezTo>
                    <a:cubicBezTo>
                      <a:pt x="479" y="2068"/>
                      <a:pt x="453" y="2068"/>
                      <a:pt x="427" y="2068"/>
                    </a:cubicBezTo>
                    <a:close/>
                    <a:moveTo>
                      <a:pt x="1620" y="2646"/>
                    </a:moveTo>
                    <a:lnTo>
                      <a:pt x="1620" y="2646"/>
                    </a:lnTo>
                    <a:cubicBezTo>
                      <a:pt x="1620" y="2917"/>
                      <a:pt x="1620" y="2827"/>
                      <a:pt x="1620" y="2917"/>
                    </a:cubicBezTo>
                    <a:cubicBezTo>
                      <a:pt x="1516" y="2807"/>
                      <a:pt x="1551" y="2844"/>
                      <a:pt x="1516" y="2807"/>
                    </a:cubicBezTo>
                    <a:cubicBezTo>
                      <a:pt x="1406" y="2917"/>
                      <a:pt x="1443" y="2880"/>
                      <a:pt x="1406" y="2917"/>
                    </a:cubicBezTo>
                    <a:cubicBezTo>
                      <a:pt x="1406" y="2458"/>
                      <a:pt x="1406" y="2611"/>
                      <a:pt x="1406" y="2458"/>
                    </a:cubicBezTo>
                    <a:cubicBezTo>
                      <a:pt x="1521" y="2573"/>
                      <a:pt x="1483" y="2535"/>
                      <a:pt x="1521" y="2573"/>
                    </a:cubicBezTo>
                    <a:cubicBezTo>
                      <a:pt x="1531" y="2583"/>
                      <a:pt x="1542" y="2589"/>
                      <a:pt x="1547" y="2599"/>
                    </a:cubicBezTo>
                    <a:cubicBezTo>
                      <a:pt x="1552" y="2599"/>
                      <a:pt x="1554" y="2602"/>
                      <a:pt x="1557" y="2604"/>
                    </a:cubicBezTo>
                    <a:cubicBezTo>
                      <a:pt x="1563" y="2609"/>
                      <a:pt x="1568" y="2615"/>
                      <a:pt x="1573" y="2620"/>
                    </a:cubicBezTo>
                    <a:cubicBezTo>
                      <a:pt x="1578" y="2620"/>
                      <a:pt x="1583" y="2625"/>
                      <a:pt x="1589" y="2630"/>
                    </a:cubicBezTo>
                    <a:cubicBezTo>
                      <a:pt x="1594" y="2630"/>
                      <a:pt x="1599" y="2635"/>
                      <a:pt x="1604" y="2635"/>
                    </a:cubicBezTo>
                    <a:cubicBezTo>
                      <a:pt x="1609" y="2641"/>
                      <a:pt x="1615" y="2641"/>
                      <a:pt x="1620" y="2646"/>
                    </a:cubicBezTo>
                    <a:close/>
                    <a:moveTo>
                      <a:pt x="1797" y="2594"/>
                    </a:moveTo>
                    <a:lnTo>
                      <a:pt x="1797" y="2594"/>
                    </a:lnTo>
                    <a:cubicBezTo>
                      <a:pt x="1761" y="2594"/>
                      <a:pt x="1724" y="2589"/>
                      <a:pt x="1688" y="2573"/>
                    </a:cubicBezTo>
                    <a:lnTo>
                      <a:pt x="1688" y="2573"/>
                    </a:lnTo>
                    <a:cubicBezTo>
                      <a:pt x="1651" y="2557"/>
                      <a:pt x="1615" y="2536"/>
                      <a:pt x="1589" y="2505"/>
                    </a:cubicBezTo>
                    <a:cubicBezTo>
                      <a:pt x="896" y="1813"/>
                      <a:pt x="1127" y="2044"/>
                      <a:pt x="896" y="1813"/>
                    </a:cubicBezTo>
                    <a:cubicBezTo>
                      <a:pt x="1068" y="1635"/>
                      <a:pt x="1011" y="1694"/>
                      <a:pt x="1068" y="1635"/>
                    </a:cubicBezTo>
                    <a:cubicBezTo>
                      <a:pt x="1245" y="1813"/>
                      <a:pt x="1186" y="1754"/>
                      <a:pt x="1245" y="1813"/>
                    </a:cubicBezTo>
                    <a:lnTo>
                      <a:pt x="1245" y="1813"/>
                    </a:lnTo>
                    <a:cubicBezTo>
                      <a:pt x="1714" y="2281"/>
                      <a:pt x="1558" y="2125"/>
                      <a:pt x="1714" y="2281"/>
                    </a:cubicBezTo>
                    <a:lnTo>
                      <a:pt x="1714" y="2281"/>
                    </a:lnTo>
                    <a:cubicBezTo>
                      <a:pt x="1974" y="2536"/>
                      <a:pt x="1887" y="2451"/>
                      <a:pt x="1974" y="2536"/>
                    </a:cubicBezTo>
                    <a:cubicBezTo>
                      <a:pt x="1922" y="2573"/>
                      <a:pt x="1859" y="2594"/>
                      <a:pt x="1797" y="2594"/>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2" name="Freeform 202">
                <a:extLst>
                  <a:ext uri="{FF2B5EF4-FFF2-40B4-BE49-F238E27FC236}">
                    <a16:creationId xmlns:a16="http://schemas.microsoft.com/office/drawing/2014/main" id="{53471768-895A-5339-FAE2-5D3925871412}"/>
                  </a:ext>
                </a:extLst>
              </p:cNvPr>
              <p:cNvSpPr>
                <a:spLocks noChangeArrowheads="1"/>
              </p:cNvSpPr>
              <p:nvPr/>
            </p:nvSpPr>
            <p:spPr bwMode="auto">
              <a:xfrm>
                <a:off x="8446410" y="537823"/>
                <a:ext cx="173038" cy="173038"/>
              </a:xfrm>
              <a:custGeom>
                <a:avLst/>
                <a:gdLst>
                  <a:gd name="T0" fmla="*/ 245 w 491"/>
                  <a:gd name="T1" fmla="*/ 489 h 490"/>
                  <a:gd name="T2" fmla="*/ 245 w 491"/>
                  <a:gd name="T3" fmla="*/ 489 h 490"/>
                  <a:gd name="T4" fmla="*/ 417 w 491"/>
                  <a:gd name="T5" fmla="*/ 421 h 490"/>
                  <a:gd name="T6" fmla="*/ 490 w 491"/>
                  <a:gd name="T7" fmla="*/ 244 h 490"/>
                  <a:gd name="T8" fmla="*/ 417 w 491"/>
                  <a:gd name="T9" fmla="*/ 72 h 490"/>
                  <a:gd name="T10" fmla="*/ 245 w 491"/>
                  <a:gd name="T11" fmla="*/ 0 h 490"/>
                  <a:gd name="T12" fmla="*/ 73 w 491"/>
                  <a:gd name="T13" fmla="*/ 72 h 490"/>
                  <a:gd name="T14" fmla="*/ 0 w 491"/>
                  <a:gd name="T15" fmla="*/ 244 h 490"/>
                  <a:gd name="T16" fmla="*/ 73 w 491"/>
                  <a:gd name="T17" fmla="*/ 421 h 490"/>
                  <a:gd name="T18" fmla="*/ 245 w 491"/>
                  <a:gd name="T19" fmla="*/ 489 h 490"/>
                  <a:gd name="T20" fmla="*/ 141 w 491"/>
                  <a:gd name="T21" fmla="*/ 140 h 490"/>
                  <a:gd name="T22" fmla="*/ 141 w 491"/>
                  <a:gd name="T23" fmla="*/ 140 h 490"/>
                  <a:gd name="T24" fmla="*/ 245 w 491"/>
                  <a:gd name="T25" fmla="*/ 93 h 490"/>
                  <a:gd name="T26" fmla="*/ 355 w 491"/>
                  <a:gd name="T27" fmla="*/ 140 h 490"/>
                  <a:gd name="T28" fmla="*/ 396 w 491"/>
                  <a:gd name="T29" fmla="*/ 244 h 490"/>
                  <a:gd name="T30" fmla="*/ 355 w 491"/>
                  <a:gd name="T31" fmla="*/ 354 h 490"/>
                  <a:gd name="T32" fmla="*/ 245 w 491"/>
                  <a:gd name="T33" fmla="*/ 395 h 490"/>
                  <a:gd name="T34" fmla="*/ 141 w 491"/>
                  <a:gd name="T35" fmla="*/ 354 h 490"/>
                  <a:gd name="T36" fmla="*/ 94 w 491"/>
                  <a:gd name="T37" fmla="*/ 244 h 490"/>
                  <a:gd name="T38" fmla="*/ 141 w 491"/>
                  <a:gd name="T39" fmla="*/ 14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1" h="490">
                    <a:moveTo>
                      <a:pt x="245" y="489"/>
                    </a:moveTo>
                    <a:lnTo>
                      <a:pt x="245" y="489"/>
                    </a:lnTo>
                    <a:cubicBezTo>
                      <a:pt x="313" y="489"/>
                      <a:pt x="370" y="468"/>
                      <a:pt x="417" y="421"/>
                    </a:cubicBezTo>
                    <a:cubicBezTo>
                      <a:pt x="464" y="375"/>
                      <a:pt x="490" y="312"/>
                      <a:pt x="490" y="244"/>
                    </a:cubicBezTo>
                    <a:cubicBezTo>
                      <a:pt x="490" y="182"/>
                      <a:pt x="464" y="119"/>
                      <a:pt x="417" y="72"/>
                    </a:cubicBezTo>
                    <a:cubicBezTo>
                      <a:pt x="370" y="26"/>
                      <a:pt x="313" y="0"/>
                      <a:pt x="245" y="0"/>
                    </a:cubicBezTo>
                    <a:cubicBezTo>
                      <a:pt x="177" y="0"/>
                      <a:pt x="120" y="26"/>
                      <a:pt x="73" y="72"/>
                    </a:cubicBezTo>
                    <a:cubicBezTo>
                      <a:pt x="26" y="119"/>
                      <a:pt x="0" y="182"/>
                      <a:pt x="0" y="244"/>
                    </a:cubicBezTo>
                    <a:cubicBezTo>
                      <a:pt x="0" y="312"/>
                      <a:pt x="26" y="375"/>
                      <a:pt x="73" y="421"/>
                    </a:cubicBezTo>
                    <a:cubicBezTo>
                      <a:pt x="120" y="468"/>
                      <a:pt x="177" y="489"/>
                      <a:pt x="245" y="489"/>
                    </a:cubicBezTo>
                    <a:close/>
                    <a:moveTo>
                      <a:pt x="141" y="140"/>
                    </a:moveTo>
                    <a:lnTo>
                      <a:pt x="141" y="140"/>
                    </a:lnTo>
                    <a:cubicBezTo>
                      <a:pt x="167" y="109"/>
                      <a:pt x="204" y="93"/>
                      <a:pt x="245" y="93"/>
                    </a:cubicBezTo>
                    <a:cubicBezTo>
                      <a:pt x="287" y="93"/>
                      <a:pt x="323" y="109"/>
                      <a:pt x="355" y="140"/>
                    </a:cubicBezTo>
                    <a:cubicBezTo>
                      <a:pt x="381" y="166"/>
                      <a:pt x="396" y="208"/>
                      <a:pt x="396" y="244"/>
                    </a:cubicBezTo>
                    <a:cubicBezTo>
                      <a:pt x="396" y="286"/>
                      <a:pt x="381" y="328"/>
                      <a:pt x="355" y="354"/>
                    </a:cubicBezTo>
                    <a:cubicBezTo>
                      <a:pt x="323" y="380"/>
                      <a:pt x="287" y="395"/>
                      <a:pt x="245" y="395"/>
                    </a:cubicBezTo>
                    <a:cubicBezTo>
                      <a:pt x="204" y="395"/>
                      <a:pt x="167" y="380"/>
                      <a:pt x="141" y="354"/>
                    </a:cubicBezTo>
                    <a:cubicBezTo>
                      <a:pt x="110" y="328"/>
                      <a:pt x="94" y="286"/>
                      <a:pt x="94" y="244"/>
                    </a:cubicBezTo>
                    <a:cubicBezTo>
                      <a:pt x="94" y="208"/>
                      <a:pt x="110" y="166"/>
                      <a:pt x="141" y="140"/>
                    </a:cubicBezTo>
                    <a:close/>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sp>
            <p:nvSpPr>
              <p:cNvPr id="73" name="Freeform 203">
                <a:extLst>
                  <a:ext uri="{FF2B5EF4-FFF2-40B4-BE49-F238E27FC236}">
                    <a16:creationId xmlns:a16="http://schemas.microsoft.com/office/drawing/2014/main" id="{A979E7D4-2493-3A51-FE82-8F086C6824F8}"/>
                  </a:ext>
                </a:extLst>
              </p:cNvPr>
              <p:cNvSpPr>
                <a:spLocks noChangeArrowheads="1"/>
              </p:cNvSpPr>
              <p:nvPr/>
            </p:nvSpPr>
            <p:spPr bwMode="auto">
              <a:xfrm>
                <a:off x="8682947" y="904535"/>
                <a:ext cx="34925" cy="34925"/>
              </a:xfrm>
              <a:custGeom>
                <a:avLst/>
                <a:gdLst>
                  <a:gd name="T0" fmla="*/ 52 w 105"/>
                  <a:gd name="T1" fmla="*/ 0 h 106"/>
                  <a:gd name="T2" fmla="*/ 52 w 105"/>
                  <a:gd name="T3" fmla="*/ 0 h 106"/>
                  <a:gd name="T4" fmla="*/ 0 w 105"/>
                  <a:gd name="T5" fmla="*/ 52 h 106"/>
                  <a:gd name="T6" fmla="*/ 52 w 105"/>
                  <a:gd name="T7" fmla="*/ 105 h 106"/>
                  <a:gd name="T8" fmla="*/ 104 w 105"/>
                  <a:gd name="T9" fmla="*/ 52 h 106"/>
                  <a:gd name="T10" fmla="*/ 52 w 105"/>
                  <a:gd name="T11" fmla="*/ 0 h 106"/>
                </a:gdLst>
                <a:ahLst/>
                <a:cxnLst>
                  <a:cxn ang="0">
                    <a:pos x="T0" y="T1"/>
                  </a:cxn>
                  <a:cxn ang="0">
                    <a:pos x="T2" y="T3"/>
                  </a:cxn>
                  <a:cxn ang="0">
                    <a:pos x="T4" y="T5"/>
                  </a:cxn>
                  <a:cxn ang="0">
                    <a:pos x="T6" y="T7"/>
                  </a:cxn>
                  <a:cxn ang="0">
                    <a:pos x="T8" y="T9"/>
                  </a:cxn>
                  <a:cxn ang="0">
                    <a:pos x="T10" y="T11"/>
                  </a:cxn>
                </a:cxnLst>
                <a:rect l="0" t="0" r="r" b="b"/>
                <a:pathLst>
                  <a:path w="105" h="106">
                    <a:moveTo>
                      <a:pt x="52" y="0"/>
                    </a:moveTo>
                    <a:lnTo>
                      <a:pt x="52" y="0"/>
                    </a:lnTo>
                    <a:cubicBezTo>
                      <a:pt x="20" y="0"/>
                      <a:pt x="0" y="21"/>
                      <a:pt x="0" y="52"/>
                    </a:cubicBezTo>
                    <a:cubicBezTo>
                      <a:pt x="0" y="78"/>
                      <a:pt x="20" y="105"/>
                      <a:pt x="52" y="105"/>
                    </a:cubicBezTo>
                    <a:cubicBezTo>
                      <a:pt x="78" y="105"/>
                      <a:pt x="104" y="78"/>
                      <a:pt x="104" y="52"/>
                    </a:cubicBezTo>
                    <a:cubicBezTo>
                      <a:pt x="104" y="21"/>
                      <a:pt x="78" y="0"/>
                      <a:pt x="52" y="0"/>
                    </a:cubicBezTo>
                  </a:path>
                </a:pathLst>
              </a:custGeom>
              <a:solidFill>
                <a:srgbClr val="1818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latin typeface="Arial" panose="020B0604020202020204" pitchFamily="34" charset="0"/>
                  <a:cs typeface="Arial" panose="020B0604020202020204" pitchFamily="34" charset="0"/>
                </a:endParaRPr>
              </a:p>
            </p:txBody>
          </p:sp>
        </p:grpSp>
      </p:grpSp>
      <p:sp>
        <p:nvSpPr>
          <p:cNvPr id="77" name="Segnaposto testo 4">
            <a:extLst>
              <a:ext uri="{FF2B5EF4-FFF2-40B4-BE49-F238E27FC236}">
                <a16:creationId xmlns:a16="http://schemas.microsoft.com/office/drawing/2014/main" id="{C775370E-0B4F-19AD-4331-F892D7E398C1}"/>
              </a:ext>
            </a:extLst>
          </p:cNvPr>
          <p:cNvSpPr>
            <a:spLocks noGrp="1"/>
          </p:cNvSpPr>
          <p:nvPr>
            <p:ph type="body" sz="quarter" idx="50" hasCustomPrompt="1"/>
          </p:nvPr>
        </p:nvSpPr>
        <p:spPr>
          <a:xfrm>
            <a:off x="8960470" y="3512113"/>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78" name="Segnaposto testo 4">
            <a:extLst>
              <a:ext uri="{FF2B5EF4-FFF2-40B4-BE49-F238E27FC236}">
                <a16:creationId xmlns:a16="http://schemas.microsoft.com/office/drawing/2014/main" id="{430CC5C8-7559-2BD2-5A8A-D07D467EE518}"/>
              </a:ext>
            </a:extLst>
          </p:cNvPr>
          <p:cNvSpPr>
            <a:spLocks noGrp="1"/>
          </p:cNvSpPr>
          <p:nvPr>
            <p:ph type="body" sz="quarter" idx="51" hasCustomPrompt="1"/>
          </p:nvPr>
        </p:nvSpPr>
        <p:spPr>
          <a:xfrm>
            <a:off x="8960470" y="3241047"/>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79" name="Segnaposto testo 4">
            <a:extLst>
              <a:ext uri="{FF2B5EF4-FFF2-40B4-BE49-F238E27FC236}">
                <a16:creationId xmlns:a16="http://schemas.microsoft.com/office/drawing/2014/main" id="{21A3A430-2AFD-0615-0ABC-9B834166459D}"/>
              </a:ext>
            </a:extLst>
          </p:cNvPr>
          <p:cNvSpPr>
            <a:spLocks noGrp="1"/>
          </p:cNvSpPr>
          <p:nvPr>
            <p:ph type="body" sz="quarter" idx="52" hasCustomPrompt="1"/>
          </p:nvPr>
        </p:nvSpPr>
        <p:spPr>
          <a:xfrm>
            <a:off x="8970163" y="4968212"/>
            <a:ext cx="2045122" cy="911748"/>
          </a:xfrm>
        </p:spPr>
        <p:txBody>
          <a:bodyPr numCol="1" spcCol="360000">
            <a:normAutofit/>
          </a:bodyPr>
          <a:lstStyle>
            <a:lvl1pPr marL="0" indent="0" algn="just">
              <a:lnSpc>
                <a:spcPct val="100000"/>
              </a:lnSpc>
              <a:buNone/>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80" name="Segnaposto testo 4">
            <a:extLst>
              <a:ext uri="{FF2B5EF4-FFF2-40B4-BE49-F238E27FC236}">
                <a16:creationId xmlns:a16="http://schemas.microsoft.com/office/drawing/2014/main" id="{C1E8FBF9-3600-FA4E-68FB-FA9A6DFFC951}"/>
              </a:ext>
            </a:extLst>
          </p:cNvPr>
          <p:cNvSpPr>
            <a:spLocks noGrp="1"/>
          </p:cNvSpPr>
          <p:nvPr>
            <p:ph type="body" sz="quarter" idx="53" hasCustomPrompt="1"/>
          </p:nvPr>
        </p:nvSpPr>
        <p:spPr>
          <a:xfrm>
            <a:off x="8970163" y="4697146"/>
            <a:ext cx="2045122" cy="198624"/>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Tree>
    <p:extLst>
      <p:ext uri="{BB962C8B-B14F-4D97-AF65-F5344CB8AC3E}">
        <p14:creationId xmlns:p14="http://schemas.microsoft.com/office/powerpoint/2010/main" val="21005264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a:xfrm>
            <a:off x="550864" y="549276"/>
            <a:ext cx="5873080" cy="827087"/>
          </a:xfrm>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91" name="Groep 90">
            <a:extLst>
              <a:ext uri="{FF2B5EF4-FFF2-40B4-BE49-F238E27FC236}">
                <a16:creationId xmlns:a16="http://schemas.microsoft.com/office/drawing/2014/main" id="{5B58E0A3-974A-075E-D106-84C3466EDAFC}"/>
              </a:ext>
            </a:extLst>
          </p:cNvPr>
          <p:cNvGrpSpPr>
            <a:grpSpLocks noChangeAspect="1"/>
          </p:cNvGrpSpPr>
          <p:nvPr userDrawn="1"/>
        </p:nvGrpSpPr>
        <p:grpSpPr>
          <a:xfrm>
            <a:off x="721914" y="2413167"/>
            <a:ext cx="9483406" cy="3169451"/>
            <a:chOff x="326047" y="1592383"/>
            <a:chExt cx="13246865" cy="4427237"/>
          </a:xfrm>
        </p:grpSpPr>
        <p:sp>
          <p:nvSpPr>
            <p:cNvPr id="5" name="Rounded Rectangle 2">
              <a:extLst>
                <a:ext uri="{FF2B5EF4-FFF2-40B4-BE49-F238E27FC236}">
                  <a16:creationId xmlns:a16="http://schemas.microsoft.com/office/drawing/2014/main" id="{7422A1CE-8918-BACB-C97B-5FD4AECA67D1}"/>
                </a:ext>
              </a:extLst>
            </p:cNvPr>
            <p:cNvSpPr/>
            <p:nvPr userDrawn="1"/>
          </p:nvSpPr>
          <p:spPr>
            <a:xfrm rot="18900000">
              <a:off x="326047" y="2857472"/>
              <a:ext cx="1897065" cy="1897065"/>
            </a:xfrm>
            <a:prstGeom prst="roundRect">
              <a:avLst>
                <a:gd name="adj" fmla="val 2678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6" name="Rounded Rectangle 3">
              <a:extLst>
                <a:ext uri="{FF2B5EF4-FFF2-40B4-BE49-F238E27FC236}">
                  <a16:creationId xmlns:a16="http://schemas.microsoft.com/office/drawing/2014/main" id="{5CC26BE8-87B0-5EE0-08B0-5EE249222FBF}"/>
                </a:ext>
              </a:extLst>
            </p:cNvPr>
            <p:cNvSpPr/>
            <p:nvPr userDrawn="1"/>
          </p:nvSpPr>
          <p:spPr>
            <a:xfrm rot="18900000">
              <a:off x="3163498" y="2857470"/>
              <a:ext cx="1897065" cy="1897065"/>
            </a:xfrm>
            <a:prstGeom prst="roundRect">
              <a:avLst>
                <a:gd name="adj" fmla="val 26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7" name="Rounded Rectangle 4">
              <a:extLst>
                <a:ext uri="{FF2B5EF4-FFF2-40B4-BE49-F238E27FC236}">
                  <a16:creationId xmlns:a16="http://schemas.microsoft.com/office/drawing/2014/main" id="{0F1E5E75-247A-E7CC-622C-BE933DC2E74A}"/>
                </a:ext>
              </a:extLst>
            </p:cNvPr>
            <p:cNvSpPr/>
            <p:nvPr userDrawn="1"/>
          </p:nvSpPr>
          <p:spPr>
            <a:xfrm rot="18900000">
              <a:off x="6000948" y="2857469"/>
              <a:ext cx="1897065" cy="1897065"/>
            </a:xfrm>
            <a:prstGeom prst="roundRect">
              <a:avLst>
                <a:gd name="adj" fmla="val 2678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8" name="Shape 2137">
              <a:extLst>
                <a:ext uri="{FF2B5EF4-FFF2-40B4-BE49-F238E27FC236}">
                  <a16:creationId xmlns:a16="http://schemas.microsoft.com/office/drawing/2014/main" id="{67B57E12-302C-C7B9-C3D9-06E2A3E2C555}"/>
                </a:ext>
              </a:extLst>
            </p:cNvPr>
            <p:cNvSpPr/>
            <p:nvPr userDrawn="1"/>
          </p:nvSpPr>
          <p:spPr>
            <a:xfrm>
              <a:off x="1242143" y="1592383"/>
              <a:ext cx="2821490" cy="872190"/>
            </a:xfrm>
            <a:custGeom>
              <a:avLst/>
              <a:gdLst/>
              <a:ahLst/>
              <a:cxnLst>
                <a:cxn ang="0">
                  <a:pos x="wd2" y="hd2"/>
                </a:cxn>
                <a:cxn ang="5400000">
                  <a:pos x="wd2" y="hd2"/>
                </a:cxn>
                <a:cxn ang="10800000">
                  <a:pos x="wd2" y="hd2"/>
                </a:cxn>
                <a:cxn ang="16200000">
                  <a:pos x="wd2" y="hd2"/>
                </a:cxn>
              </a:cxnLst>
              <a:rect l="0" t="0" r="r" b="b"/>
              <a:pathLst>
                <a:path w="21600" h="17050" extrusionOk="0">
                  <a:moveTo>
                    <a:pt x="0" y="16210"/>
                  </a:moveTo>
                  <a:cubicBezTo>
                    <a:pt x="3419" y="835"/>
                    <a:pt x="11072" y="-4550"/>
                    <a:pt x="17092" y="4181"/>
                  </a:cubicBezTo>
                  <a:cubicBezTo>
                    <a:pt x="18733" y="6560"/>
                    <a:pt x="20142" y="9855"/>
                    <a:pt x="21215" y="13819"/>
                  </a:cubicBezTo>
                  <a:lnTo>
                    <a:pt x="21600" y="13261"/>
                  </a:lnTo>
                  <a:lnTo>
                    <a:pt x="21513" y="16630"/>
                  </a:lnTo>
                  <a:lnTo>
                    <a:pt x="20248" y="15221"/>
                  </a:lnTo>
                  <a:lnTo>
                    <a:pt x="20633" y="14663"/>
                  </a:lnTo>
                  <a:cubicBezTo>
                    <a:pt x="16879" y="938"/>
                    <a:pt x="9479" y="-2418"/>
                    <a:pt x="4105" y="7168"/>
                  </a:cubicBezTo>
                  <a:cubicBezTo>
                    <a:pt x="2656" y="9751"/>
                    <a:pt x="1452" y="13127"/>
                    <a:pt x="579" y="17050"/>
                  </a:cubicBezTo>
                  <a:close/>
                </a:path>
              </a:pathLst>
            </a:custGeom>
            <a:solidFill>
              <a:schemeClr val="tx1"/>
            </a:solidFill>
            <a:ln w="12700">
              <a:noFill/>
              <a:miter lim="400000"/>
            </a:ln>
          </p:spPr>
          <p:txBody>
            <a:bodyPr lIns="0" tIns="0" rIns="0" bIns="0" numCol="1"/>
            <a:lstStyle/>
            <a:p>
              <a:pPr lvl="0">
                <a:lnSpc>
                  <a:spcPct val="100000"/>
                </a:lnSpc>
              </a:pPr>
              <a:endParaRPr/>
            </a:p>
          </p:txBody>
        </p:sp>
        <p:sp>
          <p:nvSpPr>
            <p:cNvPr id="9" name="Rounded Rectangle 6">
              <a:extLst>
                <a:ext uri="{FF2B5EF4-FFF2-40B4-BE49-F238E27FC236}">
                  <a16:creationId xmlns:a16="http://schemas.microsoft.com/office/drawing/2014/main" id="{60D4AB7A-C3E0-FBFA-ECED-F1C4AECA1F3D}"/>
                </a:ext>
              </a:extLst>
            </p:cNvPr>
            <p:cNvSpPr/>
            <p:nvPr userDrawn="1"/>
          </p:nvSpPr>
          <p:spPr>
            <a:xfrm rot="18900000">
              <a:off x="8838399" y="2857470"/>
              <a:ext cx="1897065" cy="1897065"/>
            </a:xfrm>
            <a:prstGeom prst="roundRect">
              <a:avLst>
                <a:gd name="adj" fmla="val 267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10" name="Rounded Rectangle 7">
              <a:extLst>
                <a:ext uri="{FF2B5EF4-FFF2-40B4-BE49-F238E27FC236}">
                  <a16:creationId xmlns:a16="http://schemas.microsoft.com/office/drawing/2014/main" id="{93FDD1D4-8ED2-9903-240A-D8E471CE9996}"/>
                </a:ext>
              </a:extLst>
            </p:cNvPr>
            <p:cNvSpPr/>
            <p:nvPr userDrawn="1"/>
          </p:nvSpPr>
          <p:spPr>
            <a:xfrm rot="18900000">
              <a:off x="11675847" y="2857471"/>
              <a:ext cx="1897065" cy="1897065"/>
            </a:xfrm>
            <a:prstGeom prst="roundRect">
              <a:avLst>
                <a:gd name="adj" fmla="val 267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11" name="Shape 2137">
              <a:extLst>
                <a:ext uri="{FF2B5EF4-FFF2-40B4-BE49-F238E27FC236}">
                  <a16:creationId xmlns:a16="http://schemas.microsoft.com/office/drawing/2014/main" id="{6B51EE38-6862-ABD9-F514-28970D1926DB}"/>
                </a:ext>
              </a:extLst>
            </p:cNvPr>
            <p:cNvSpPr/>
            <p:nvPr userDrawn="1"/>
          </p:nvSpPr>
          <p:spPr>
            <a:xfrm rot="10800000" flipH="1">
              <a:off x="4106336" y="5147430"/>
              <a:ext cx="2821490" cy="872190"/>
            </a:xfrm>
            <a:custGeom>
              <a:avLst/>
              <a:gdLst/>
              <a:ahLst/>
              <a:cxnLst>
                <a:cxn ang="0">
                  <a:pos x="wd2" y="hd2"/>
                </a:cxn>
                <a:cxn ang="5400000">
                  <a:pos x="wd2" y="hd2"/>
                </a:cxn>
                <a:cxn ang="10800000">
                  <a:pos x="wd2" y="hd2"/>
                </a:cxn>
                <a:cxn ang="16200000">
                  <a:pos x="wd2" y="hd2"/>
                </a:cxn>
              </a:cxnLst>
              <a:rect l="0" t="0" r="r" b="b"/>
              <a:pathLst>
                <a:path w="21600" h="17050" extrusionOk="0">
                  <a:moveTo>
                    <a:pt x="0" y="16210"/>
                  </a:moveTo>
                  <a:cubicBezTo>
                    <a:pt x="3419" y="835"/>
                    <a:pt x="11072" y="-4550"/>
                    <a:pt x="17092" y="4181"/>
                  </a:cubicBezTo>
                  <a:cubicBezTo>
                    <a:pt x="18733" y="6560"/>
                    <a:pt x="20142" y="9855"/>
                    <a:pt x="21215" y="13819"/>
                  </a:cubicBezTo>
                  <a:lnTo>
                    <a:pt x="21600" y="13261"/>
                  </a:lnTo>
                  <a:lnTo>
                    <a:pt x="21513" y="16630"/>
                  </a:lnTo>
                  <a:lnTo>
                    <a:pt x="20248" y="15221"/>
                  </a:lnTo>
                  <a:lnTo>
                    <a:pt x="20633" y="14663"/>
                  </a:lnTo>
                  <a:cubicBezTo>
                    <a:pt x="16879" y="938"/>
                    <a:pt x="9479" y="-2418"/>
                    <a:pt x="4105" y="7168"/>
                  </a:cubicBezTo>
                  <a:cubicBezTo>
                    <a:pt x="2656" y="9751"/>
                    <a:pt x="1452" y="13127"/>
                    <a:pt x="579" y="17050"/>
                  </a:cubicBezTo>
                  <a:close/>
                </a:path>
              </a:pathLst>
            </a:custGeom>
            <a:solidFill>
              <a:schemeClr val="tx1"/>
            </a:solidFill>
            <a:ln w="12700">
              <a:noFill/>
              <a:miter lim="400000"/>
            </a:ln>
          </p:spPr>
          <p:txBody>
            <a:bodyPr lIns="0" tIns="0" rIns="0" bIns="0" numCol="1"/>
            <a:lstStyle/>
            <a:p>
              <a:pPr lvl="0">
                <a:lnSpc>
                  <a:spcPct val="100000"/>
                </a:lnSpc>
              </a:pPr>
              <a:endParaRPr/>
            </a:p>
          </p:txBody>
        </p:sp>
        <p:sp>
          <p:nvSpPr>
            <p:cNvPr id="12" name="Shape 2137">
              <a:extLst>
                <a:ext uri="{FF2B5EF4-FFF2-40B4-BE49-F238E27FC236}">
                  <a16:creationId xmlns:a16="http://schemas.microsoft.com/office/drawing/2014/main" id="{81F776F6-9032-DFF1-6ABB-18254B232685}"/>
                </a:ext>
              </a:extLst>
            </p:cNvPr>
            <p:cNvSpPr/>
            <p:nvPr userDrawn="1"/>
          </p:nvSpPr>
          <p:spPr>
            <a:xfrm>
              <a:off x="6789192" y="1592383"/>
              <a:ext cx="2821490" cy="872190"/>
            </a:xfrm>
            <a:custGeom>
              <a:avLst/>
              <a:gdLst/>
              <a:ahLst/>
              <a:cxnLst>
                <a:cxn ang="0">
                  <a:pos x="wd2" y="hd2"/>
                </a:cxn>
                <a:cxn ang="5400000">
                  <a:pos x="wd2" y="hd2"/>
                </a:cxn>
                <a:cxn ang="10800000">
                  <a:pos x="wd2" y="hd2"/>
                </a:cxn>
                <a:cxn ang="16200000">
                  <a:pos x="wd2" y="hd2"/>
                </a:cxn>
              </a:cxnLst>
              <a:rect l="0" t="0" r="r" b="b"/>
              <a:pathLst>
                <a:path w="21600" h="17050" extrusionOk="0">
                  <a:moveTo>
                    <a:pt x="0" y="16210"/>
                  </a:moveTo>
                  <a:cubicBezTo>
                    <a:pt x="3419" y="835"/>
                    <a:pt x="11072" y="-4550"/>
                    <a:pt x="17092" y="4181"/>
                  </a:cubicBezTo>
                  <a:cubicBezTo>
                    <a:pt x="18733" y="6560"/>
                    <a:pt x="20142" y="9855"/>
                    <a:pt x="21215" y="13819"/>
                  </a:cubicBezTo>
                  <a:lnTo>
                    <a:pt x="21600" y="13261"/>
                  </a:lnTo>
                  <a:lnTo>
                    <a:pt x="21513" y="16630"/>
                  </a:lnTo>
                  <a:lnTo>
                    <a:pt x="20248" y="15221"/>
                  </a:lnTo>
                  <a:lnTo>
                    <a:pt x="20633" y="14663"/>
                  </a:lnTo>
                  <a:cubicBezTo>
                    <a:pt x="16879" y="938"/>
                    <a:pt x="9479" y="-2418"/>
                    <a:pt x="4105" y="7168"/>
                  </a:cubicBezTo>
                  <a:cubicBezTo>
                    <a:pt x="2656" y="9751"/>
                    <a:pt x="1452" y="13127"/>
                    <a:pt x="579" y="17050"/>
                  </a:cubicBezTo>
                  <a:close/>
                </a:path>
              </a:pathLst>
            </a:custGeom>
            <a:solidFill>
              <a:schemeClr val="tx1"/>
            </a:solidFill>
            <a:ln w="12700">
              <a:noFill/>
              <a:miter lim="400000"/>
            </a:ln>
          </p:spPr>
          <p:txBody>
            <a:bodyPr lIns="0" tIns="0" rIns="0" bIns="0" numCol="1"/>
            <a:lstStyle/>
            <a:p>
              <a:pPr lvl="0">
                <a:lnSpc>
                  <a:spcPct val="100000"/>
                </a:lnSpc>
              </a:pPr>
              <a:endParaRPr/>
            </a:p>
          </p:txBody>
        </p:sp>
        <p:sp>
          <p:nvSpPr>
            <p:cNvPr id="13" name="Shape 2137">
              <a:extLst>
                <a:ext uri="{FF2B5EF4-FFF2-40B4-BE49-F238E27FC236}">
                  <a16:creationId xmlns:a16="http://schemas.microsoft.com/office/drawing/2014/main" id="{FB744FD7-BE2B-0D83-E812-4966CF35E761}"/>
                </a:ext>
              </a:extLst>
            </p:cNvPr>
            <p:cNvSpPr/>
            <p:nvPr userDrawn="1"/>
          </p:nvSpPr>
          <p:spPr>
            <a:xfrm rot="10800000" flipH="1">
              <a:off x="9653385" y="5147430"/>
              <a:ext cx="2821490" cy="872190"/>
            </a:xfrm>
            <a:custGeom>
              <a:avLst/>
              <a:gdLst/>
              <a:ahLst/>
              <a:cxnLst>
                <a:cxn ang="0">
                  <a:pos x="wd2" y="hd2"/>
                </a:cxn>
                <a:cxn ang="5400000">
                  <a:pos x="wd2" y="hd2"/>
                </a:cxn>
                <a:cxn ang="10800000">
                  <a:pos x="wd2" y="hd2"/>
                </a:cxn>
                <a:cxn ang="16200000">
                  <a:pos x="wd2" y="hd2"/>
                </a:cxn>
              </a:cxnLst>
              <a:rect l="0" t="0" r="r" b="b"/>
              <a:pathLst>
                <a:path w="21600" h="17050" extrusionOk="0">
                  <a:moveTo>
                    <a:pt x="0" y="16210"/>
                  </a:moveTo>
                  <a:cubicBezTo>
                    <a:pt x="3419" y="835"/>
                    <a:pt x="11072" y="-4550"/>
                    <a:pt x="17092" y="4181"/>
                  </a:cubicBezTo>
                  <a:cubicBezTo>
                    <a:pt x="18733" y="6560"/>
                    <a:pt x="20142" y="9855"/>
                    <a:pt x="21215" y="13819"/>
                  </a:cubicBezTo>
                  <a:lnTo>
                    <a:pt x="21600" y="13261"/>
                  </a:lnTo>
                  <a:lnTo>
                    <a:pt x="21513" y="16630"/>
                  </a:lnTo>
                  <a:lnTo>
                    <a:pt x="20248" y="15221"/>
                  </a:lnTo>
                  <a:lnTo>
                    <a:pt x="20633" y="14663"/>
                  </a:lnTo>
                  <a:cubicBezTo>
                    <a:pt x="16879" y="938"/>
                    <a:pt x="9479" y="-2418"/>
                    <a:pt x="4105" y="7168"/>
                  </a:cubicBezTo>
                  <a:cubicBezTo>
                    <a:pt x="2656" y="9751"/>
                    <a:pt x="1452" y="13127"/>
                    <a:pt x="579" y="17050"/>
                  </a:cubicBezTo>
                  <a:close/>
                </a:path>
              </a:pathLst>
            </a:custGeom>
            <a:solidFill>
              <a:schemeClr val="tx1"/>
            </a:solidFill>
            <a:ln w="12700">
              <a:noFill/>
              <a:miter lim="400000"/>
            </a:ln>
          </p:spPr>
          <p:txBody>
            <a:bodyPr lIns="0" tIns="0" rIns="0" bIns="0" numCol="1"/>
            <a:lstStyle/>
            <a:p>
              <a:pPr lvl="0">
                <a:lnSpc>
                  <a:spcPct val="100000"/>
                </a:lnSpc>
              </a:pPr>
              <a:endParaRPr/>
            </a:p>
          </p:txBody>
        </p:sp>
        <p:grpSp>
          <p:nvGrpSpPr>
            <p:cNvPr id="19" name="Group 17">
              <a:extLst>
                <a:ext uri="{FF2B5EF4-FFF2-40B4-BE49-F238E27FC236}">
                  <a16:creationId xmlns:a16="http://schemas.microsoft.com/office/drawing/2014/main" id="{A9245D4D-64E8-0F74-C98F-AAA2C97263EB}"/>
                </a:ext>
              </a:extLst>
            </p:cNvPr>
            <p:cNvGrpSpPr/>
            <p:nvPr userDrawn="1"/>
          </p:nvGrpSpPr>
          <p:grpSpPr>
            <a:xfrm>
              <a:off x="970464" y="2794534"/>
              <a:ext cx="578759" cy="698251"/>
              <a:chOff x="3357563" y="22225"/>
              <a:chExt cx="884238" cy="1066800"/>
            </a:xfrm>
            <a:solidFill>
              <a:schemeClr val="bg1"/>
            </a:solidFill>
          </p:grpSpPr>
          <p:sp>
            <p:nvSpPr>
              <p:cNvPr id="20" name="Freeform 32">
                <a:extLst>
                  <a:ext uri="{FF2B5EF4-FFF2-40B4-BE49-F238E27FC236}">
                    <a16:creationId xmlns:a16="http://schemas.microsoft.com/office/drawing/2014/main" id="{DAA2A1BA-DC52-14E7-ADAD-0C76C54E7E88}"/>
                  </a:ext>
                </a:extLst>
              </p:cNvPr>
              <p:cNvSpPr>
                <a:spLocks noChangeArrowheads="1"/>
              </p:cNvSpPr>
              <p:nvPr/>
            </p:nvSpPr>
            <p:spPr bwMode="auto">
              <a:xfrm>
                <a:off x="3724275" y="388938"/>
                <a:ext cx="150813" cy="152400"/>
              </a:xfrm>
              <a:custGeom>
                <a:avLst/>
                <a:gdLst>
                  <a:gd name="T0" fmla="*/ 214 w 428"/>
                  <a:gd name="T1" fmla="*/ 0 h 434"/>
                  <a:gd name="T2" fmla="*/ 214 w 428"/>
                  <a:gd name="T3" fmla="*/ 0 h 434"/>
                  <a:gd name="T4" fmla="*/ 0 w 428"/>
                  <a:gd name="T5" fmla="*/ 214 h 434"/>
                  <a:gd name="T6" fmla="*/ 214 w 428"/>
                  <a:gd name="T7" fmla="*/ 433 h 434"/>
                  <a:gd name="T8" fmla="*/ 427 w 428"/>
                  <a:gd name="T9" fmla="*/ 214 h 434"/>
                  <a:gd name="T10" fmla="*/ 214 w 428"/>
                  <a:gd name="T11" fmla="*/ 0 h 434"/>
                  <a:gd name="T12" fmla="*/ 214 w 428"/>
                  <a:gd name="T13" fmla="*/ 339 h 434"/>
                  <a:gd name="T14" fmla="*/ 214 w 428"/>
                  <a:gd name="T15" fmla="*/ 339 h 434"/>
                  <a:gd name="T16" fmla="*/ 94 w 428"/>
                  <a:gd name="T17" fmla="*/ 214 h 434"/>
                  <a:gd name="T18" fmla="*/ 214 w 428"/>
                  <a:gd name="T19" fmla="*/ 94 h 434"/>
                  <a:gd name="T20" fmla="*/ 333 w 428"/>
                  <a:gd name="T21" fmla="*/ 214 h 434"/>
                  <a:gd name="T22" fmla="*/ 214 w 428"/>
                  <a:gd name="T23" fmla="*/ 33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8" h="434">
                    <a:moveTo>
                      <a:pt x="214" y="0"/>
                    </a:moveTo>
                    <a:lnTo>
                      <a:pt x="214" y="0"/>
                    </a:lnTo>
                    <a:cubicBezTo>
                      <a:pt x="94" y="0"/>
                      <a:pt x="0" y="99"/>
                      <a:pt x="0" y="214"/>
                    </a:cubicBezTo>
                    <a:cubicBezTo>
                      <a:pt x="0" y="334"/>
                      <a:pt x="94" y="433"/>
                      <a:pt x="214" y="433"/>
                    </a:cubicBezTo>
                    <a:cubicBezTo>
                      <a:pt x="333" y="433"/>
                      <a:pt x="427" y="334"/>
                      <a:pt x="427" y="214"/>
                    </a:cubicBezTo>
                    <a:cubicBezTo>
                      <a:pt x="427" y="99"/>
                      <a:pt x="333" y="0"/>
                      <a:pt x="214" y="0"/>
                    </a:cubicBezTo>
                    <a:close/>
                    <a:moveTo>
                      <a:pt x="214" y="339"/>
                    </a:moveTo>
                    <a:lnTo>
                      <a:pt x="214" y="339"/>
                    </a:lnTo>
                    <a:cubicBezTo>
                      <a:pt x="146" y="339"/>
                      <a:pt x="94" y="282"/>
                      <a:pt x="94" y="214"/>
                    </a:cubicBezTo>
                    <a:cubicBezTo>
                      <a:pt x="94" y="146"/>
                      <a:pt x="146" y="94"/>
                      <a:pt x="214" y="94"/>
                    </a:cubicBezTo>
                    <a:cubicBezTo>
                      <a:pt x="281" y="94"/>
                      <a:pt x="333" y="146"/>
                      <a:pt x="333" y="214"/>
                    </a:cubicBezTo>
                    <a:cubicBezTo>
                      <a:pt x="333" y="282"/>
                      <a:pt x="281" y="339"/>
                      <a:pt x="214" y="339"/>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1" name="Freeform 33">
                <a:extLst>
                  <a:ext uri="{FF2B5EF4-FFF2-40B4-BE49-F238E27FC236}">
                    <a16:creationId xmlns:a16="http://schemas.microsoft.com/office/drawing/2014/main" id="{4E756A7D-41D0-39BD-88C7-C1F3EF62E134}"/>
                  </a:ext>
                </a:extLst>
              </p:cNvPr>
              <p:cNvSpPr>
                <a:spLocks noChangeArrowheads="1"/>
              </p:cNvSpPr>
              <p:nvPr/>
            </p:nvSpPr>
            <p:spPr bwMode="auto">
              <a:xfrm>
                <a:off x="3571875" y="236538"/>
                <a:ext cx="455613" cy="455612"/>
              </a:xfrm>
              <a:custGeom>
                <a:avLst/>
                <a:gdLst>
                  <a:gd name="T0" fmla="*/ 1137 w 1274"/>
                  <a:gd name="T1" fmla="*/ 591 h 1276"/>
                  <a:gd name="T2" fmla="*/ 1137 w 1274"/>
                  <a:gd name="T3" fmla="*/ 591 h 1276"/>
                  <a:gd name="T4" fmla="*/ 1091 w 1274"/>
                  <a:gd name="T5" fmla="*/ 429 h 1276"/>
                  <a:gd name="T6" fmla="*/ 1211 w 1274"/>
                  <a:gd name="T7" fmla="*/ 361 h 1276"/>
                  <a:gd name="T8" fmla="*/ 1163 w 1274"/>
                  <a:gd name="T9" fmla="*/ 278 h 1276"/>
                  <a:gd name="T10" fmla="*/ 1044 w 1274"/>
                  <a:gd name="T11" fmla="*/ 350 h 1276"/>
                  <a:gd name="T12" fmla="*/ 929 w 1274"/>
                  <a:gd name="T13" fmla="*/ 231 h 1276"/>
                  <a:gd name="T14" fmla="*/ 996 w 1274"/>
                  <a:gd name="T15" fmla="*/ 110 h 1276"/>
                  <a:gd name="T16" fmla="*/ 913 w 1274"/>
                  <a:gd name="T17" fmla="*/ 63 h 1276"/>
                  <a:gd name="T18" fmla="*/ 845 w 1274"/>
                  <a:gd name="T19" fmla="*/ 183 h 1276"/>
                  <a:gd name="T20" fmla="*/ 683 w 1274"/>
                  <a:gd name="T21" fmla="*/ 142 h 1276"/>
                  <a:gd name="T22" fmla="*/ 683 w 1274"/>
                  <a:gd name="T23" fmla="*/ 0 h 1276"/>
                  <a:gd name="T24" fmla="*/ 590 w 1274"/>
                  <a:gd name="T25" fmla="*/ 0 h 1276"/>
                  <a:gd name="T26" fmla="*/ 590 w 1274"/>
                  <a:gd name="T27" fmla="*/ 142 h 1276"/>
                  <a:gd name="T28" fmla="*/ 428 w 1274"/>
                  <a:gd name="T29" fmla="*/ 183 h 1276"/>
                  <a:gd name="T30" fmla="*/ 360 w 1274"/>
                  <a:gd name="T31" fmla="*/ 63 h 1276"/>
                  <a:gd name="T32" fmla="*/ 277 w 1274"/>
                  <a:gd name="T33" fmla="*/ 110 h 1276"/>
                  <a:gd name="T34" fmla="*/ 345 w 1274"/>
                  <a:gd name="T35" fmla="*/ 231 h 1276"/>
                  <a:gd name="T36" fmla="*/ 230 w 1274"/>
                  <a:gd name="T37" fmla="*/ 350 h 1276"/>
                  <a:gd name="T38" fmla="*/ 109 w 1274"/>
                  <a:gd name="T39" fmla="*/ 283 h 1276"/>
                  <a:gd name="T40" fmla="*/ 63 w 1274"/>
                  <a:gd name="T41" fmla="*/ 361 h 1276"/>
                  <a:gd name="T42" fmla="*/ 183 w 1274"/>
                  <a:gd name="T43" fmla="*/ 429 h 1276"/>
                  <a:gd name="T44" fmla="*/ 135 w 1274"/>
                  <a:gd name="T45" fmla="*/ 591 h 1276"/>
                  <a:gd name="T46" fmla="*/ 0 w 1274"/>
                  <a:gd name="T47" fmla="*/ 591 h 1276"/>
                  <a:gd name="T48" fmla="*/ 0 w 1274"/>
                  <a:gd name="T49" fmla="*/ 685 h 1276"/>
                  <a:gd name="T50" fmla="*/ 135 w 1274"/>
                  <a:gd name="T51" fmla="*/ 685 h 1276"/>
                  <a:gd name="T52" fmla="*/ 183 w 1274"/>
                  <a:gd name="T53" fmla="*/ 847 h 1276"/>
                  <a:gd name="T54" fmla="*/ 63 w 1274"/>
                  <a:gd name="T55" fmla="*/ 920 h 1276"/>
                  <a:gd name="T56" fmla="*/ 109 w 1274"/>
                  <a:gd name="T57" fmla="*/ 998 h 1276"/>
                  <a:gd name="T58" fmla="*/ 230 w 1274"/>
                  <a:gd name="T59" fmla="*/ 931 h 1276"/>
                  <a:gd name="T60" fmla="*/ 345 w 1274"/>
                  <a:gd name="T61" fmla="*/ 1051 h 1276"/>
                  <a:gd name="T62" fmla="*/ 277 w 1274"/>
                  <a:gd name="T63" fmla="*/ 1165 h 1276"/>
                  <a:gd name="T64" fmla="*/ 360 w 1274"/>
                  <a:gd name="T65" fmla="*/ 1212 h 1276"/>
                  <a:gd name="T66" fmla="*/ 428 w 1274"/>
                  <a:gd name="T67" fmla="*/ 1098 h 1276"/>
                  <a:gd name="T68" fmla="*/ 590 w 1274"/>
                  <a:gd name="T69" fmla="*/ 1139 h 1276"/>
                  <a:gd name="T70" fmla="*/ 590 w 1274"/>
                  <a:gd name="T71" fmla="*/ 1275 h 1276"/>
                  <a:gd name="T72" fmla="*/ 683 w 1274"/>
                  <a:gd name="T73" fmla="*/ 1275 h 1276"/>
                  <a:gd name="T74" fmla="*/ 683 w 1274"/>
                  <a:gd name="T75" fmla="*/ 1139 h 1276"/>
                  <a:gd name="T76" fmla="*/ 845 w 1274"/>
                  <a:gd name="T77" fmla="*/ 1098 h 1276"/>
                  <a:gd name="T78" fmla="*/ 913 w 1274"/>
                  <a:gd name="T79" fmla="*/ 1212 h 1276"/>
                  <a:gd name="T80" fmla="*/ 996 w 1274"/>
                  <a:gd name="T81" fmla="*/ 1165 h 1276"/>
                  <a:gd name="T82" fmla="*/ 929 w 1274"/>
                  <a:gd name="T83" fmla="*/ 1051 h 1276"/>
                  <a:gd name="T84" fmla="*/ 1044 w 1274"/>
                  <a:gd name="T85" fmla="*/ 931 h 1276"/>
                  <a:gd name="T86" fmla="*/ 1163 w 1274"/>
                  <a:gd name="T87" fmla="*/ 998 h 1276"/>
                  <a:gd name="T88" fmla="*/ 1211 w 1274"/>
                  <a:gd name="T89" fmla="*/ 915 h 1276"/>
                  <a:gd name="T90" fmla="*/ 1091 w 1274"/>
                  <a:gd name="T91" fmla="*/ 847 h 1276"/>
                  <a:gd name="T92" fmla="*/ 1137 w 1274"/>
                  <a:gd name="T93" fmla="*/ 685 h 1276"/>
                  <a:gd name="T94" fmla="*/ 1273 w 1274"/>
                  <a:gd name="T95" fmla="*/ 685 h 1276"/>
                  <a:gd name="T96" fmla="*/ 1273 w 1274"/>
                  <a:gd name="T97" fmla="*/ 591 h 1276"/>
                  <a:gd name="T98" fmla="*/ 1137 w 1274"/>
                  <a:gd name="T99" fmla="*/ 591 h 1276"/>
                  <a:gd name="T100" fmla="*/ 637 w 1274"/>
                  <a:gd name="T101" fmla="*/ 1045 h 1276"/>
                  <a:gd name="T102" fmla="*/ 637 w 1274"/>
                  <a:gd name="T103" fmla="*/ 1045 h 1276"/>
                  <a:gd name="T104" fmla="*/ 230 w 1274"/>
                  <a:gd name="T105" fmla="*/ 638 h 1276"/>
                  <a:gd name="T106" fmla="*/ 637 w 1274"/>
                  <a:gd name="T107" fmla="*/ 231 h 1276"/>
                  <a:gd name="T108" fmla="*/ 1044 w 1274"/>
                  <a:gd name="T109" fmla="*/ 638 h 1276"/>
                  <a:gd name="T110" fmla="*/ 637 w 1274"/>
                  <a:gd name="T111" fmla="*/ 1045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4" h="1276">
                    <a:moveTo>
                      <a:pt x="1137" y="591"/>
                    </a:moveTo>
                    <a:lnTo>
                      <a:pt x="1137" y="591"/>
                    </a:lnTo>
                    <a:cubicBezTo>
                      <a:pt x="1132" y="533"/>
                      <a:pt x="1117" y="481"/>
                      <a:pt x="1091" y="429"/>
                    </a:cubicBezTo>
                    <a:cubicBezTo>
                      <a:pt x="1211" y="361"/>
                      <a:pt x="1171" y="384"/>
                      <a:pt x="1211" y="361"/>
                    </a:cubicBezTo>
                    <a:cubicBezTo>
                      <a:pt x="1163" y="278"/>
                      <a:pt x="1179" y="306"/>
                      <a:pt x="1163" y="278"/>
                    </a:cubicBezTo>
                    <a:cubicBezTo>
                      <a:pt x="1044" y="350"/>
                      <a:pt x="1084" y="326"/>
                      <a:pt x="1044" y="350"/>
                    </a:cubicBezTo>
                    <a:cubicBezTo>
                      <a:pt x="1012" y="304"/>
                      <a:pt x="970" y="262"/>
                      <a:pt x="929" y="231"/>
                    </a:cubicBezTo>
                    <a:cubicBezTo>
                      <a:pt x="996" y="110"/>
                      <a:pt x="974" y="150"/>
                      <a:pt x="996" y="110"/>
                    </a:cubicBezTo>
                    <a:cubicBezTo>
                      <a:pt x="913" y="63"/>
                      <a:pt x="941" y="79"/>
                      <a:pt x="913" y="63"/>
                    </a:cubicBezTo>
                    <a:cubicBezTo>
                      <a:pt x="845" y="183"/>
                      <a:pt x="868" y="143"/>
                      <a:pt x="845" y="183"/>
                    </a:cubicBezTo>
                    <a:cubicBezTo>
                      <a:pt x="793" y="162"/>
                      <a:pt x="741" y="147"/>
                      <a:pt x="683" y="142"/>
                    </a:cubicBezTo>
                    <a:cubicBezTo>
                      <a:pt x="683" y="0"/>
                      <a:pt x="683" y="47"/>
                      <a:pt x="683" y="0"/>
                    </a:cubicBezTo>
                    <a:cubicBezTo>
                      <a:pt x="590" y="0"/>
                      <a:pt x="621" y="0"/>
                      <a:pt x="590" y="0"/>
                    </a:cubicBezTo>
                    <a:cubicBezTo>
                      <a:pt x="590" y="142"/>
                      <a:pt x="590" y="95"/>
                      <a:pt x="590" y="142"/>
                    </a:cubicBezTo>
                    <a:cubicBezTo>
                      <a:pt x="533" y="147"/>
                      <a:pt x="480" y="162"/>
                      <a:pt x="428" y="183"/>
                    </a:cubicBezTo>
                    <a:cubicBezTo>
                      <a:pt x="360" y="63"/>
                      <a:pt x="382" y="103"/>
                      <a:pt x="360" y="63"/>
                    </a:cubicBezTo>
                    <a:cubicBezTo>
                      <a:pt x="277" y="110"/>
                      <a:pt x="304" y="94"/>
                      <a:pt x="277" y="110"/>
                    </a:cubicBezTo>
                    <a:cubicBezTo>
                      <a:pt x="345" y="231"/>
                      <a:pt x="322" y="191"/>
                      <a:pt x="345" y="231"/>
                    </a:cubicBezTo>
                    <a:cubicBezTo>
                      <a:pt x="303" y="262"/>
                      <a:pt x="261" y="304"/>
                      <a:pt x="230" y="350"/>
                    </a:cubicBezTo>
                    <a:cubicBezTo>
                      <a:pt x="109" y="283"/>
                      <a:pt x="149" y="305"/>
                      <a:pt x="109" y="283"/>
                    </a:cubicBezTo>
                    <a:cubicBezTo>
                      <a:pt x="63" y="361"/>
                      <a:pt x="78" y="335"/>
                      <a:pt x="63" y="361"/>
                    </a:cubicBezTo>
                    <a:cubicBezTo>
                      <a:pt x="183" y="429"/>
                      <a:pt x="143" y="406"/>
                      <a:pt x="183" y="429"/>
                    </a:cubicBezTo>
                    <a:cubicBezTo>
                      <a:pt x="157" y="481"/>
                      <a:pt x="141" y="533"/>
                      <a:pt x="135" y="591"/>
                    </a:cubicBezTo>
                    <a:cubicBezTo>
                      <a:pt x="0" y="591"/>
                      <a:pt x="45" y="591"/>
                      <a:pt x="0" y="591"/>
                    </a:cubicBezTo>
                    <a:cubicBezTo>
                      <a:pt x="0" y="685"/>
                      <a:pt x="0" y="654"/>
                      <a:pt x="0" y="685"/>
                    </a:cubicBezTo>
                    <a:cubicBezTo>
                      <a:pt x="135" y="685"/>
                      <a:pt x="90" y="685"/>
                      <a:pt x="135" y="685"/>
                    </a:cubicBezTo>
                    <a:cubicBezTo>
                      <a:pt x="141" y="743"/>
                      <a:pt x="157" y="800"/>
                      <a:pt x="183" y="847"/>
                    </a:cubicBezTo>
                    <a:cubicBezTo>
                      <a:pt x="63" y="920"/>
                      <a:pt x="103" y="896"/>
                      <a:pt x="63" y="920"/>
                    </a:cubicBezTo>
                    <a:cubicBezTo>
                      <a:pt x="109" y="998"/>
                      <a:pt x="93" y="972"/>
                      <a:pt x="109" y="998"/>
                    </a:cubicBezTo>
                    <a:cubicBezTo>
                      <a:pt x="230" y="931"/>
                      <a:pt x="189" y="953"/>
                      <a:pt x="230" y="931"/>
                    </a:cubicBezTo>
                    <a:cubicBezTo>
                      <a:pt x="261" y="977"/>
                      <a:pt x="303" y="1014"/>
                      <a:pt x="345" y="1051"/>
                    </a:cubicBezTo>
                    <a:cubicBezTo>
                      <a:pt x="277" y="1165"/>
                      <a:pt x="299" y="1127"/>
                      <a:pt x="277" y="1165"/>
                    </a:cubicBezTo>
                    <a:cubicBezTo>
                      <a:pt x="360" y="1212"/>
                      <a:pt x="332" y="1196"/>
                      <a:pt x="360" y="1212"/>
                    </a:cubicBezTo>
                    <a:cubicBezTo>
                      <a:pt x="428" y="1098"/>
                      <a:pt x="405" y="1136"/>
                      <a:pt x="428" y="1098"/>
                    </a:cubicBezTo>
                    <a:cubicBezTo>
                      <a:pt x="480" y="1119"/>
                      <a:pt x="533" y="1134"/>
                      <a:pt x="590" y="1139"/>
                    </a:cubicBezTo>
                    <a:cubicBezTo>
                      <a:pt x="590" y="1275"/>
                      <a:pt x="590" y="1230"/>
                      <a:pt x="590" y="1275"/>
                    </a:cubicBezTo>
                    <a:cubicBezTo>
                      <a:pt x="683" y="1275"/>
                      <a:pt x="652" y="1275"/>
                      <a:pt x="683" y="1275"/>
                    </a:cubicBezTo>
                    <a:cubicBezTo>
                      <a:pt x="683" y="1139"/>
                      <a:pt x="683" y="1184"/>
                      <a:pt x="683" y="1139"/>
                    </a:cubicBezTo>
                    <a:cubicBezTo>
                      <a:pt x="741" y="1134"/>
                      <a:pt x="793" y="1119"/>
                      <a:pt x="845" y="1098"/>
                    </a:cubicBezTo>
                    <a:cubicBezTo>
                      <a:pt x="913" y="1212"/>
                      <a:pt x="891" y="1174"/>
                      <a:pt x="913" y="1212"/>
                    </a:cubicBezTo>
                    <a:cubicBezTo>
                      <a:pt x="996" y="1165"/>
                      <a:pt x="969" y="1181"/>
                      <a:pt x="996" y="1165"/>
                    </a:cubicBezTo>
                    <a:cubicBezTo>
                      <a:pt x="929" y="1051"/>
                      <a:pt x="952" y="1089"/>
                      <a:pt x="929" y="1051"/>
                    </a:cubicBezTo>
                    <a:cubicBezTo>
                      <a:pt x="970" y="1014"/>
                      <a:pt x="1012" y="977"/>
                      <a:pt x="1044" y="931"/>
                    </a:cubicBezTo>
                    <a:cubicBezTo>
                      <a:pt x="1163" y="998"/>
                      <a:pt x="1124" y="976"/>
                      <a:pt x="1163" y="998"/>
                    </a:cubicBezTo>
                    <a:cubicBezTo>
                      <a:pt x="1211" y="915"/>
                      <a:pt x="1195" y="943"/>
                      <a:pt x="1211" y="915"/>
                    </a:cubicBezTo>
                    <a:cubicBezTo>
                      <a:pt x="1091" y="847"/>
                      <a:pt x="1131" y="870"/>
                      <a:pt x="1091" y="847"/>
                    </a:cubicBezTo>
                    <a:cubicBezTo>
                      <a:pt x="1117" y="800"/>
                      <a:pt x="1132" y="743"/>
                      <a:pt x="1137" y="685"/>
                    </a:cubicBezTo>
                    <a:cubicBezTo>
                      <a:pt x="1273" y="685"/>
                      <a:pt x="1228" y="685"/>
                      <a:pt x="1273" y="685"/>
                    </a:cubicBezTo>
                    <a:cubicBezTo>
                      <a:pt x="1273" y="591"/>
                      <a:pt x="1273" y="622"/>
                      <a:pt x="1273" y="591"/>
                    </a:cubicBezTo>
                    <a:cubicBezTo>
                      <a:pt x="1228" y="591"/>
                      <a:pt x="1183" y="591"/>
                      <a:pt x="1137" y="591"/>
                    </a:cubicBezTo>
                    <a:close/>
                    <a:moveTo>
                      <a:pt x="637" y="1045"/>
                    </a:moveTo>
                    <a:lnTo>
                      <a:pt x="637" y="1045"/>
                    </a:lnTo>
                    <a:cubicBezTo>
                      <a:pt x="412" y="1045"/>
                      <a:pt x="230" y="862"/>
                      <a:pt x="230" y="638"/>
                    </a:cubicBezTo>
                    <a:cubicBezTo>
                      <a:pt x="230" y="413"/>
                      <a:pt x="412" y="231"/>
                      <a:pt x="637" y="231"/>
                    </a:cubicBezTo>
                    <a:cubicBezTo>
                      <a:pt x="861" y="231"/>
                      <a:pt x="1044" y="413"/>
                      <a:pt x="1044" y="638"/>
                    </a:cubicBezTo>
                    <a:cubicBezTo>
                      <a:pt x="1044" y="862"/>
                      <a:pt x="861" y="1045"/>
                      <a:pt x="637" y="1045"/>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2" name="Freeform 34">
                <a:extLst>
                  <a:ext uri="{FF2B5EF4-FFF2-40B4-BE49-F238E27FC236}">
                    <a16:creationId xmlns:a16="http://schemas.microsoft.com/office/drawing/2014/main" id="{113BBC05-168A-3332-1F26-92A0A94CF37A}"/>
                  </a:ext>
                </a:extLst>
              </p:cNvPr>
              <p:cNvSpPr>
                <a:spLocks noChangeArrowheads="1"/>
              </p:cNvSpPr>
              <p:nvPr/>
            </p:nvSpPr>
            <p:spPr bwMode="auto">
              <a:xfrm>
                <a:off x="3455988" y="123825"/>
                <a:ext cx="685800" cy="769937"/>
              </a:xfrm>
              <a:custGeom>
                <a:avLst/>
                <a:gdLst>
                  <a:gd name="T0" fmla="*/ 956 w 1912"/>
                  <a:gd name="T1" fmla="*/ 0 h 2148"/>
                  <a:gd name="T2" fmla="*/ 956 w 1912"/>
                  <a:gd name="T3" fmla="*/ 0 h 2148"/>
                  <a:gd name="T4" fmla="*/ 0 w 1912"/>
                  <a:gd name="T5" fmla="*/ 951 h 2148"/>
                  <a:gd name="T6" fmla="*/ 454 w 1912"/>
                  <a:gd name="T7" fmla="*/ 1766 h 2148"/>
                  <a:gd name="T8" fmla="*/ 454 w 1912"/>
                  <a:gd name="T9" fmla="*/ 2147 h 2148"/>
                  <a:gd name="T10" fmla="*/ 1456 w 1912"/>
                  <a:gd name="T11" fmla="*/ 2147 h 2148"/>
                  <a:gd name="T12" fmla="*/ 1456 w 1912"/>
                  <a:gd name="T13" fmla="*/ 1766 h 2148"/>
                  <a:gd name="T14" fmla="*/ 1911 w 1912"/>
                  <a:gd name="T15" fmla="*/ 951 h 2148"/>
                  <a:gd name="T16" fmla="*/ 956 w 1912"/>
                  <a:gd name="T17" fmla="*/ 0 h 2148"/>
                  <a:gd name="T18" fmla="*/ 1384 w 1912"/>
                  <a:gd name="T19" fmla="*/ 1698 h 2148"/>
                  <a:gd name="T20" fmla="*/ 1384 w 1912"/>
                  <a:gd name="T21" fmla="*/ 1698 h 2148"/>
                  <a:gd name="T22" fmla="*/ 1363 w 1912"/>
                  <a:gd name="T23" fmla="*/ 1709 h 2148"/>
                  <a:gd name="T24" fmla="*/ 1363 w 1912"/>
                  <a:gd name="T25" fmla="*/ 2053 h 2148"/>
                  <a:gd name="T26" fmla="*/ 549 w 1912"/>
                  <a:gd name="T27" fmla="*/ 2053 h 2148"/>
                  <a:gd name="T28" fmla="*/ 549 w 1912"/>
                  <a:gd name="T29" fmla="*/ 1709 h 2148"/>
                  <a:gd name="T30" fmla="*/ 528 w 1912"/>
                  <a:gd name="T31" fmla="*/ 1698 h 2148"/>
                  <a:gd name="T32" fmla="*/ 94 w 1912"/>
                  <a:gd name="T33" fmla="*/ 951 h 2148"/>
                  <a:gd name="T34" fmla="*/ 956 w 1912"/>
                  <a:gd name="T35" fmla="*/ 94 h 2148"/>
                  <a:gd name="T36" fmla="*/ 1817 w 1912"/>
                  <a:gd name="T37" fmla="*/ 951 h 2148"/>
                  <a:gd name="T38" fmla="*/ 1384 w 1912"/>
                  <a:gd name="T39" fmla="*/ 1698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2" h="2148">
                    <a:moveTo>
                      <a:pt x="956" y="0"/>
                    </a:moveTo>
                    <a:lnTo>
                      <a:pt x="956" y="0"/>
                    </a:lnTo>
                    <a:cubicBezTo>
                      <a:pt x="428" y="0"/>
                      <a:pt x="0" y="429"/>
                      <a:pt x="0" y="951"/>
                    </a:cubicBezTo>
                    <a:cubicBezTo>
                      <a:pt x="0" y="1280"/>
                      <a:pt x="178" y="1594"/>
                      <a:pt x="454" y="1766"/>
                    </a:cubicBezTo>
                    <a:cubicBezTo>
                      <a:pt x="454" y="2147"/>
                      <a:pt x="454" y="2020"/>
                      <a:pt x="454" y="2147"/>
                    </a:cubicBezTo>
                    <a:cubicBezTo>
                      <a:pt x="1456" y="2147"/>
                      <a:pt x="1122" y="2147"/>
                      <a:pt x="1456" y="2147"/>
                    </a:cubicBezTo>
                    <a:cubicBezTo>
                      <a:pt x="1456" y="1766"/>
                      <a:pt x="1456" y="1893"/>
                      <a:pt x="1456" y="1766"/>
                    </a:cubicBezTo>
                    <a:cubicBezTo>
                      <a:pt x="1739" y="1594"/>
                      <a:pt x="1911" y="1280"/>
                      <a:pt x="1911" y="951"/>
                    </a:cubicBezTo>
                    <a:cubicBezTo>
                      <a:pt x="1911" y="429"/>
                      <a:pt x="1482" y="0"/>
                      <a:pt x="956" y="0"/>
                    </a:cubicBezTo>
                    <a:close/>
                    <a:moveTo>
                      <a:pt x="1384" y="1698"/>
                    </a:moveTo>
                    <a:lnTo>
                      <a:pt x="1384" y="1698"/>
                    </a:lnTo>
                    <a:cubicBezTo>
                      <a:pt x="1363" y="1709"/>
                      <a:pt x="1370" y="1705"/>
                      <a:pt x="1363" y="1709"/>
                    </a:cubicBezTo>
                    <a:cubicBezTo>
                      <a:pt x="1363" y="2053"/>
                      <a:pt x="1363" y="1938"/>
                      <a:pt x="1363" y="2053"/>
                    </a:cubicBezTo>
                    <a:cubicBezTo>
                      <a:pt x="549" y="2053"/>
                      <a:pt x="820" y="2053"/>
                      <a:pt x="549" y="2053"/>
                    </a:cubicBezTo>
                    <a:cubicBezTo>
                      <a:pt x="549" y="1709"/>
                      <a:pt x="549" y="1824"/>
                      <a:pt x="549" y="1709"/>
                    </a:cubicBezTo>
                    <a:cubicBezTo>
                      <a:pt x="528" y="1698"/>
                      <a:pt x="535" y="1702"/>
                      <a:pt x="528" y="1698"/>
                    </a:cubicBezTo>
                    <a:cubicBezTo>
                      <a:pt x="261" y="1541"/>
                      <a:pt x="94" y="1259"/>
                      <a:pt x="94" y="951"/>
                    </a:cubicBezTo>
                    <a:cubicBezTo>
                      <a:pt x="94" y="481"/>
                      <a:pt x="481" y="94"/>
                      <a:pt x="956" y="94"/>
                    </a:cubicBezTo>
                    <a:cubicBezTo>
                      <a:pt x="1430" y="94"/>
                      <a:pt x="1817" y="481"/>
                      <a:pt x="1817" y="951"/>
                    </a:cubicBezTo>
                    <a:cubicBezTo>
                      <a:pt x="1817" y="1259"/>
                      <a:pt x="1650" y="1541"/>
                      <a:pt x="1384" y="1698"/>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3" name="Freeform 35">
                <a:extLst>
                  <a:ext uri="{FF2B5EF4-FFF2-40B4-BE49-F238E27FC236}">
                    <a16:creationId xmlns:a16="http://schemas.microsoft.com/office/drawing/2014/main" id="{AFF887AD-1B58-5CD4-2B13-7A4B080C1457}"/>
                  </a:ext>
                </a:extLst>
              </p:cNvPr>
              <p:cNvSpPr>
                <a:spLocks noChangeArrowheads="1"/>
              </p:cNvSpPr>
              <p:nvPr/>
            </p:nvSpPr>
            <p:spPr bwMode="auto">
              <a:xfrm>
                <a:off x="3619500" y="928688"/>
                <a:ext cx="357188" cy="31750"/>
              </a:xfrm>
              <a:custGeom>
                <a:avLst/>
                <a:gdLst>
                  <a:gd name="T0" fmla="*/ 0 w 1003"/>
                  <a:gd name="T1" fmla="*/ 94 h 95"/>
                  <a:gd name="T2" fmla="*/ 1002 w 1003"/>
                  <a:gd name="T3" fmla="*/ 94 h 95"/>
                  <a:gd name="T4" fmla="*/ 1002 w 1003"/>
                  <a:gd name="T5" fmla="*/ 0 h 95"/>
                  <a:gd name="T6" fmla="*/ 0 w 1003"/>
                  <a:gd name="T7" fmla="*/ 0 h 95"/>
                  <a:gd name="T8" fmla="*/ 0 w 1003"/>
                  <a:gd name="T9" fmla="*/ 94 h 95"/>
                </a:gdLst>
                <a:ahLst/>
                <a:cxnLst>
                  <a:cxn ang="0">
                    <a:pos x="T0" y="T1"/>
                  </a:cxn>
                  <a:cxn ang="0">
                    <a:pos x="T2" y="T3"/>
                  </a:cxn>
                  <a:cxn ang="0">
                    <a:pos x="T4" y="T5"/>
                  </a:cxn>
                  <a:cxn ang="0">
                    <a:pos x="T6" y="T7"/>
                  </a:cxn>
                  <a:cxn ang="0">
                    <a:pos x="T8" y="T9"/>
                  </a:cxn>
                </a:cxnLst>
                <a:rect l="0" t="0" r="r" b="b"/>
                <a:pathLst>
                  <a:path w="1003" h="95">
                    <a:moveTo>
                      <a:pt x="0" y="94"/>
                    </a:moveTo>
                    <a:cubicBezTo>
                      <a:pt x="334" y="94"/>
                      <a:pt x="668" y="94"/>
                      <a:pt x="1002" y="94"/>
                    </a:cubicBezTo>
                    <a:cubicBezTo>
                      <a:pt x="1002" y="63"/>
                      <a:pt x="1002" y="31"/>
                      <a:pt x="1002" y="0"/>
                    </a:cubicBezTo>
                    <a:cubicBezTo>
                      <a:pt x="668" y="0"/>
                      <a:pt x="334" y="0"/>
                      <a:pt x="0" y="0"/>
                    </a:cubicBezTo>
                    <a:cubicBezTo>
                      <a:pt x="0" y="31"/>
                      <a:pt x="0" y="63"/>
                      <a:pt x="0"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4" name="Freeform 36">
                <a:extLst>
                  <a:ext uri="{FF2B5EF4-FFF2-40B4-BE49-F238E27FC236}">
                    <a16:creationId xmlns:a16="http://schemas.microsoft.com/office/drawing/2014/main" id="{7C502739-CF4D-9DE1-3889-E7228F057DBA}"/>
                  </a:ext>
                </a:extLst>
              </p:cNvPr>
              <p:cNvSpPr>
                <a:spLocks noChangeArrowheads="1"/>
              </p:cNvSpPr>
              <p:nvPr/>
            </p:nvSpPr>
            <p:spPr bwMode="auto">
              <a:xfrm>
                <a:off x="3619500" y="993775"/>
                <a:ext cx="357188" cy="31750"/>
              </a:xfrm>
              <a:custGeom>
                <a:avLst/>
                <a:gdLst>
                  <a:gd name="T0" fmla="*/ 0 w 1003"/>
                  <a:gd name="T1" fmla="*/ 94 h 95"/>
                  <a:gd name="T2" fmla="*/ 1002 w 1003"/>
                  <a:gd name="T3" fmla="*/ 94 h 95"/>
                  <a:gd name="T4" fmla="*/ 1002 w 1003"/>
                  <a:gd name="T5" fmla="*/ 0 h 95"/>
                  <a:gd name="T6" fmla="*/ 0 w 1003"/>
                  <a:gd name="T7" fmla="*/ 0 h 95"/>
                  <a:gd name="T8" fmla="*/ 0 w 1003"/>
                  <a:gd name="T9" fmla="*/ 94 h 95"/>
                </a:gdLst>
                <a:ahLst/>
                <a:cxnLst>
                  <a:cxn ang="0">
                    <a:pos x="T0" y="T1"/>
                  </a:cxn>
                  <a:cxn ang="0">
                    <a:pos x="T2" y="T3"/>
                  </a:cxn>
                  <a:cxn ang="0">
                    <a:pos x="T4" y="T5"/>
                  </a:cxn>
                  <a:cxn ang="0">
                    <a:pos x="T6" y="T7"/>
                  </a:cxn>
                  <a:cxn ang="0">
                    <a:pos x="T8" y="T9"/>
                  </a:cxn>
                </a:cxnLst>
                <a:rect l="0" t="0" r="r" b="b"/>
                <a:pathLst>
                  <a:path w="1003" h="95">
                    <a:moveTo>
                      <a:pt x="0" y="94"/>
                    </a:moveTo>
                    <a:cubicBezTo>
                      <a:pt x="334" y="94"/>
                      <a:pt x="668" y="94"/>
                      <a:pt x="1002" y="94"/>
                    </a:cubicBezTo>
                    <a:cubicBezTo>
                      <a:pt x="1002" y="63"/>
                      <a:pt x="1002" y="31"/>
                      <a:pt x="1002" y="0"/>
                    </a:cubicBezTo>
                    <a:cubicBezTo>
                      <a:pt x="668" y="0"/>
                      <a:pt x="334" y="0"/>
                      <a:pt x="0" y="0"/>
                    </a:cubicBezTo>
                    <a:cubicBezTo>
                      <a:pt x="0" y="31"/>
                      <a:pt x="0" y="63"/>
                      <a:pt x="0"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5" name="Freeform 37">
                <a:extLst>
                  <a:ext uri="{FF2B5EF4-FFF2-40B4-BE49-F238E27FC236}">
                    <a16:creationId xmlns:a16="http://schemas.microsoft.com/office/drawing/2014/main" id="{67D7E7C5-F9B5-C3E1-06E9-943FF70A411B}"/>
                  </a:ext>
                </a:extLst>
              </p:cNvPr>
              <p:cNvSpPr>
                <a:spLocks noChangeArrowheads="1"/>
              </p:cNvSpPr>
              <p:nvPr/>
            </p:nvSpPr>
            <p:spPr bwMode="auto">
              <a:xfrm>
                <a:off x="3729038" y="1058863"/>
                <a:ext cx="141288" cy="30162"/>
              </a:xfrm>
              <a:custGeom>
                <a:avLst/>
                <a:gdLst>
                  <a:gd name="T0" fmla="*/ 0 w 402"/>
                  <a:gd name="T1" fmla="*/ 93 h 94"/>
                  <a:gd name="T2" fmla="*/ 401 w 402"/>
                  <a:gd name="T3" fmla="*/ 93 h 94"/>
                  <a:gd name="T4" fmla="*/ 401 w 402"/>
                  <a:gd name="T5" fmla="*/ 0 h 94"/>
                  <a:gd name="T6" fmla="*/ 0 w 402"/>
                  <a:gd name="T7" fmla="*/ 0 h 94"/>
                  <a:gd name="T8" fmla="*/ 0 w 402"/>
                  <a:gd name="T9" fmla="*/ 93 h 94"/>
                </a:gdLst>
                <a:ahLst/>
                <a:cxnLst>
                  <a:cxn ang="0">
                    <a:pos x="T0" y="T1"/>
                  </a:cxn>
                  <a:cxn ang="0">
                    <a:pos x="T2" y="T3"/>
                  </a:cxn>
                  <a:cxn ang="0">
                    <a:pos x="T4" y="T5"/>
                  </a:cxn>
                  <a:cxn ang="0">
                    <a:pos x="T6" y="T7"/>
                  </a:cxn>
                  <a:cxn ang="0">
                    <a:pos x="T8" y="T9"/>
                  </a:cxn>
                </a:cxnLst>
                <a:rect l="0" t="0" r="r" b="b"/>
                <a:pathLst>
                  <a:path w="402" h="94">
                    <a:moveTo>
                      <a:pt x="0" y="93"/>
                    </a:moveTo>
                    <a:cubicBezTo>
                      <a:pt x="134" y="93"/>
                      <a:pt x="267" y="93"/>
                      <a:pt x="401" y="93"/>
                    </a:cubicBezTo>
                    <a:cubicBezTo>
                      <a:pt x="401" y="62"/>
                      <a:pt x="401" y="31"/>
                      <a:pt x="401" y="0"/>
                    </a:cubicBezTo>
                    <a:cubicBezTo>
                      <a:pt x="267" y="0"/>
                      <a:pt x="134" y="0"/>
                      <a:pt x="0" y="0"/>
                    </a:cubicBezTo>
                    <a:cubicBezTo>
                      <a:pt x="0" y="31"/>
                      <a:pt x="0" y="62"/>
                      <a:pt x="0" y="9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6" name="Freeform 38">
                <a:extLst>
                  <a:ext uri="{FF2B5EF4-FFF2-40B4-BE49-F238E27FC236}">
                    <a16:creationId xmlns:a16="http://schemas.microsoft.com/office/drawing/2014/main" id="{03A791F9-BEB5-B2C0-9B68-BB045E9C2C4C}"/>
                  </a:ext>
                </a:extLst>
              </p:cNvPr>
              <p:cNvSpPr>
                <a:spLocks noChangeArrowheads="1"/>
              </p:cNvSpPr>
              <p:nvPr/>
            </p:nvSpPr>
            <p:spPr bwMode="auto">
              <a:xfrm>
                <a:off x="3784600" y="22225"/>
                <a:ext cx="30163" cy="57150"/>
              </a:xfrm>
              <a:custGeom>
                <a:avLst/>
                <a:gdLst>
                  <a:gd name="T0" fmla="*/ 93 w 94"/>
                  <a:gd name="T1" fmla="*/ 0 h 168"/>
                  <a:gd name="T2" fmla="*/ 0 w 94"/>
                  <a:gd name="T3" fmla="*/ 0 h 168"/>
                  <a:gd name="T4" fmla="*/ 0 w 94"/>
                  <a:gd name="T5" fmla="*/ 167 h 168"/>
                  <a:gd name="T6" fmla="*/ 93 w 94"/>
                  <a:gd name="T7" fmla="*/ 167 h 168"/>
                  <a:gd name="T8" fmla="*/ 93 w 94"/>
                  <a:gd name="T9" fmla="*/ 0 h 168"/>
                </a:gdLst>
                <a:ahLst/>
                <a:cxnLst>
                  <a:cxn ang="0">
                    <a:pos x="T0" y="T1"/>
                  </a:cxn>
                  <a:cxn ang="0">
                    <a:pos x="T2" y="T3"/>
                  </a:cxn>
                  <a:cxn ang="0">
                    <a:pos x="T4" y="T5"/>
                  </a:cxn>
                  <a:cxn ang="0">
                    <a:pos x="T6" y="T7"/>
                  </a:cxn>
                  <a:cxn ang="0">
                    <a:pos x="T8" y="T9"/>
                  </a:cxn>
                </a:cxnLst>
                <a:rect l="0" t="0" r="r" b="b"/>
                <a:pathLst>
                  <a:path w="94" h="168">
                    <a:moveTo>
                      <a:pt x="93" y="0"/>
                    </a:moveTo>
                    <a:cubicBezTo>
                      <a:pt x="62" y="0"/>
                      <a:pt x="31" y="0"/>
                      <a:pt x="0" y="0"/>
                    </a:cubicBezTo>
                    <a:cubicBezTo>
                      <a:pt x="0" y="56"/>
                      <a:pt x="0" y="111"/>
                      <a:pt x="0" y="167"/>
                    </a:cubicBezTo>
                    <a:cubicBezTo>
                      <a:pt x="31" y="167"/>
                      <a:pt x="62" y="167"/>
                      <a:pt x="93" y="167"/>
                    </a:cubicBezTo>
                    <a:cubicBezTo>
                      <a:pt x="93" y="111"/>
                      <a:pt x="93" y="56"/>
                      <a:pt x="93"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7" name="Freeform 39">
                <a:extLst>
                  <a:ext uri="{FF2B5EF4-FFF2-40B4-BE49-F238E27FC236}">
                    <a16:creationId xmlns:a16="http://schemas.microsoft.com/office/drawing/2014/main" id="{E8D3E0CC-6657-C5F0-7134-5CF1B89CDCA5}"/>
                  </a:ext>
                </a:extLst>
              </p:cNvPr>
              <p:cNvSpPr>
                <a:spLocks noChangeArrowheads="1"/>
              </p:cNvSpPr>
              <p:nvPr/>
            </p:nvSpPr>
            <p:spPr bwMode="auto">
              <a:xfrm>
                <a:off x="3903663" y="38100"/>
                <a:ext cx="46038" cy="63500"/>
              </a:xfrm>
              <a:custGeom>
                <a:avLst/>
                <a:gdLst>
                  <a:gd name="T0" fmla="*/ 136 w 137"/>
                  <a:gd name="T1" fmla="*/ 31 h 184"/>
                  <a:gd name="T2" fmla="*/ 47 w 137"/>
                  <a:gd name="T3" fmla="*/ 0 h 184"/>
                  <a:gd name="T4" fmla="*/ 0 w 137"/>
                  <a:gd name="T5" fmla="*/ 157 h 184"/>
                  <a:gd name="T6" fmla="*/ 89 w 137"/>
                  <a:gd name="T7" fmla="*/ 183 h 184"/>
                  <a:gd name="T8" fmla="*/ 136 w 137"/>
                  <a:gd name="T9" fmla="*/ 31 h 184"/>
                </a:gdLst>
                <a:ahLst/>
                <a:cxnLst>
                  <a:cxn ang="0">
                    <a:pos x="T0" y="T1"/>
                  </a:cxn>
                  <a:cxn ang="0">
                    <a:pos x="T2" y="T3"/>
                  </a:cxn>
                  <a:cxn ang="0">
                    <a:pos x="T4" y="T5"/>
                  </a:cxn>
                  <a:cxn ang="0">
                    <a:pos x="T6" y="T7"/>
                  </a:cxn>
                  <a:cxn ang="0">
                    <a:pos x="T8" y="T9"/>
                  </a:cxn>
                </a:cxnLst>
                <a:rect l="0" t="0" r="r" b="b"/>
                <a:pathLst>
                  <a:path w="137" h="184">
                    <a:moveTo>
                      <a:pt x="136" y="31"/>
                    </a:moveTo>
                    <a:cubicBezTo>
                      <a:pt x="107" y="21"/>
                      <a:pt x="77" y="10"/>
                      <a:pt x="47" y="0"/>
                    </a:cubicBezTo>
                    <a:cubicBezTo>
                      <a:pt x="32" y="52"/>
                      <a:pt x="16" y="105"/>
                      <a:pt x="0" y="157"/>
                    </a:cubicBezTo>
                    <a:cubicBezTo>
                      <a:pt x="30" y="166"/>
                      <a:pt x="60" y="174"/>
                      <a:pt x="89" y="183"/>
                    </a:cubicBezTo>
                    <a:cubicBezTo>
                      <a:pt x="105" y="132"/>
                      <a:pt x="121" y="82"/>
                      <a:pt x="136" y="3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8" name="Freeform 40">
                <a:extLst>
                  <a:ext uri="{FF2B5EF4-FFF2-40B4-BE49-F238E27FC236}">
                    <a16:creationId xmlns:a16="http://schemas.microsoft.com/office/drawing/2014/main" id="{DDB1F785-7C4D-785D-F459-601C25929557}"/>
                  </a:ext>
                </a:extLst>
              </p:cNvPr>
              <p:cNvSpPr>
                <a:spLocks noChangeArrowheads="1"/>
              </p:cNvSpPr>
              <p:nvPr/>
            </p:nvSpPr>
            <p:spPr bwMode="auto">
              <a:xfrm>
                <a:off x="4013200" y="96838"/>
                <a:ext cx="58738" cy="65087"/>
              </a:xfrm>
              <a:custGeom>
                <a:avLst/>
                <a:gdLst>
                  <a:gd name="T0" fmla="*/ 173 w 174"/>
                  <a:gd name="T1" fmla="*/ 57 h 189"/>
                  <a:gd name="T2" fmla="*/ 94 w 174"/>
                  <a:gd name="T3" fmla="*/ 0 h 189"/>
                  <a:gd name="T4" fmla="*/ 0 w 174"/>
                  <a:gd name="T5" fmla="*/ 131 h 189"/>
                  <a:gd name="T6" fmla="*/ 79 w 174"/>
                  <a:gd name="T7" fmla="*/ 188 h 189"/>
                  <a:gd name="T8" fmla="*/ 173 w 174"/>
                  <a:gd name="T9" fmla="*/ 57 h 189"/>
                </a:gdLst>
                <a:ahLst/>
                <a:cxnLst>
                  <a:cxn ang="0">
                    <a:pos x="T0" y="T1"/>
                  </a:cxn>
                  <a:cxn ang="0">
                    <a:pos x="T2" y="T3"/>
                  </a:cxn>
                  <a:cxn ang="0">
                    <a:pos x="T4" y="T5"/>
                  </a:cxn>
                  <a:cxn ang="0">
                    <a:pos x="T6" y="T7"/>
                  </a:cxn>
                  <a:cxn ang="0">
                    <a:pos x="T8" y="T9"/>
                  </a:cxn>
                </a:cxnLst>
                <a:rect l="0" t="0" r="r" b="b"/>
                <a:pathLst>
                  <a:path w="174" h="189">
                    <a:moveTo>
                      <a:pt x="173" y="57"/>
                    </a:moveTo>
                    <a:cubicBezTo>
                      <a:pt x="147" y="38"/>
                      <a:pt x="121" y="19"/>
                      <a:pt x="94" y="0"/>
                    </a:cubicBezTo>
                    <a:cubicBezTo>
                      <a:pt x="63" y="44"/>
                      <a:pt x="32" y="87"/>
                      <a:pt x="0" y="131"/>
                    </a:cubicBezTo>
                    <a:cubicBezTo>
                      <a:pt x="27" y="150"/>
                      <a:pt x="53" y="169"/>
                      <a:pt x="79" y="188"/>
                    </a:cubicBezTo>
                    <a:cubicBezTo>
                      <a:pt x="111" y="144"/>
                      <a:pt x="142" y="101"/>
                      <a:pt x="173" y="5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29" name="Freeform 41">
                <a:extLst>
                  <a:ext uri="{FF2B5EF4-FFF2-40B4-BE49-F238E27FC236}">
                    <a16:creationId xmlns:a16="http://schemas.microsoft.com/office/drawing/2014/main" id="{8BC9A929-3CDA-41EC-D820-918597E7258C}"/>
                  </a:ext>
                </a:extLst>
              </p:cNvPr>
              <p:cNvSpPr>
                <a:spLocks noChangeArrowheads="1"/>
              </p:cNvSpPr>
              <p:nvPr/>
            </p:nvSpPr>
            <p:spPr bwMode="auto">
              <a:xfrm>
                <a:off x="4102100" y="190500"/>
                <a:ext cx="65088" cy="58737"/>
              </a:xfrm>
              <a:custGeom>
                <a:avLst/>
                <a:gdLst>
                  <a:gd name="T0" fmla="*/ 188 w 189"/>
                  <a:gd name="T1" fmla="*/ 79 h 174"/>
                  <a:gd name="T2" fmla="*/ 136 w 189"/>
                  <a:gd name="T3" fmla="*/ 0 h 174"/>
                  <a:gd name="T4" fmla="*/ 0 w 189"/>
                  <a:gd name="T5" fmla="*/ 99 h 174"/>
                  <a:gd name="T6" fmla="*/ 58 w 189"/>
                  <a:gd name="T7" fmla="*/ 173 h 174"/>
                  <a:gd name="T8" fmla="*/ 188 w 189"/>
                  <a:gd name="T9" fmla="*/ 79 h 174"/>
                </a:gdLst>
                <a:ahLst/>
                <a:cxnLst>
                  <a:cxn ang="0">
                    <a:pos x="T0" y="T1"/>
                  </a:cxn>
                  <a:cxn ang="0">
                    <a:pos x="T2" y="T3"/>
                  </a:cxn>
                  <a:cxn ang="0">
                    <a:pos x="T4" y="T5"/>
                  </a:cxn>
                  <a:cxn ang="0">
                    <a:pos x="T6" y="T7"/>
                  </a:cxn>
                  <a:cxn ang="0">
                    <a:pos x="T8" y="T9"/>
                  </a:cxn>
                </a:cxnLst>
                <a:rect l="0" t="0" r="r" b="b"/>
                <a:pathLst>
                  <a:path w="189" h="174">
                    <a:moveTo>
                      <a:pt x="188" y="79"/>
                    </a:moveTo>
                    <a:cubicBezTo>
                      <a:pt x="171" y="53"/>
                      <a:pt x="154" y="26"/>
                      <a:pt x="136" y="0"/>
                    </a:cubicBezTo>
                    <a:cubicBezTo>
                      <a:pt x="91" y="33"/>
                      <a:pt x="46" y="66"/>
                      <a:pt x="0" y="99"/>
                    </a:cubicBezTo>
                    <a:cubicBezTo>
                      <a:pt x="20" y="124"/>
                      <a:pt x="39" y="148"/>
                      <a:pt x="58" y="173"/>
                    </a:cubicBezTo>
                    <a:cubicBezTo>
                      <a:pt x="102" y="142"/>
                      <a:pt x="145" y="110"/>
                      <a:pt x="188" y="7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0" name="Freeform 42">
                <a:extLst>
                  <a:ext uri="{FF2B5EF4-FFF2-40B4-BE49-F238E27FC236}">
                    <a16:creationId xmlns:a16="http://schemas.microsoft.com/office/drawing/2014/main" id="{68B4F468-4E33-0348-D8B5-27C081A57E5F}"/>
                  </a:ext>
                </a:extLst>
              </p:cNvPr>
              <p:cNvSpPr>
                <a:spLocks noChangeArrowheads="1"/>
              </p:cNvSpPr>
              <p:nvPr/>
            </p:nvSpPr>
            <p:spPr bwMode="auto">
              <a:xfrm>
                <a:off x="4160838" y="312738"/>
                <a:ext cx="63500" cy="47625"/>
              </a:xfrm>
              <a:custGeom>
                <a:avLst/>
                <a:gdLst>
                  <a:gd name="T0" fmla="*/ 31 w 184"/>
                  <a:gd name="T1" fmla="*/ 141 h 142"/>
                  <a:gd name="T2" fmla="*/ 183 w 184"/>
                  <a:gd name="T3" fmla="*/ 89 h 142"/>
                  <a:gd name="T4" fmla="*/ 157 w 184"/>
                  <a:gd name="T5" fmla="*/ 0 h 142"/>
                  <a:gd name="T6" fmla="*/ 0 w 184"/>
                  <a:gd name="T7" fmla="*/ 47 h 142"/>
                  <a:gd name="T8" fmla="*/ 31 w 184"/>
                  <a:gd name="T9" fmla="*/ 141 h 142"/>
                </a:gdLst>
                <a:ahLst/>
                <a:cxnLst>
                  <a:cxn ang="0">
                    <a:pos x="T0" y="T1"/>
                  </a:cxn>
                  <a:cxn ang="0">
                    <a:pos x="T2" y="T3"/>
                  </a:cxn>
                  <a:cxn ang="0">
                    <a:pos x="T4" y="T5"/>
                  </a:cxn>
                  <a:cxn ang="0">
                    <a:pos x="T6" y="T7"/>
                  </a:cxn>
                  <a:cxn ang="0">
                    <a:pos x="T8" y="T9"/>
                  </a:cxn>
                </a:cxnLst>
                <a:rect l="0" t="0" r="r" b="b"/>
                <a:pathLst>
                  <a:path w="184" h="142">
                    <a:moveTo>
                      <a:pt x="31" y="141"/>
                    </a:moveTo>
                    <a:cubicBezTo>
                      <a:pt x="82" y="124"/>
                      <a:pt x="133" y="106"/>
                      <a:pt x="183" y="89"/>
                    </a:cubicBezTo>
                    <a:cubicBezTo>
                      <a:pt x="175" y="59"/>
                      <a:pt x="166" y="30"/>
                      <a:pt x="157" y="0"/>
                    </a:cubicBezTo>
                    <a:cubicBezTo>
                      <a:pt x="105" y="16"/>
                      <a:pt x="53" y="31"/>
                      <a:pt x="0" y="47"/>
                    </a:cubicBezTo>
                    <a:cubicBezTo>
                      <a:pt x="11" y="78"/>
                      <a:pt x="21" y="110"/>
                      <a:pt x="31" y="14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1" name="Freeform 43">
                <a:extLst>
                  <a:ext uri="{FF2B5EF4-FFF2-40B4-BE49-F238E27FC236}">
                    <a16:creationId xmlns:a16="http://schemas.microsoft.com/office/drawing/2014/main" id="{D59CE69A-4C45-597B-BA13-B4C83C78ADE5}"/>
                  </a:ext>
                </a:extLst>
              </p:cNvPr>
              <p:cNvSpPr>
                <a:spLocks noChangeArrowheads="1"/>
              </p:cNvSpPr>
              <p:nvPr/>
            </p:nvSpPr>
            <p:spPr bwMode="auto">
              <a:xfrm>
                <a:off x="4186238" y="449263"/>
                <a:ext cx="55563" cy="31750"/>
              </a:xfrm>
              <a:custGeom>
                <a:avLst/>
                <a:gdLst>
                  <a:gd name="T0" fmla="*/ 0 w 163"/>
                  <a:gd name="T1" fmla="*/ 0 h 95"/>
                  <a:gd name="T2" fmla="*/ 0 w 163"/>
                  <a:gd name="T3" fmla="*/ 94 h 95"/>
                  <a:gd name="T4" fmla="*/ 162 w 163"/>
                  <a:gd name="T5" fmla="*/ 94 h 95"/>
                  <a:gd name="T6" fmla="*/ 162 w 163"/>
                  <a:gd name="T7" fmla="*/ 0 h 95"/>
                  <a:gd name="T8" fmla="*/ 0 w 163"/>
                  <a:gd name="T9" fmla="*/ 0 h 95"/>
                </a:gdLst>
                <a:ahLst/>
                <a:cxnLst>
                  <a:cxn ang="0">
                    <a:pos x="T0" y="T1"/>
                  </a:cxn>
                  <a:cxn ang="0">
                    <a:pos x="T2" y="T3"/>
                  </a:cxn>
                  <a:cxn ang="0">
                    <a:pos x="T4" y="T5"/>
                  </a:cxn>
                  <a:cxn ang="0">
                    <a:pos x="T6" y="T7"/>
                  </a:cxn>
                  <a:cxn ang="0">
                    <a:pos x="T8" y="T9"/>
                  </a:cxn>
                </a:cxnLst>
                <a:rect l="0" t="0" r="r" b="b"/>
                <a:pathLst>
                  <a:path w="163" h="95">
                    <a:moveTo>
                      <a:pt x="0" y="0"/>
                    </a:moveTo>
                    <a:cubicBezTo>
                      <a:pt x="0" y="31"/>
                      <a:pt x="0" y="63"/>
                      <a:pt x="0" y="94"/>
                    </a:cubicBezTo>
                    <a:cubicBezTo>
                      <a:pt x="54" y="94"/>
                      <a:pt x="108" y="94"/>
                      <a:pt x="162" y="94"/>
                    </a:cubicBezTo>
                    <a:cubicBezTo>
                      <a:pt x="162" y="63"/>
                      <a:pt x="162" y="31"/>
                      <a:pt x="162" y="0"/>
                    </a:cubicBezTo>
                    <a:cubicBezTo>
                      <a:pt x="108" y="0"/>
                      <a:pt x="54" y="0"/>
                      <a:pt x="0"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2" name="Freeform 44">
                <a:extLst>
                  <a:ext uri="{FF2B5EF4-FFF2-40B4-BE49-F238E27FC236}">
                    <a16:creationId xmlns:a16="http://schemas.microsoft.com/office/drawing/2014/main" id="{2099782F-289F-BA56-6FCD-B2BC43557ADB}"/>
                  </a:ext>
                </a:extLst>
              </p:cNvPr>
              <p:cNvSpPr>
                <a:spLocks noChangeArrowheads="1"/>
              </p:cNvSpPr>
              <p:nvPr/>
            </p:nvSpPr>
            <p:spPr bwMode="auto">
              <a:xfrm>
                <a:off x="4160838" y="568325"/>
                <a:ext cx="63500" cy="47625"/>
              </a:xfrm>
              <a:custGeom>
                <a:avLst/>
                <a:gdLst>
                  <a:gd name="T0" fmla="*/ 0 w 184"/>
                  <a:gd name="T1" fmla="*/ 89 h 142"/>
                  <a:gd name="T2" fmla="*/ 157 w 184"/>
                  <a:gd name="T3" fmla="*/ 141 h 142"/>
                  <a:gd name="T4" fmla="*/ 183 w 184"/>
                  <a:gd name="T5" fmla="*/ 52 h 142"/>
                  <a:gd name="T6" fmla="*/ 31 w 184"/>
                  <a:gd name="T7" fmla="*/ 0 h 142"/>
                  <a:gd name="T8" fmla="*/ 0 w 184"/>
                  <a:gd name="T9" fmla="*/ 89 h 142"/>
                </a:gdLst>
                <a:ahLst/>
                <a:cxnLst>
                  <a:cxn ang="0">
                    <a:pos x="T0" y="T1"/>
                  </a:cxn>
                  <a:cxn ang="0">
                    <a:pos x="T2" y="T3"/>
                  </a:cxn>
                  <a:cxn ang="0">
                    <a:pos x="T4" y="T5"/>
                  </a:cxn>
                  <a:cxn ang="0">
                    <a:pos x="T6" y="T7"/>
                  </a:cxn>
                  <a:cxn ang="0">
                    <a:pos x="T8" y="T9"/>
                  </a:cxn>
                </a:cxnLst>
                <a:rect l="0" t="0" r="r" b="b"/>
                <a:pathLst>
                  <a:path w="184" h="142">
                    <a:moveTo>
                      <a:pt x="0" y="89"/>
                    </a:moveTo>
                    <a:cubicBezTo>
                      <a:pt x="53" y="106"/>
                      <a:pt x="105" y="124"/>
                      <a:pt x="157" y="141"/>
                    </a:cubicBezTo>
                    <a:cubicBezTo>
                      <a:pt x="166" y="111"/>
                      <a:pt x="175" y="82"/>
                      <a:pt x="183" y="52"/>
                    </a:cubicBezTo>
                    <a:cubicBezTo>
                      <a:pt x="133" y="35"/>
                      <a:pt x="82" y="17"/>
                      <a:pt x="31" y="0"/>
                    </a:cubicBezTo>
                    <a:cubicBezTo>
                      <a:pt x="21" y="30"/>
                      <a:pt x="11" y="59"/>
                      <a:pt x="0"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3" name="Freeform 45">
                <a:extLst>
                  <a:ext uri="{FF2B5EF4-FFF2-40B4-BE49-F238E27FC236}">
                    <a16:creationId xmlns:a16="http://schemas.microsoft.com/office/drawing/2014/main" id="{D81CB639-096E-292A-C5B9-9BD0FB420E3D}"/>
                  </a:ext>
                </a:extLst>
              </p:cNvPr>
              <p:cNvSpPr>
                <a:spLocks noChangeArrowheads="1"/>
              </p:cNvSpPr>
              <p:nvPr/>
            </p:nvSpPr>
            <p:spPr bwMode="auto">
              <a:xfrm>
                <a:off x="4102100" y="677863"/>
                <a:ext cx="65088" cy="58737"/>
              </a:xfrm>
              <a:custGeom>
                <a:avLst/>
                <a:gdLst>
                  <a:gd name="T0" fmla="*/ 0 w 189"/>
                  <a:gd name="T1" fmla="*/ 79 h 174"/>
                  <a:gd name="T2" fmla="*/ 136 w 189"/>
                  <a:gd name="T3" fmla="*/ 173 h 174"/>
                  <a:gd name="T4" fmla="*/ 188 w 189"/>
                  <a:gd name="T5" fmla="*/ 99 h 174"/>
                  <a:gd name="T6" fmla="*/ 58 w 189"/>
                  <a:gd name="T7" fmla="*/ 0 h 174"/>
                  <a:gd name="T8" fmla="*/ 0 w 189"/>
                  <a:gd name="T9" fmla="*/ 79 h 174"/>
                </a:gdLst>
                <a:ahLst/>
                <a:cxnLst>
                  <a:cxn ang="0">
                    <a:pos x="T0" y="T1"/>
                  </a:cxn>
                  <a:cxn ang="0">
                    <a:pos x="T2" y="T3"/>
                  </a:cxn>
                  <a:cxn ang="0">
                    <a:pos x="T4" y="T5"/>
                  </a:cxn>
                  <a:cxn ang="0">
                    <a:pos x="T6" y="T7"/>
                  </a:cxn>
                  <a:cxn ang="0">
                    <a:pos x="T8" y="T9"/>
                  </a:cxn>
                </a:cxnLst>
                <a:rect l="0" t="0" r="r" b="b"/>
                <a:pathLst>
                  <a:path w="189" h="174">
                    <a:moveTo>
                      <a:pt x="0" y="79"/>
                    </a:moveTo>
                    <a:cubicBezTo>
                      <a:pt x="46" y="110"/>
                      <a:pt x="91" y="142"/>
                      <a:pt x="136" y="173"/>
                    </a:cubicBezTo>
                    <a:cubicBezTo>
                      <a:pt x="154" y="148"/>
                      <a:pt x="171" y="124"/>
                      <a:pt x="188" y="99"/>
                    </a:cubicBezTo>
                    <a:cubicBezTo>
                      <a:pt x="145" y="66"/>
                      <a:pt x="102" y="33"/>
                      <a:pt x="58" y="0"/>
                    </a:cubicBezTo>
                    <a:cubicBezTo>
                      <a:pt x="39" y="26"/>
                      <a:pt x="20" y="53"/>
                      <a:pt x="0" y="7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4" name="Freeform 46">
                <a:extLst>
                  <a:ext uri="{FF2B5EF4-FFF2-40B4-BE49-F238E27FC236}">
                    <a16:creationId xmlns:a16="http://schemas.microsoft.com/office/drawing/2014/main" id="{85C1D6D1-D764-A83D-D39D-C577655BB370}"/>
                  </a:ext>
                </a:extLst>
              </p:cNvPr>
              <p:cNvSpPr>
                <a:spLocks noChangeArrowheads="1"/>
              </p:cNvSpPr>
              <p:nvPr/>
            </p:nvSpPr>
            <p:spPr bwMode="auto">
              <a:xfrm>
                <a:off x="3648075" y="38100"/>
                <a:ext cx="46038" cy="63500"/>
              </a:xfrm>
              <a:custGeom>
                <a:avLst/>
                <a:gdLst>
                  <a:gd name="T0" fmla="*/ 136 w 137"/>
                  <a:gd name="T1" fmla="*/ 157 h 184"/>
                  <a:gd name="T2" fmla="*/ 89 w 137"/>
                  <a:gd name="T3" fmla="*/ 0 h 184"/>
                  <a:gd name="T4" fmla="*/ 0 w 137"/>
                  <a:gd name="T5" fmla="*/ 31 h 184"/>
                  <a:gd name="T6" fmla="*/ 47 w 137"/>
                  <a:gd name="T7" fmla="*/ 183 h 184"/>
                  <a:gd name="T8" fmla="*/ 136 w 137"/>
                  <a:gd name="T9" fmla="*/ 157 h 184"/>
                </a:gdLst>
                <a:ahLst/>
                <a:cxnLst>
                  <a:cxn ang="0">
                    <a:pos x="T0" y="T1"/>
                  </a:cxn>
                  <a:cxn ang="0">
                    <a:pos x="T2" y="T3"/>
                  </a:cxn>
                  <a:cxn ang="0">
                    <a:pos x="T4" y="T5"/>
                  </a:cxn>
                  <a:cxn ang="0">
                    <a:pos x="T6" y="T7"/>
                  </a:cxn>
                  <a:cxn ang="0">
                    <a:pos x="T8" y="T9"/>
                  </a:cxn>
                </a:cxnLst>
                <a:rect l="0" t="0" r="r" b="b"/>
                <a:pathLst>
                  <a:path w="137" h="184">
                    <a:moveTo>
                      <a:pt x="136" y="157"/>
                    </a:moveTo>
                    <a:cubicBezTo>
                      <a:pt x="120" y="105"/>
                      <a:pt x="104" y="52"/>
                      <a:pt x="89" y="0"/>
                    </a:cubicBezTo>
                    <a:cubicBezTo>
                      <a:pt x="59" y="10"/>
                      <a:pt x="29" y="21"/>
                      <a:pt x="0" y="31"/>
                    </a:cubicBezTo>
                    <a:cubicBezTo>
                      <a:pt x="15" y="82"/>
                      <a:pt x="31" y="132"/>
                      <a:pt x="47" y="183"/>
                    </a:cubicBezTo>
                    <a:cubicBezTo>
                      <a:pt x="76" y="174"/>
                      <a:pt x="106" y="166"/>
                      <a:pt x="136" y="15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5" name="Freeform 47">
                <a:extLst>
                  <a:ext uri="{FF2B5EF4-FFF2-40B4-BE49-F238E27FC236}">
                    <a16:creationId xmlns:a16="http://schemas.microsoft.com/office/drawing/2014/main" id="{3FE24071-8464-B0DF-866B-B772F285575D}"/>
                  </a:ext>
                </a:extLst>
              </p:cNvPr>
              <p:cNvSpPr>
                <a:spLocks noChangeArrowheads="1"/>
              </p:cNvSpPr>
              <p:nvPr/>
            </p:nvSpPr>
            <p:spPr bwMode="auto">
              <a:xfrm>
                <a:off x="3525838" y="96838"/>
                <a:ext cx="58738" cy="65087"/>
              </a:xfrm>
              <a:custGeom>
                <a:avLst/>
                <a:gdLst>
                  <a:gd name="T0" fmla="*/ 172 w 173"/>
                  <a:gd name="T1" fmla="*/ 131 h 189"/>
                  <a:gd name="T2" fmla="*/ 78 w 173"/>
                  <a:gd name="T3" fmla="*/ 0 h 189"/>
                  <a:gd name="T4" fmla="*/ 0 w 173"/>
                  <a:gd name="T5" fmla="*/ 57 h 189"/>
                  <a:gd name="T6" fmla="*/ 93 w 173"/>
                  <a:gd name="T7" fmla="*/ 188 h 189"/>
                  <a:gd name="T8" fmla="*/ 172 w 173"/>
                  <a:gd name="T9" fmla="*/ 131 h 189"/>
                </a:gdLst>
                <a:ahLst/>
                <a:cxnLst>
                  <a:cxn ang="0">
                    <a:pos x="T0" y="T1"/>
                  </a:cxn>
                  <a:cxn ang="0">
                    <a:pos x="T2" y="T3"/>
                  </a:cxn>
                  <a:cxn ang="0">
                    <a:pos x="T4" y="T5"/>
                  </a:cxn>
                  <a:cxn ang="0">
                    <a:pos x="T6" y="T7"/>
                  </a:cxn>
                  <a:cxn ang="0">
                    <a:pos x="T8" y="T9"/>
                  </a:cxn>
                </a:cxnLst>
                <a:rect l="0" t="0" r="r" b="b"/>
                <a:pathLst>
                  <a:path w="173" h="189">
                    <a:moveTo>
                      <a:pt x="172" y="131"/>
                    </a:moveTo>
                    <a:cubicBezTo>
                      <a:pt x="140" y="87"/>
                      <a:pt x="109" y="44"/>
                      <a:pt x="78" y="0"/>
                    </a:cubicBezTo>
                    <a:cubicBezTo>
                      <a:pt x="52" y="19"/>
                      <a:pt x="26" y="38"/>
                      <a:pt x="0" y="57"/>
                    </a:cubicBezTo>
                    <a:cubicBezTo>
                      <a:pt x="31" y="101"/>
                      <a:pt x="62" y="144"/>
                      <a:pt x="93" y="188"/>
                    </a:cubicBezTo>
                    <a:cubicBezTo>
                      <a:pt x="119" y="169"/>
                      <a:pt x="145" y="150"/>
                      <a:pt x="172" y="13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6" name="Freeform 48">
                <a:extLst>
                  <a:ext uri="{FF2B5EF4-FFF2-40B4-BE49-F238E27FC236}">
                    <a16:creationId xmlns:a16="http://schemas.microsoft.com/office/drawing/2014/main" id="{A89548F5-8543-F044-C641-4B3067BA3EA0}"/>
                  </a:ext>
                </a:extLst>
              </p:cNvPr>
              <p:cNvSpPr>
                <a:spLocks noChangeArrowheads="1"/>
              </p:cNvSpPr>
              <p:nvPr/>
            </p:nvSpPr>
            <p:spPr bwMode="auto">
              <a:xfrm>
                <a:off x="3432175" y="190500"/>
                <a:ext cx="65088" cy="58737"/>
              </a:xfrm>
              <a:custGeom>
                <a:avLst/>
                <a:gdLst>
                  <a:gd name="T0" fmla="*/ 188 w 189"/>
                  <a:gd name="T1" fmla="*/ 99 h 174"/>
                  <a:gd name="T2" fmla="*/ 58 w 189"/>
                  <a:gd name="T3" fmla="*/ 0 h 174"/>
                  <a:gd name="T4" fmla="*/ 0 w 189"/>
                  <a:gd name="T5" fmla="*/ 79 h 174"/>
                  <a:gd name="T6" fmla="*/ 131 w 189"/>
                  <a:gd name="T7" fmla="*/ 173 h 174"/>
                  <a:gd name="T8" fmla="*/ 188 w 189"/>
                  <a:gd name="T9" fmla="*/ 99 h 174"/>
                </a:gdLst>
                <a:ahLst/>
                <a:cxnLst>
                  <a:cxn ang="0">
                    <a:pos x="T0" y="T1"/>
                  </a:cxn>
                  <a:cxn ang="0">
                    <a:pos x="T2" y="T3"/>
                  </a:cxn>
                  <a:cxn ang="0">
                    <a:pos x="T4" y="T5"/>
                  </a:cxn>
                  <a:cxn ang="0">
                    <a:pos x="T6" y="T7"/>
                  </a:cxn>
                  <a:cxn ang="0">
                    <a:pos x="T8" y="T9"/>
                  </a:cxn>
                </a:cxnLst>
                <a:rect l="0" t="0" r="r" b="b"/>
                <a:pathLst>
                  <a:path w="189" h="174">
                    <a:moveTo>
                      <a:pt x="188" y="99"/>
                    </a:moveTo>
                    <a:cubicBezTo>
                      <a:pt x="144" y="66"/>
                      <a:pt x="101" y="33"/>
                      <a:pt x="58" y="0"/>
                    </a:cubicBezTo>
                    <a:cubicBezTo>
                      <a:pt x="38" y="26"/>
                      <a:pt x="19" y="53"/>
                      <a:pt x="0" y="79"/>
                    </a:cubicBezTo>
                    <a:cubicBezTo>
                      <a:pt x="43" y="110"/>
                      <a:pt x="87" y="142"/>
                      <a:pt x="131" y="173"/>
                    </a:cubicBezTo>
                    <a:cubicBezTo>
                      <a:pt x="150" y="148"/>
                      <a:pt x="169" y="124"/>
                      <a:pt x="188" y="9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7" name="Freeform 49">
                <a:extLst>
                  <a:ext uri="{FF2B5EF4-FFF2-40B4-BE49-F238E27FC236}">
                    <a16:creationId xmlns:a16="http://schemas.microsoft.com/office/drawing/2014/main" id="{82B16938-930D-FB5B-A9FE-E9EA00D148F7}"/>
                  </a:ext>
                </a:extLst>
              </p:cNvPr>
              <p:cNvSpPr>
                <a:spLocks noChangeArrowheads="1"/>
              </p:cNvSpPr>
              <p:nvPr/>
            </p:nvSpPr>
            <p:spPr bwMode="auto">
              <a:xfrm>
                <a:off x="3373438" y="312738"/>
                <a:ext cx="63500" cy="47625"/>
              </a:xfrm>
              <a:custGeom>
                <a:avLst/>
                <a:gdLst>
                  <a:gd name="T0" fmla="*/ 183 w 184"/>
                  <a:gd name="T1" fmla="*/ 47 h 142"/>
                  <a:gd name="T2" fmla="*/ 32 w 184"/>
                  <a:gd name="T3" fmla="*/ 0 h 142"/>
                  <a:gd name="T4" fmla="*/ 0 w 184"/>
                  <a:gd name="T5" fmla="*/ 89 h 142"/>
                  <a:gd name="T6" fmla="*/ 157 w 184"/>
                  <a:gd name="T7" fmla="*/ 141 h 142"/>
                  <a:gd name="T8" fmla="*/ 183 w 184"/>
                  <a:gd name="T9" fmla="*/ 47 h 142"/>
                </a:gdLst>
                <a:ahLst/>
                <a:cxnLst>
                  <a:cxn ang="0">
                    <a:pos x="T0" y="T1"/>
                  </a:cxn>
                  <a:cxn ang="0">
                    <a:pos x="T2" y="T3"/>
                  </a:cxn>
                  <a:cxn ang="0">
                    <a:pos x="T4" y="T5"/>
                  </a:cxn>
                  <a:cxn ang="0">
                    <a:pos x="T6" y="T7"/>
                  </a:cxn>
                  <a:cxn ang="0">
                    <a:pos x="T8" y="T9"/>
                  </a:cxn>
                </a:cxnLst>
                <a:rect l="0" t="0" r="r" b="b"/>
                <a:pathLst>
                  <a:path w="184" h="142">
                    <a:moveTo>
                      <a:pt x="183" y="47"/>
                    </a:moveTo>
                    <a:cubicBezTo>
                      <a:pt x="132" y="31"/>
                      <a:pt x="82" y="16"/>
                      <a:pt x="32" y="0"/>
                    </a:cubicBezTo>
                    <a:cubicBezTo>
                      <a:pt x="21" y="30"/>
                      <a:pt x="10" y="59"/>
                      <a:pt x="0" y="89"/>
                    </a:cubicBezTo>
                    <a:cubicBezTo>
                      <a:pt x="52" y="106"/>
                      <a:pt x="104" y="124"/>
                      <a:pt x="157" y="141"/>
                    </a:cubicBezTo>
                    <a:cubicBezTo>
                      <a:pt x="165" y="110"/>
                      <a:pt x="174" y="78"/>
                      <a:pt x="183" y="4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8" name="Freeform 50">
                <a:extLst>
                  <a:ext uri="{FF2B5EF4-FFF2-40B4-BE49-F238E27FC236}">
                    <a16:creationId xmlns:a16="http://schemas.microsoft.com/office/drawing/2014/main" id="{7336BD42-B819-6493-08E9-82D457FCBC32}"/>
                  </a:ext>
                </a:extLst>
              </p:cNvPr>
              <p:cNvSpPr>
                <a:spLocks noChangeArrowheads="1"/>
              </p:cNvSpPr>
              <p:nvPr/>
            </p:nvSpPr>
            <p:spPr bwMode="auto">
              <a:xfrm>
                <a:off x="3357563" y="449263"/>
                <a:ext cx="55563" cy="31750"/>
              </a:xfrm>
              <a:custGeom>
                <a:avLst/>
                <a:gdLst>
                  <a:gd name="T0" fmla="*/ 162 w 163"/>
                  <a:gd name="T1" fmla="*/ 0 h 95"/>
                  <a:gd name="T2" fmla="*/ 0 w 163"/>
                  <a:gd name="T3" fmla="*/ 0 h 95"/>
                  <a:gd name="T4" fmla="*/ 0 w 163"/>
                  <a:gd name="T5" fmla="*/ 94 h 95"/>
                  <a:gd name="T6" fmla="*/ 162 w 163"/>
                  <a:gd name="T7" fmla="*/ 94 h 95"/>
                  <a:gd name="T8" fmla="*/ 162 w 163"/>
                  <a:gd name="T9" fmla="*/ 0 h 95"/>
                </a:gdLst>
                <a:ahLst/>
                <a:cxnLst>
                  <a:cxn ang="0">
                    <a:pos x="T0" y="T1"/>
                  </a:cxn>
                  <a:cxn ang="0">
                    <a:pos x="T2" y="T3"/>
                  </a:cxn>
                  <a:cxn ang="0">
                    <a:pos x="T4" y="T5"/>
                  </a:cxn>
                  <a:cxn ang="0">
                    <a:pos x="T6" y="T7"/>
                  </a:cxn>
                  <a:cxn ang="0">
                    <a:pos x="T8" y="T9"/>
                  </a:cxn>
                </a:cxnLst>
                <a:rect l="0" t="0" r="r" b="b"/>
                <a:pathLst>
                  <a:path w="163" h="95">
                    <a:moveTo>
                      <a:pt x="162" y="0"/>
                    </a:moveTo>
                    <a:cubicBezTo>
                      <a:pt x="108" y="0"/>
                      <a:pt x="54" y="0"/>
                      <a:pt x="0" y="0"/>
                    </a:cubicBezTo>
                    <a:cubicBezTo>
                      <a:pt x="0" y="31"/>
                      <a:pt x="0" y="63"/>
                      <a:pt x="0" y="94"/>
                    </a:cubicBezTo>
                    <a:cubicBezTo>
                      <a:pt x="54" y="94"/>
                      <a:pt x="108" y="94"/>
                      <a:pt x="162" y="94"/>
                    </a:cubicBezTo>
                    <a:cubicBezTo>
                      <a:pt x="162" y="63"/>
                      <a:pt x="162" y="31"/>
                      <a:pt x="162"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39" name="Freeform 51">
                <a:extLst>
                  <a:ext uri="{FF2B5EF4-FFF2-40B4-BE49-F238E27FC236}">
                    <a16:creationId xmlns:a16="http://schemas.microsoft.com/office/drawing/2014/main" id="{5E329FD8-868D-5904-A55C-21B1F3890FC4}"/>
                  </a:ext>
                </a:extLst>
              </p:cNvPr>
              <p:cNvSpPr>
                <a:spLocks noChangeArrowheads="1"/>
              </p:cNvSpPr>
              <p:nvPr/>
            </p:nvSpPr>
            <p:spPr bwMode="auto">
              <a:xfrm>
                <a:off x="3373438" y="568325"/>
                <a:ext cx="63500" cy="47625"/>
              </a:xfrm>
              <a:custGeom>
                <a:avLst/>
                <a:gdLst>
                  <a:gd name="T0" fmla="*/ 157 w 184"/>
                  <a:gd name="T1" fmla="*/ 0 h 142"/>
                  <a:gd name="T2" fmla="*/ 0 w 184"/>
                  <a:gd name="T3" fmla="*/ 52 h 142"/>
                  <a:gd name="T4" fmla="*/ 32 w 184"/>
                  <a:gd name="T5" fmla="*/ 141 h 142"/>
                  <a:gd name="T6" fmla="*/ 183 w 184"/>
                  <a:gd name="T7" fmla="*/ 89 h 142"/>
                  <a:gd name="T8" fmla="*/ 157 w 184"/>
                  <a:gd name="T9" fmla="*/ 0 h 142"/>
                </a:gdLst>
                <a:ahLst/>
                <a:cxnLst>
                  <a:cxn ang="0">
                    <a:pos x="T0" y="T1"/>
                  </a:cxn>
                  <a:cxn ang="0">
                    <a:pos x="T2" y="T3"/>
                  </a:cxn>
                  <a:cxn ang="0">
                    <a:pos x="T4" y="T5"/>
                  </a:cxn>
                  <a:cxn ang="0">
                    <a:pos x="T6" y="T7"/>
                  </a:cxn>
                  <a:cxn ang="0">
                    <a:pos x="T8" y="T9"/>
                  </a:cxn>
                </a:cxnLst>
                <a:rect l="0" t="0" r="r" b="b"/>
                <a:pathLst>
                  <a:path w="184" h="142">
                    <a:moveTo>
                      <a:pt x="157" y="0"/>
                    </a:moveTo>
                    <a:cubicBezTo>
                      <a:pt x="104" y="17"/>
                      <a:pt x="52" y="35"/>
                      <a:pt x="0" y="52"/>
                    </a:cubicBezTo>
                    <a:cubicBezTo>
                      <a:pt x="10" y="82"/>
                      <a:pt x="21" y="111"/>
                      <a:pt x="32" y="141"/>
                    </a:cubicBezTo>
                    <a:cubicBezTo>
                      <a:pt x="82" y="124"/>
                      <a:pt x="132" y="106"/>
                      <a:pt x="183" y="89"/>
                    </a:cubicBezTo>
                    <a:cubicBezTo>
                      <a:pt x="174" y="59"/>
                      <a:pt x="165" y="30"/>
                      <a:pt x="157"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40" name="Freeform 52">
                <a:extLst>
                  <a:ext uri="{FF2B5EF4-FFF2-40B4-BE49-F238E27FC236}">
                    <a16:creationId xmlns:a16="http://schemas.microsoft.com/office/drawing/2014/main" id="{F6A85ECB-9390-C1CB-0E93-0FC64778A32A}"/>
                  </a:ext>
                </a:extLst>
              </p:cNvPr>
              <p:cNvSpPr>
                <a:spLocks noChangeArrowheads="1"/>
              </p:cNvSpPr>
              <p:nvPr/>
            </p:nvSpPr>
            <p:spPr bwMode="auto">
              <a:xfrm>
                <a:off x="3432175" y="677863"/>
                <a:ext cx="65088" cy="58737"/>
              </a:xfrm>
              <a:custGeom>
                <a:avLst/>
                <a:gdLst>
                  <a:gd name="T0" fmla="*/ 0 w 189"/>
                  <a:gd name="T1" fmla="*/ 99 h 174"/>
                  <a:gd name="T2" fmla="*/ 58 w 189"/>
                  <a:gd name="T3" fmla="*/ 173 h 174"/>
                  <a:gd name="T4" fmla="*/ 188 w 189"/>
                  <a:gd name="T5" fmla="*/ 79 h 174"/>
                  <a:gd name="T6" fmla="*/ 131 w 189"/>
                  <a:gd name="T7" fmla="*/ 0 h 174"/>
                  <a:gd name="T8" fmla="*/ 0 w 189"/>
                  <a:gd name="T9" fmla="*/ 99 h 174"/>
                </a:gdLst>
                <a:ahLst/>
                <a:cxnLst>
                  <a:cxn ang="0">
                    <a:pos x="T0" y="T1"/>
                  </a:cxn>
                  <a:cxn ang="0">
                    <a:pos x="T2" y="T3"/>
                  </a:cxn>
                  <a:cxn ang="0">
                    <a:pos x="T4" y="T5"/>
                  </a:cxn>
                  <a:cxn ang="0">
                    <a:pos x="T6" y="T7"/>
                  </a:cxn>
                  <a:cxn ang="0">
                    <a:pos x="T8" y="T9"/>
                  </a:cxn>
                </a:cxnLst>
                <a:rect l="0" t="0" r="r" b="b"/>
                <a:pathLst>
                  <a:path w="189" h="174">
                    <a:moveTo>
                      <a:pt x="0" y="99"/>
                    </a:moveTo>
                    <a:cubicBezTo>
                      <a:pt x="19" y="124"/>
                      <a:pt x="38" y="148"/>
                      <a:pt x="58" y="173"/>
                    </a:cubicBezTo>
                    <a:cubicBezTo>
                      <a:pt x="101" y="142"/>
                      <a:pt x="144" y="110"/>
                      <a:pt x="188" y="79"/>
                    </a:cubicBezTo>
                    <a:cubicBezTo>
                      <a:pt x="169" y="53"/>
                      <a:pt x="150" y="26"/>
                      <a:pt x="131" y="0"/>
                    </a:cubicBezTo>
                    <a:cubicBezTo>
                      <a:pt x="87" y="33"/>
                      <a:pt x="43" y="66"/>
                      <a:pt x="0" y="9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grpSp>
        <p:sp>
          <p:nvSpPr>
            <p:cNvPr id="41" name="Freeform 50">
              <a:extLst>
                <a:ext uri="{FF2B5EF4-FFF2-40B4-BE49-F238E27FC236}">
                  <a16:creationId xmlns:a16="http://schemas.microsoft.com/office/drawing/2014/main" id="{7F3A2302-31C2-90F1-0EA0-4623806B3E8B}"/>
                </a:ext>
              </a:extLst>
            </p:cNvPr>
            <p:cNvSpPr>
              <a:spLocks noChangeArrowheads="1"/>
            </p:cNvSpPr>
            <p:nvPr userDrawn="1"/>
          </p:nvSpPr>
          <p:spPr bwMode="auto">
            <a:xfrm>
              <a:off x="9573238" y="2899347"/>
              <a:ext cx="470695" cy="469921"/>
            </a:xfrm>
            <a:custGeom>
              <a:avLst/>
              <a:gdLst>
                <a:gd name="T0" fmla="*/ 2535 w 2690"/>
                <a:gd name="T1" fmla="*/ 1950 h 2685"/>
                <a:gd name="T2" fmla="*/ 2689 w 2690"/>
                <a:gd name="T3" fmla="*/ 579 h 2685"/>
                <a:gd name="T4" fmla="*/ 1344 w 2690"/>
                <a:gd name="T5" fmla="*/ 760 h 2685"/>
                <a:gd name="T6" fmla="*/ 962 w 2690"/>
                <a:gd name="T7" fmla="*/ 377 h 2685"/>
                <a:gd name="T8" fmla="*/ 845 w 2690"/>
                <a:gd name="T9" fmla="*/ 260 h 2685"/>
                <a:gd name="T10" fmla="*/ 260 w 2690"/>
                <a:gd name="T11" fmla="*/ 260 h 2685"/>
                <a:gd name="T12" fmla="*/ 260 w 2690"/>
                <a:gd name="T13" fmla="*/ 839 h 2685"/>
                <a:gd name="T14" fmla="*/ 260 w 2690"/>
                <a:gd name="T15" fmla="*/ 839 h 2685"/>
                <a:gd name="T16" fmla="*/ 297 w 2690"/>
                <a:gd name="T17" fmla="*/ 876 h 2685"/>
                <a:gd name="T18" fmla="*/ 383 w 2690"/>
                <a:gd name="T19" fmla="*/ 962 h 2685"/>
                <a:gd name="T20" fmla="*/ 765 w 2690"/>
                <a:gd name="T21" fmla="*/ 1339 h 2685"/>
                <a:gd name="T22" fmla="*/ 584 w 2690"/>
                <a:gd name="T23" fmla="*/ 2684 h 2685"/>
                <a:gd name="T24" fmla="*/ 1951 w 2690"/>
                <a:gd name="T25" fmla="*/ 2530 h 2685"/>
                <a:gd name="T26" fmla="*/ 2546 w 2690"/>
                <a:gd name="T27" fmla="*/ 2545 h 2685"/>
                <a:gd name="T28" fmla="*/ 2535 w 2690"/>
                <a:gd name="T29" fmla="*/ 1950 h 2685"/>
                <a:gd name="T30" fmla="*/ 2290 w 2690"/>
                <a:gd name="T31" fmla="*/ 2450 h 2685"/>
                <a:gd name="T32" fmla="*/ 2189 w 2690"/>
                <a:gd name="T33" fmla="*/ 2360 h 2685"/>
                <a:gd name="T34" fmla="*/ 2360 w 2690"/>
                <a:gd name="T35" fmla="*/ 2189 h 2685"/>
                <a:gd name="T36" fmla="*/ 2360 w 2690"/>
                <a:gd name="T37" fmla="*/ 2189 h 2685"/>
                <a:gd name="T38" fmla="*/ 2450 w 2690"/>
                <a:gd name="T39" fmla="*/ 2285 h 2685"/>
                <a:gd name="T40" fmla="*/ 654 w 2690"/>
                <a:gd name="T41" fmla="*/ 754 h 2685"/>
                <a:gd name="T42" fmla="*/ 760 w 2690"/>
                <a:gd name="T43" fmla="*/ 653 h 2685"/>
                <a:gd name="T44" fmla="*/ 2158 w 2690"/>
                <a:gd name="T45" fmla="*/ 2259 h 2685"/>
                <a:gd name="T46" fmla="*/ 654 w 2690"/>
                <a:gd name="T47" fmla="*/ 754 h 2685"/>
                <a:gd name="T48" fmla="*/ 2328 w 2690"/>
                <a:gd name="T49" fmla="*/ 2088 h 2685"/>
                <a:gd name="T50" fmla="*/ 829 w 2690"/>
                <a:gd name="T51" fmla="*/ 584 h 2685"/>
                <a:gd name="T52" fmla="*/ 2434 w 2690"/>
                <a:gd name="T53" fmla="*/ 1982 h 2685"/>
                <a:gd name="T54" fmla="*/ 1477 w 2690"/>
                <a:gd name="T55" fmla="*/ 760 h 2685"/>
                <a:gd name="T56" fmla="*/ 1615 w 2690"/>
                <a:gd name="T57" fmla="*/ 898 h 2685"/>
                <a:gd name="T58" fmla="*/ 1546 w 2690"/>
                <a:gd name="T59" fmla="*/ 691 h 2685"/>
                <a:gd name="T60" fmla="*/ 1775 w 2690"/>
                <a:gd name="T61" fmla="*/ 744 h 2685"/>
                <a:gd name="T62" fmla="*/ 1706 w 2690"/>
                <a:gd name="T63" fmla="*/ 537 h 2685"/>
                <a:gd name="T64" fmla="*/ 1929 w 2690"/>
                <a:gd name="T65" fmla="*/ 584 h 2685"/>
                <a:gd name="T66" fmla="*/ 1860 w 2690"/>
                <a:gd name="T67" fmla="*/ 377 h 2685"/>
                <a:gd name="T68" fmla="*/ 2088 w 2690"/>
                <a:gd name="T69" fmla="*/ 430 h 2685"/>
                <a:gd name="T70" fmla="*/ 2019 w 2690"/>
                <a:gd name="T71" fmla="*/ 223 h 2685"/>
                <a:gd name="T72" fmla="*/ 2551 w 2690"/>
                <a:gd name="T73" fmla="*/ 579 h 2685"/>
                <a:gd name="T74" fmla="*/ 1413 w 2690"/>
                <a:gd name="T75" fmla="*/ 829 h 2685"/>
                <a:gd name="T76" fmla="*/ 329 w 2690"/>
                <a:gd name="T77" fmla="*/ 329 h 2685"/>
                <a:gd name="T78" fmla="*/ 553 w 2690"/>
                <a:gd name="T79" fmla="*/ 234 h 2685"/>
                <a:gd name="T80" fmla="*/ 297 w 2690"/>
                <a:gd name="T81" fmla="*/ 739 h 2685"/>
                <a:gd name="T82" fmla="*/ 329 w 2690"/>
                <a:gd name="T83" fmla="*/ 329 h 2685"/>
                <a:gd name="T84" fmla="*/ 808 w 2690"/>
                <a:gd name="T85" fmla="*/ 361 h 2685"/>
                <a:gd name="T86" fmla="*/ 414 w 2690"/>
                <a:gd name="T87" fmla="*/ 861 h 2685"/>
                <a:gd name="T88" fmla="*/ 808 w 2690"/>
                <a:gd name="T89" fmla="*/ 361 h 2685"/>
                <a:gd name="T90" fmla="*/ 584 w 2690"/>
                <a:gd name="T91" fmla="*/ 2551 h 2685"/>
                <a:gd name="T92" fmla="*/ 229 w 2690"/>
                <a:gd name="T93" fmla="*/ 2014 h 2685"/>
                <a:gd name="T94" fmla="*/ 430 w 2690"/>
                <a:gd name="T95" fmla="*/ 2083 h 2685"/>
                <a:gd name="T96" fmla="*/ 383 w 2690"/>
                <a:gd name="T97" fmla="*/ 1860 h 2685"/>
                <a:gd name="T98" fmla="*/ 590 w 2690"/>
                <a:gd name="T99" fmla="*/ 1929 h 2685"/>
                <a:gd name="T100" fmla="*/ 542 w 2690"/>
                <a:gd name="T101" fmla="*/ 1700 h 2685"/>
                <a:gd name="T102" fmla="*/ 744 w 2690"/>
                <a:gd name="T103" fmla="*/ 1769 h 2685"/>
                <a:gd name="T104" fmla="*/ 696 w 2690"/>
                <a:gd name="T105" fmla="*/ 1546 h 2685"/>
                <a:gd name="T106" fmla="*/ 903 w 2690"/>
                <a:gd name="T107" fmla="*/ 1615 h 2685"/>
                <a:gd name="T108" fmla="*/ 829 w 2690"/>
                <a:gd name="T109" fmla="*/ 1408 h 2685"/>
                <a:gd name="T110" fmla="*/ 584 w 2690"/>
                <a:gd name="T111" fmla="*/ 2551 h 2685"/>
                <a:gd name="T112" fmla="*/ 484 w 2690"/>
                <a:gd name="T113" fmla="*/ 924 h 2685"/>
                <a:gd name="T114" fmla="*/ 1339 w 2690"/>
                <a:gd name="T115" fmla="*/ 1573 h 2685"/>
                <a:gd name="T116" fmla="*/ 1987 w 2690"/>
                <a:gd name="T117" fmla="*/ 2429 h 2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90" h="2685">
                  <a:moveTo>
                    <a:pt x="2535" y="1950"/>
                  </a:moveTo>
                  <a:lnTo>
                    <a:pt x="2535" y="1950"/>
                  </a:lnTo>
                  <a:cubicBezTo>
                    <a:pt x="1924" y="1339"/>
                    <a:pt x="2128" y="1543"/>
                    <a:pt x="1924" y="1339"/>
                  </a:cubicBezTo>
                  <a:cubicBezTo>
                    <a:pt x="2689" y="579"/>
                    <a:pt x="2434" y="832"/>
                    <a:pt x="2689" y="579"/>
                  </a:cubicBezTo>
                  <a:cubicBezTo>
                    <a:pt x="2105" y="0"/>
                    <a:pt x="2300" y="193"/>
                    <a:pt x="2105" y="0"/>
                  </a:cubicBezTo>
                  <a:cubicBezTo>
                    <a:pt x="1344" y="760"/>
                    <a:pt x="1598" y="507"/>
                    <a:pt x="1344" y="760"/>
                  </a:cubicBezTo>
                  <a:cubicBezTo>
                    <a:pt x="962" y="377"/>
                    <a:pt x="1089" y="505"/>
                    <a:pt x="962" y="377"/>
                  </a:cubicBezTo>
                  <a:lnTo>
                    <a:pt x="962" y="377"/>
                  </a:lnTo>
                  <a:cubicBezTo>
                    <a:pt x="850" y="265"/>
                    <a:pt x="887" y="302"/>
                    <a:pt x="850" y="265"/>
                  </a:cubicBezTo>
                  <a:cubicBezTo>
                    <a:pt x="845" y="260"/>
                    <a:pt x="847" y="262"/>
                    <a:pt x="845" y="260"/>
                  </a:cubicBezTo>
                  <a:cubicBezTo>
                    <a:pt x="765" y="180"/>
                    <a:pt x="664" y="138"/>
                    <a:pt x="553" y="138"/>
                  </a:cubicBezTo>
                  <a:cubicBezTo>
                    <a:pt x="446" y="138"/>
                    <a:pt x="340" y="180"/>
                    <a:pt x="260" y="260"/>
                  </a:cubicBezTo>
                  <a:cubicBezTo>
                    <a:pt x="186" y="340"/>
                    <a:pt x="143" y="441"/>
                    <a:pt x="143" y="552"/>
                  </a:cubicBezTo>
                  <a:cubicBezTo>
                    <a:pt x="143" y="659"/>
                    <a:pt x="186" y="765"/>
                    <a:pt x="260" y="839"/>
                  </a:cubicBezTo>
                  <a:lnTo>
                    <a:pt x="260" y="839"/>
                  </a:lnTo>
                  <a:lnTo>
                    <a:pt x="260" y="839"/>
                  </a:lnTo>
                  <a:lnTo>
                    <a:pt x="260" y="839"/>
                  </a:lnTo>
                  <a:cubicBezTo>
                    <a:pt x="297" y="876"/>
                    <a:pt x="285" y="864"/>
                    <a:pt x="297" y="876"/>
                  </a:cubicBezTo>
                  <a:lnTo>
                    <a:pt x="297" y="876"/>
                  </a:lnTo>
                  <a:cubicBezTo>
                    <a:pt x="383" y="962"/>
                    <a:pt x="354" y="933"/>
                    <a:pt x="383" y="962"/>
                  </a:cubicBezTo>
                  <a:lnTo>
                    <a:pt x="383" y="962"/>
                  </a:lnTo>
                  <a:cubicBezTo>
                    <a:pt x="765" y="1339"/>
                    <a:pt x="638" y="1213"/>
                    <a:pt x="765" y="1339"/>
                  </a:cubicBezTo>
                  <a:cubicBezTo>
                    <a:pt x="0" y="2105"/>
                    <a:pt x="255" y="1850"/>
                    <a:pt x="0" y="2105"/>
                  </a:cubicBezTo>
                  <a:cubicBezTo>
                    <a:pt x="584" y="2684"/>
                    <a:pt x="389" y="2491"/>
                    <a:pt x="584" y="2684"/>
                  </a:cubicBezTo>
                  <a:cubicBezTo>
                    <a:pt x="1344" y="1923"/>
                    <a:pt x="1091" y="2177"/>
                    <a:pt x="1344" y="1923"/>
                  </a:cubicBezTo>
                  <a:cubicBezTo>
                    <a:pt x="1951" y="2530"/>
                    <a:pt x="1749" y="2328"/>
                    <a:pt x="1951" y="2530"/>
                  </a:cubicBezTo>
                  <a:cubicBezTo>
                    <a:pt x="1961" y="2540"/>
                    <a:pt x="1972" y="2545"/>
                    <a:pt x="1987" y="2545"/>
                  </a:cubicBezTo>
                  <a:cubicBezTo>
                    <a:pt x="2546" y="2545"/>
                    <a:pt x="2360" y="2545"/>
                    <a:pt x="2546" y="2545"/>
                  </a:cubicBezTo>
                  <a:cubicBezTo>
                    <a:pt x="2546" y="1982"/>
                    <a:pt x="2546" y="2170"/>
                    <a:pt x="2546" y="1982"/>
                  </a:cubicBezTo>
                  <a:cubicBezTo>
                    <a:pt x="2546" y="1971"/>
                    <a:pt x="2540" y="1956"/>
                    <a:pt x="2535" y="1950"/>
                  </a:cubicBezTo>
                  <a:close/>
                  <a:moveTo>
                    <a:pt x="2290" y="2450"/>
                  </a:moveTo>
                  <a:lnTo>
                    <a:pt x="2290" y="2450"/>
                  </a:lnTo>
                  <a:cubicBezTo>
                    <a:pt x="2099" y="2450"/>
                    <a:pt x="2163" y="2450"/>
                    <a:pt x="2099" y="2450"/>
                  </a:cubicBezTo>
                  <a:cubicBezTo>
                    <a:pt x="2189" y="2360"/>
                    <a:pt x="2159" y="2390"/>
                    <a:pt x="2189" y="2360"/>
                  </a:cubicBezTo>
                  <a:lnTo>
                    <a:pt x="2189" y="2360"/>
                  </a:lnTo>
                  <a:cubicBezTo>
                    <a:pt x="2360" y="2189"/>
                    <a:pt x="2303" y="2246"/>
                    <a:pt x="2360" y="2189"/>
                  </a:cubicBezTo>
                  <a:lnTo>
                    <a:pt x="2360" y="2189"/>
                  </a:lnTo>
                  <a:lnTo>
                    <a:pt x="2360" y="2189"/>
                  </a:lnTo>
                  <a:cubicBezTo>
                    <a:pt x="2450" y="2099"/>
                    <a:pt x="2420" y="2129"/>
                    <a:pt x="2450" y="2099"/>
                  </a:cubicBezTo>
                  <a:cubicBezTo>
                    <a:pt x="2450" y="2285"/>
                    <a:pt x="2450" y="2223"/>
                    <a:pt x="2450" y="2285"/>
                  </a:cubicBezTo>
                  <a:cubicBezTo>
                    <a:pt x="2397" y="2340"/>
                    <a:pt x="2343" y="2395"/>
                    <a:pt x="2290" y="2450"/>
                  </a:cubicBezTo>
                  <a:close/>
                  <a:moveTo>
                    <a:pt x="654" y="754"/>
                  </a:moveTo>
                  <a:lnTo>
                    <a:pt x="654" y="754"/>
                  </a:lnTo>
                  <a:cubicBezTo>
                    <a:pt x="760" y="653"/>
                    <a:pt x="725" y="687"/>
                    <a:pt x="760" y="653"/>
                  </a:cubicBezTo>
                  <a:cubicBezTo>
                    <a:pt x="2259" y="2152"/>
                    <a:pt x="1759" y="1652"/>
                    <a:pt x="2259" y="2152"/>
                  </a:cubicBezTo>
                  <a:cubicBezTo>
                    <a:pt x="2158" y="2259"/>
                    <a:pt x="2192" y="2223"/>
                    <a:pt x="2158" y="2259"/>
                  </a:cubicBezTo>
                  <a:cubicBezTo>
                    <a:pt x="1408" y="1509"/>
                    <a:pt x="1658" y="1759"/>
                    <a:pt x="1408" y="1509"/>
                  </a:cubicBezTo>
                  <a:cubicBezTo>
                    <a:pt x="1157" y="1257"/>
                    <a:pt x="905" y="1006"/>
                    <a:pt x="654" y="754"/>
                  </a:cubicBezTo>
                  <a:close/>
                  <a:moveTo>
                    <a:pt x="2328" y="2088"/>
                  </a:moveTo>
                  <a:lnTo>
                    <a:pt x="2328" y="2088"/>
                  </a:lnTo>
                  <a:cubicBezTo>
                    <a:pt x="1578" y="1334"/>
                    <a:pt x="1828" y="1585"/>
                    <a:pt x="1578" y="1334"/>
                  </a:cubicBezTo>
                  <a:cubicBezTo>
                    <a:pt x="829" y="584"/>
                    <a:pt x="1079" y="834"/>
                    <a:pt x="829" y="584"/>
                  </a:cubicBezTo>
                  <a:cubicBezTo>
                    <a:pt x="930" y="484"/>
                    <a:pt x="896" y="517"/>
                    <a:pt x="930" y="484"/>
                  </a:cubicBezTo>
                  <a:cubicBezTo>
                    <a:pt x="2434" y="1982"/>
                    <a:pt x="1933" y="1483"/>
                    <a:pt x="2434" y="1982"/>
                  </a:cubicBezTo>
                  <a:cubicBezTo>
                    <a:pt x="2399" y="2017"/>
                    <a:pt x="2363" y="2053"/>
                    <a:pt x="2328" y="2088"/>
                  </a:cubicBezTo>
                  <a:close/>
                  <a:moveTo>
                    <a:pt x="1477" y="760"/>
                  </a:moveTo>
                  <a:lnTo>
                    <a:pt x="1477" y="760"/>
                  </a:lnTo>
                  <a:cubicBezTo>
                    <a:pt x="1615" y="898"/>
                    <a:pt x="1569" y="852"/>
                    <a:pt x="1615" y="898"/>
                  </a:cubicBezTo>
                  <a:cubicBezTo>
                    <a:pt x="1685" y="829"/>
                    <a:pt x="1662" y="852"/>
                    <a:pt x="1685" y="829"/>
                  </a:cubicBezTo>
                  <a:cubicBezTo>
                    <a:pt x="1546" y="691"/>
                    <a:pt x="1592" y="737"/>
                    <a:pt x="1546" y="691"/>
                  </a:cubicBezTo>
                  <a:cubicBezTo>
                    <a:pt x="1637" y="606"/>
                    <a:pt x="1607" y="634"/>
                    <a:pt x="1637" y="606"/>
                  </a:cubicBezTo>
                  <a:cubicBezTo>
                    <a:pt x="1775" y="744"/>
                    <a:pt x="1729" y="698"/>
                    <a:pt x="1775" y="744"/>
                  </a:cubicBezTo>
                  <a:cubicBezTo>
                    <a:pt x="1844" y="675"/>
                    <a:pt x="1821" y="698"/>
                    <a:pt x="1844" y="675"/>
                  </a:cubicBezTo>
                  <a:cubicBezTo>
                    <a:pt x="1706" y="537"/>
                    <a:pt x="1752" y="583"/>
                    <a:pt x="1706" y="537"/>
                  </a:cubicBezTo>
                  <a:cubicBezTo>
                    <a:pt x="1791" y="446"/>
                    <a:pt x="1763" y="476"/>
                    <a:pt x="1791" y="446"/>
                  </a:cubicBezTo>
                  <a:cubicBezTo>
                    <a:pt x="1929" y="584"/>
                    <a:pt x="1883" y="538"/>
                    <a:pt x="1929" y="584"/>
                  </a:cubicBezTo>
                  <a:cubicBezTo>
                    <a:pt x="1998" y="515"/>
                    <a:pt x="1975" y="538"/>
                    <a:pt x="1998" y="515"/>
                  </a:cubicBezTo>
                  <a:cubicBezTo>
                    <a:pt x="1860" y="377"/>
                    <a:pt x="1906" y="423"/>
                    <a:pt x="1860" y="377"/>
                  </a:cubicBezTo>
                  <a:cubicBezTo>
                    <a:pt x="1951" y="292"/>
                    <a:pt x="1921" y="320"/>
                    <a:pt x="1951" y="292"/>
                  </a:cubicBezTo>
                  <a:cubicBezTo>
                    <a:pt x="2088" y="430"/>
                    <a:pt x="2042" y="384"/>
                    <a:pt x="2088" y="430"/>
                  </a:cubicBezTo>
                  <a:cubicBezTo>
                    <a:pt x="2152" y="361"/>
                    <a:pt x="2131" y="384"/>
                    <a:pt x="2152" y="361"/>
                  </a:cubicBezTo>
                  <a:cubicBezTo>
                    <a:pt x="2019" y="223"/>
                    <a:pt x="2063" y="269"/>
                    <a:pt x="2019" y="223"/>
                  </a:cubicBezTo>
                  <a:cubicBezTo>
                    <a:pt x="2105" y="133"/>
                    <a:pt x="2076" y="163"/>
                    <a:pt x="2105" y="133"/>
                  </a:cubicBezTo>
                  <a:cubicBezTo>
                    <a:pt x="2551" y="579"/>
                    <a:pt x="2402" y="430"/>
                    <a:pt x="2551" y="579"/>
                  </a:cubicBezTo>
                  <a:cubicBezTo>
                    <a:pt x="1860" y="1275"/>
                    <a:pt x="2090" y="1043"/>
                    <a:pt x="1860" y="1275"/>
                  </a:cubicBezTo>
                  <a:cubicBezTo>
                    <a:pt x="1413" y="829"/>
                    <a:pt x="1562" y="978"/>
                    <a:pt x="1413" y="829"/>
                  </a:cubicBezTo>
                  <a:cubicBezTo>
                    <a:pt x="1434" y="806"/>
                    <a:pt x="1456" y="783"/>
                    <a:pt x="1477" y="760"/>
                  </a:cubicBezTo>
                  <a:close/>
                  <a:moveTo>
                    <a:pt x="329" y="329"/>
                  </a:moveTo>
                  <a:lnTo>
                    <a:pt x="329" y="329"/>
                  </a:lnTo>
                  <a:cubicBezTo>
                    <a:pt x="388" y="265"/>
                    <a:pt x="467" y="234"/>
                    <a:pt x="553" y="234"/>
                  </a:cubicBezTo>
                  <a:cubicBezTo>
                    <a:pt x="621" y="234"/>
                    <a:pt x="685" y="255"/>
                    <a:pt x="739" y="297"/>
                  </a:cubicBezTo>
                  <a:cubicBezTo>
                    <a:pt x="297" y="739"/>
                    <a:pt x="444" y="592"/>
                    <a:pt x="297" y="739"/>
                  </a:cubicBezTo>
                  <a:cubicBezTo>
                    <a:pt x="260" y="685"/>
                    <a:pt x="239" y="616"/>
                    <a:pt x="239" y="552"/>
                  </a:cubicBezTo>
                  <a:cubicBezTo>
                    <a:pt x="239" y="467"/>
                    <a:pt x="271" y="388"/>
                    <a:pt x="329" y="329"/>
                  </a:cubicBezTo>
                  <a:close/>
                  <a:moveTo>
                    <a:pt x="808" y="361"/>
                  </a:moveTo>
                  <a:lnTo>
                    <a:pt x="808" y="361"/>
                  </a:lnTo>
                  <a:cubicBezTo>
                    <a:pt x="861" y="414"/>
                    <a:pt x="843" y="396"/>
                    <a:pt x="861" y="414"/>
                  </a:cubicBezTo>
                  <a:cubicBezTo>
                    <a:pt x="414" y="861"/>
                    <a:pt x="563" y="712"/>
                    <a:pt x="414" y="861"/>
                  </a:cubicBezTo>
                  <a:cubicBezTo>
                    <a:pt x="366" y="808"/>
                    <a:pt x="382" y="826"/>
                    <a:pt x="366" y="808"/>
                  </a:cubicBezTo>
                  <a:cubicBezTo>
                    <a:pt x="513" y="659"/>
                    <a:pt x="661" y="510"/>
                    <a:pt x="808" y="361"/>
                  </a:cubicBezTo>
                  <a:close/>
                  <a:moveTo>
                    <a:pt x="584" y="2551"/>
                  </a:moveTo>
                  <a:lnTo>
                    <a:pt x="584" y="2551"/>
                  </a:lnTo>
                  <a:cubicBezTo>
                    <a:pt x="138" y="2105"/>
                    <a:pt x="287" y="2254"/>
                    <a:pt x="138" y="2105"/>
                  </a:cubicBezTo>
                  <a:cubicBezTo>
                    <a:pt x="229" y="2014"/>
                    <a:pt x="199" y="2044"/>
                    <a:pt x="229" y="2014"/>
                  </a:cubicBezTo>
                  <a:cubicBezTo>
                    <a:pt x="361" y="2152"/>
                    <a:pt x="317" y="2106"/>
                    <a:pt x="361" y="2152"/>
                  </a:cubicBezTo>
                  <a:cubicBezTo>
                    <a:pt x="430" y="2083"/>
                    <a:pt x="407" y="2106"/>
                    <a:pt x="430" y="2083"/>
                  </a:cubicBezTo>
                  <a:cubicBezTo>
                    <a:pt x="292" y="1945"/>
                    <a:pt x="338" y="1991"/>
                    <a:pt x="292" y="1945"/>
                  </a:cubicBezTo>
                  <a:cubicBezTo>
                    <a:pt x="383" y="1860"/>
                    <a:pt x="353" y="1888"/>
                    <a:pt x="383" y="1860"/>
                  </a:cubicBezTo>
                  <a:cubicBezTo>
                    <a:pt x="520" y="1993"/>
                    <a:pt x="474" y="1949"/>
                    <a:pt x="520" y="1993"/>
                  </a:cubicBezTo>
                  <a:cubicBezTo>
                    <a:pt x="590" y="1929"/>
                    <a:pt x="567" y="1950"/>
                    <a:pt x="590" y="1929"/>
                  </a:cubicBezTo>
                  <a:cubicBezTo>
                    <a:pt x="452" y="1791"/>
                    <a:pt x="498" y="1837"/>
                    <a:pt x="452" y="1791"/>
                  </a:cubicBezTo>
                  <a:cubicBezTo>
                    <a:pt x="542" y="1700"/>
                    <a:pt x="512" y="1730"/>
                    <a:pt x="542" y="1700"/>
                  </a:cubicBezTo>
                  <a:cubicBezTo>
                    <a:pt x="675" y="1839"/>
                    <a:pt x="631" y="1793"/>
                    <a:pt x="675" y="1839"/>
                  </a:cubicBezTo>
                  <a:cubicBezTo>
                    <a:pt x="744" y="1769"/>
                    <a:pt x="721" y="1792"/>
                    <a:pt x="744" y="1769"/>
                  </a:cubicBezTo>
                  <a:cubicBezTo>
                    <a:pt x="606" y="1632"/>
                    <a:pt x="652" y="1678"/>
                    <a:pt x="606" y="1632"/>
                  </a:cubicBezTo>
                  <a:cubicBezTo>
                    <a:pt x="696" y="1546"/>
                    <a:pt x="666" y="1575"/>
                    <a:pt x="696" y="1546"/>
                  </a:cubicBezTo>
                  <a:cubicBezTo>
                    <a:pt x="834" y="1679"/>
                    <a:pt x="788" y="1635"/>
                    <a:pt x="834" y="1679"/>
                  </a:cubicBezTo>
                  <a:cubicBezTo>
                    <a:pt x="903" y="1615"/>
                    <a:pt x="880" y="1636"/>
                    <a:pt x="903" y="1615"/>
                  </a:cubicBezTo>
                  <a:cubicBezTo>
                    <a:pt x="765" y="1477"/>
                    <a:pt x="811" y="1523"/>
                    <a:pt x="765" y="1477"/>
                  </a:cubicBezTo>
                  <a:cubicBezTo>
                    <a:pt x="829" y="1408"/>
                    <a:pt x="808" y="1431"/>
                    <a:pt x="829" y="1408"/>
                  </a:cubicBezTo>
                  <a:cubicBezTo>
                    <a:pt x="1276" y="1855"/>
                    <a:pt x="1127" y="1706"/>
                    <a:pt x="1276" y="1855"/>
                  </a:cubicBezTo>
                  <a:cubicBezTo>
                    <a:pt x="1045" y="2087"/>
                    <a:pt x="815" y="2319"/>
                    <a:pt x="584" y="2551"/>
                  </a:cubicBezTo>
                  <a:close/>
                  <a:moveTo>
                    <a:pt x="484" y="924"/>
                  </a:moveTo>
                  <a:lnTo>
                    <a:pt x="484" y="924"/>
                  </a:lnTo>
                  <a:cubicBezTo>
                    <a:pt x="590" y="823"/>
                    <a:pt x="555" y="857"/>
                    <a:pt x="590" y="823"/>
                  </a:cubicBezTo>
                  <a:cubicBezTo>
                    <a:pt x="1339" y="1573"/>
                    <a:pt x="1089" y="1323"/>
                    <a:pt x="1339" y="1573"/>
                  </a:cubicBezTo>
                  <a:cubicBezTo>
                    <a:pt x="2088" y="2322"/>
                    <a:pt x="1838" y="2072"/>
                    <a:pt x="2088" y="2322"/>
                  </a:cubicBezTo>
                  <a:cubicBezTo>
                    <a:pt x="1987" y="2429"/>
                    <a:pt x="2021" y="2393"/>
                    <a:pt x="1987" y="2429"/>
                  </a:cubicBezTo>
                  <a:cubicBezTo>
                    <a:pt x="1486" y="1927"/>
                    <a:pt x="985" y="1426"/>
                    <a:pt x="484" y="924"/>
                  </a:cubicBezTo>
                  <a:close/>
                </a:path>
              </a:pathLst>
            </a:custGeom>
            <a:solidFill>
              <a:schemeClr val="bg1"/>
            </a:solidFill>
            <a:ln>
              <a:noFill/>
            </a:ln>
            <a:effec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grpSp>
          <p:nvGrpSpPr>
            <p:cNvPr id="42" name="Group 40">
              <a:extLst>
                <a:ext uri="{FF2B5EF4-FFF2-40B4-BE49-F238E27FC236}">
                  <a16:creationId xmlns:a16="http://schemas.microsoft.com/office/drawing/2014/main" id="{B276FE54-FF97-8649-B81A-F507A74BED58}"/>
                </a:ext>
              </a:extLst>
            </p:cNvPr>
            <p:cNvGrpSpPr/>
            <p:nvPr userDrawn="1"/>
          </p:nvGrpSpPr>
          <p:grpSpPr>
            <a:xfrm>
              <a:off x="12376171" y="2900579"/>
              <a:ext cx="539730" cy="464401"/>
              <a:chOff x="4881563" y="6607175"/>
              <a:chExt cx="1103313" cy="949325"/>
            </a:xfrm>
            <a:solidFill>
              <a:schemeClr val="bg1"/>
            </a:solidFill>
          </p:grpSpPr>
          <p:sp>
            <p:nvSpPr>
              <p:cNvPr id="43" name="Freeform 263">
                <a:extLst>
                  <a:ext uri="{FF2B5EF4-FFF2-40B4-BE49-F238E27FC236}">
                    <a16:creationId xmlns:a16="http://schemas.microsoft.com/office/drawing/2014/main" id="{09A93AA6-391E-AF1D-4885-995AA7FB3834}"/>
                  </a:ext>
                </a:extLst>
              </p:cNvPr>
              <p:cNvSpPr>
                <a:spLocks noChangeArrowheads="1"/>
              </p:cNvSpPr>
              <p:nvPr/>
            </p:nvSpPr>
            <p:spPr bwMode="auto">
              <a:xfrm>
                <a:off x="5256213" y="6981825"/>
                <a:ext cx="152400" cy="200025"/>
              </a:xfrm>
              <a:custGeom>
                <a:avLst/>
                <a:gdLst>
                  <a:gd name="T0" fmla="*/ 0 w 432"/>
                  <a:gd name="T1" fmla="*/ 281 h 564"/>
                  <a:gd name="T2" fmla="*/ 0 w 432"/>
                  <a:gd name="T3" fmla="*/ 281 h 564"/>
                  <a:gd name="T4" fmla="*/ 282 w 432"/>
                  <a:gd name="T5" fmla="*/ 563 h 564"/>
                  <a:gd name="T6" fmla="*/ 431 w 432"/>
                  <a:gd name="T7" fmla="*/ 521 h 564"/>
                  <a:gd name="T8" fmla="*/ 378 w 432"/>
                  <a:gd name="T9" fmla="*/ 435 h 564"/>
                  <a:gd name="T10" fmla="*/ 282 w 432"/>
                  <a:gd name="T11" fmla="*/ 468 h 564"/>
                  <a:gd name="T12" fmla="*/ 96 w 432"/>
                  <a:gd name="T13" fmla="*/ 281 h 564"/>
                  <a:gd name="T14" fmla="*/ 282 w 432"/>
                  <a:gd name="T15" fmla="*/ 96 h 564"/>
                  <a:gd name="T16" fmla="*/ 378 w 432"/>
                  <a:gd name="T17" fmla="*/ 122 h 564"/>
                  <a:gd name="T18" fmla="*/ 431 w 432"/>
                  <a:gd name="T19" fmla="*/ 37 h 564"/>
                  <a:gd name="T20" fmla="*/ 282 w 432"/>
                  <a:gd name="T21" fmla="*/ 0 h 564"/>
                  <a:gd name="T22" fmla="*/ 0 w 432"/>
                  <a:gd name="T23" fmla="*/ 28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2" h="564">
                    <a:moveTo>
                      <a:pt x="0" y="281"/>
                    </a:moveTo>
                    <a:lnTo>
                      <a:pt x="0" y="281"/>
                    </a:lnTo>
                    <a:cubicBezTo>
                      <a:pt x="0" y="435"/>
                      <a:pt x="128" y="563"/>
                      <a:pt x="282" y="563"/>
                    </a:cubicBezTo>
                    <a:cubicBezTo>
                      <a:pt x="335" y="563"/>
                      <a:pt x="383" y="547"/>
                      <a:pt x="431" y="521"/>
                    </a:cubicBezTo>
                    <a:cubicBezTo>
                      <a:pt x="378" y="435"/>
                      <a:pt x="396" y="464"/>
                      <a:pt x="378" y="435"/>
                    </a:cubicBezTo>
                    <a:cubicBezTo>
                      <a:pt x="351" y="457"/>
                      <a:pt x="314" y="468"/>
                      <a:pt x="282" y="468"/>
                    </a:cubicBezTo>
                    <a:cubicBezTo>
                      <a:pt x="181" y="468"/>
                      <a:pt x="96" y="382"/>
                      <a:pt x="96" y="281"/>
                    </a:cubicBezTo>
                    <a:cubicBezTo>
                      <a:pt x="96" y="175"/>
                      <a:pt x="181" y="96"/>
                      <a:pt x="282" y="96"/>
                    </a:cubicBezTo>
                    <a:cubicBezTo>
                      <a:pt x="314" y="96"/>
                      <a:pt x="351" y="101"/>
                      <a:pt x="378" y="122"/>
                    </a:cubicBezTo>
                    <a:cubicBezTo>
                      <a:pt x="431" y="37"/>
                      <a:pt x="414" y="65"/>
                      <a:pt x="431" y="37"/>
                    </a:cubicBezTo>
                    <a:cubicBezTo>
                      <a:pt x="383" y="10"/>
                      <a:pt x="335" y="0"/>
                      <a:pt x="282" y="0"/>
                    </a:cubicBezTo>
                    <a:cubicBezTo>
                      <a:pt x="128" y="0"/>
                      <a:pt x="0" y="122"/>
                      <a:pt x="0" y="28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44" name="Freeform 264">
                <a:extLst>
                  <a:ext uri="{FF2B5EF4-FFF2-40B4-BE49-F238E27FC236}">
                    <a16:creationId xmlns:a16="http://schemas.microsoft.com/office/drawing/2014/main" id="{A962A61A-4436-9C12-3BB7-168E9259FB11}"/>
                  </a:ext>
                </a:extLst>
              </p:cNvPr>
              <p:cNvSpPr>
                <a:spLocks noChangeArrowheads="1"/>
              </p:cNvSpPr>
              <p:nvPr/>
            </p:nvSpPr>
            <p:spPr bwMode="auto">
              <a:xfrm>
                <a:off x="4881563" y="6607175"/>
                <a:ext cx="1103313" cy="949325"/>
              </a:xfrm>
              <a:custGeom>
                <a:avLst/>
                <a:gdLst>
                  <a:gd name="T0" fmla="*/ 3029 w 3073"/>
                  <a:gd name="T1" fmla="*/ 1212 h 2648"/>
                  <a:gd name="T2" fmla="*/ 2790 w 3073"/>
                  <a:gd name="T3" fmla="*/ 1169 h 2648"/>
                  <a:gd name="T4" fmla="*/ 2636 w 3073"/>
                  <a:gd name="T5" fmla="*/ 1169 h 2648"/>
                  <a:gd name="T6" fmla="*/ 1323 w 3073"/>
                  <a:gd name="T7" fmla="*/ 0 h 2648"/>
                  <a:gd name="T8" fmla="*/ 1323 w 3073"/>
                  <a:gd name="T9" fmla="*/ 2647 h 2648"/>
                  <a:gd name="T10" fmla="*/ 2636 w 3073"/>
                  <a:gd name="T11" fmla="*/ 1477 h 2648"/>
                  <a:gd name="T12" fmla="*/ 2790 w 3073"/>
                  <a:gd name="T13" fmla="*/ 1477 h 2648"/>
                  <a:gd name="T14" fmla="*/ 3029 w 3073"/>
                  <a:gd name="T15" fmla="*/ 1430 h 2648"/>
                  <a:gd name="T16" fmla="*/ 3029 w 3073"/>
                  <a:gd name="T17" fmla="*/ 1212 h 2648"/>
                  <a:gd name="T18" fmla="*/ 1323 w 3073"/>
                  <a:gd name="T19" fmla="*/ 2551 h 2648"/>
                  <a:gd name="T20" fmla="*/ 1323 w 3073"/>
                  <a:gd name="T21" fmla="*/ 96 h 2648"/>
                  <a:gd name="T22" fmla="*/ 2285 w 3073"/>
                  <a:gd name="T23" fmla="*/ 1169 h 2648"/>
                  <a:gd name="T24" fmla="*/ 345 w 3073"/>
                  <a:gd name="T25" fmla="*/ 1323 h 2648"/>
                  <a:gd name="T26" fmla="*/ 2285 w 3073"/>
                  <a:gd name="T27" fmla="*/ 1477 h 2648"/>
                  <a:gd name="T28" fmla="*/ 1323 w 3073"/>
                  <a:gd name="T29" fmla="*/ 2551 h 2648"/>
                  <a:gd name="T30" fmla="*/ 1509 w 3073"/>
                  <a:gd name="T31" fmla="*/ 1355 h 2648"/>
                  <a:gd name="T32" fmla="*/ 1509 w 3073"/>
                  <a:gd name="T33" fmla="*/ 1286 h 2648"/>
                  <a:gd name="T34" fmla="*/ 1557 w 3073"/>
                  <a:gd name="T35" fmla="*/ 1169 h 2648"/>
                  <a:gd name="T36" fmla="*/ 1536 w 3073"/>
                  <a:gd name="T37" fmla="*/ 1169 h 2648"/>
                  <a:gd name="T38" fmla="*/ 1206 w 3073"/>
                  <a:gd name="T39" fmla="*/ 1323 h 2648"/>
                  <a:gd name="T40" fmla="*/ 1536 w 3073"/>
                  <a:gd name="T41" fmla="*/ 1472 h 2648"/>
                  <a:gd name="T42" fmla="*/ 1833 w 3073"/>
                  <a:gd name="T43" fmla="*/ 1477 h 2648"/>
                  <a:gd name="T44" fmla="*/ 791 w 3073"/>
                  <a:gd name="T45" fmla="*/ 1323 h 2648"/>
                  <a:gd name="T46" fmla="*/ 1833 w 3073"/>
                  <a:gd name="T47" fmla="*/ 1169 h 2648"/>
                  <a:gd name="T48" fmla="*/ 1934 w 3073"/>
                  <a:gd name="T49" fmla="*/ 1169 h 2648"/>
                  <a:gd name="T50" fmla="*/ 1323 w 3073"/>
                  <a:gd name="T51" fmla="*/ 691 h 2648"/>
                  <a:gd name="T52" fmla="*/ 1323 w 3073"/>
                  <a:gd name="T53" fmla="*/ 1951 h 2648"/>
                  <a:gd name="T54" fmla="*/ 2189 w 3073"/>
                  <a:gd name="T55" fmla="*/ 1477 h 2648"/>
                  <a:gd name="T56" fmla="*/ 441 w 3073"/>
                  <a:gd name="T57" fmla="*/ 1323 h 2648"/>
                  <a:gd name="T58" fmla="*/ 2189 w 3073"/>
                  <a:gd name="T59" fmla="*/ 1169 h 2648"/>
                  <a:gd name="T60" fmla="*/ 2742 w 3073"/>
                  <a:gd name="T61" fmla="*/ 1382 h 2648"/>
                  <a:gd name="T62" fmla="*/ 1605 w 3073"/>
                  <a:gd name="T63" fmla="*/ 1382 h 2648"/>
                  <a:gd name="T64" fmla="*/ 2742 w 3073"/>
                  <a:gd name="T65" fmla="*/ 1265 h 2648"/>
                  <a:gd name="T66" fmla="*/ 2960 w 3073"/>
                  <a:gd name="T67" fmla="*/ 1361 h 2648"/>
                  <a:gd name="T68" fmla="*/ 2918 w 3073"/>
                  <a:gd name="T69" fmla="*/ 1382 h 2648"/>
                  <a:gd name="T70" fmla="*/ 2838 w 3073"/>
                  <a:gd name="T71" fmla="*/ 1265 h 2648"/>
                  <a:gd name="T72" fmla="*/ 2960 w 3073"/>
                  <a:gd name="T73" fmla="*/ 1281 h 2648"/>
                  <a:gd name="T74" fmla="*/ 2960 w 3073"/>
                  <a:gd name="T75" fmla="*/ 1361 h 2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73" h="2648">
                    <a:moveTo>
                      <a:pt x="3029" y="1212"/>
                    </a:moveTo>
                    <a:lnTo>
                      <a:pt x="3029" y="1212"/>
                    </a:lnTo>
                    <a:cubicBezTo>
                      <a:pt x="2997" y="1186"/>
                      <a:pt x="2960" y="1169"/>
                      <a:pt x="2918" y="1169"/>
                    </a:cubicBezTo>
                    <a:cubicBezTo>
                      <a:pt x="2790" y="1169"/>
                      <a:pt x="2833" y="1169"/>
                      <a:pt x="2790" y="1169"/>
                    </a:cubicBezTo>
                    <a:cubicBezTo>
                      <a:pt x="2742" y="1169"/>
                      <a:pt x="2758" y="1169"/>
                      <a:pt x="2742" y="1169"/>
                    </a:cubicBezTo>
                    <a:cubicBezTo>
                      <a:pt x="2636" y="1169"/>
                      <a:pt x="2672" y="1169"/>
                      <a:pt x="2636" y="1169"/>
                    </a:cubicBezTo>
                    <a:cubicBezTo>
                      <a:pt x="2599" y="856"/>
                      <a:pt x="2455" y="564"/>
                      <a:pt x="2221" y="351"/>
                    </a:cubicBezTo>
                    <a:cubicBezTo>
                      <a:pt x="1977" y="122"/>
                      <a:pt x="1658" y="0"/>
                      <a:pt x="1323" y="0"/>
                    </a:cubicBezTo>
                    <a:cubicBezTo>
                      <a:pt x="595" y="0"/>
                      <a:pt x="0" y="590"/>
                      <a:pt x="0" y="1323"/>
                    </a:cubicBezTo>
                    <a:cubicBezTo>
                      <a:pt x="0" y="2051"/>
                      <a:pt x="595" y="2647"/>
                      <a:pt x="1323" y="2647"/>
                    </a:cubicBezTo>
                    <a:cubicBezTo>
                      <a:pt x="1658" y="2647"/>
                      <a:pt x="1977" y="2519"/>
                      <a:pt x="2221" y="2291"/>
                    </a:cubicBezTo>
                    <a:cubicBezTo>
                      <a:pt x="2455" y="2078"/>
                      <a:pt x="2599" y="1786"/>
                      <a:pt x="2636" y="1477"/>
                    </a:cubicBezTo>
                    <a:cubicBezTo>
                      <a:pt x="2742" y="1477"/>
                      <a:pt x="2707" y="1477"/>
                      <a:pt x="2742" y="1477"/>
                    </a:cubicBezTo>
                    <a:cubicBezTo>
                      <a:pt x="2790" y="1477"/>
                      <a:pt x="2774" y="1477"/>
                      <a:pt x="2790" y="1477"/>
                    </a:cubicBezTo>
                    <a:cubicBezTo>
                      <a:pt x="2918" y="1477"/>
                      <a:pt x="2876" y="1477"/>
                      <a:pt x="2918" y="1477"/>
                    </a:cubicBezTo>
                    <a:cubicBezTo>
                      <a:pt x="2960" y="1477"/>
                      <a:pt x="2997" y="1462"/>
                      <a:pt x="3029" y="1430"/>
                    </a:cubicBezTo>
                    <a:cubicBezTo>
                      <a:pt x="3056" y="1403"/>
                      <a:pt x="3072" y="1361"/>
                      <a:pt x="3072" y="1323"/>
                    </a:cubicBezTo>
                    <a:cubicBezTo>
                      <a:pt x="3072" y="1281"/>
                      <a:pt x="3056" y="1239"/>
                      <a:pt x="3029" y="1212"/>
                    </a:cubicBezTo>
                    <a:close/>
                    <a:moveTo>
                      <a:pt x="1323" y="2551"/>
                    </a:moveTo>
                    <a:lnTo>
                      <a:pt x="1323" y="2551"/>
                    </a:lnTo>
                    <a:cubicBezTo>
                      <a:pt x="648" y="2551"/>
                      <a:pt x="95" y="1998"/>
                      <a:pt x="95" y="1323"/>
                    </a:cubicBezTo>
                    <a:cubicBezTo>
                      <a:pt x="95" y="643"/>
                      <a:pt x="648" y="96"/>
                      <a:pt x="1323" y="96"/>
                    </a:cubicBezTo>
                    <a:cubicBezTo>
                      <a:pt x="1939" y="96"/>
                      <a:pt x="2466" y="558"/>
                      <a:pt x="2540" y="1169"/>
                    </a:cubicBezTo>
                    <a:cubicBezTo>
                      <a:pt x="2285" y="1169"/>
                      <a:pt x="2370" y="1169"/>
                      <a:pt x="2285" y="1169"/>
                    </a:cubicBezTo>
                    <a:cubicBezTo>
                      <a:pt x="2211" y="696"/>
                      <a:pt x="1807" y="346"/>
                      <a:pt x="1323" y="346"/>
                    </a:cubicBezTo>
                    <a:cubicBezTo>
                      <a:pt x="786" y="346"/>
                      <a:pt x="345" y="781"/>
                      <a:pt x="345" y="1323"/>
                    </a:cubicBezTo>
                    <a:cubicBezTo>
                      <a:pt x="345" y="1860"/>
                      <a:pt x="786" y="2296"/>
                      <a:pt x="1323" y="2296"/>
                    </a:cubicBezTo>
                    <a:cubicBezTo>
                      <a:pt x="1807" y="2296"/>
                      <a:pt x="2211" y="1945"/>
                      <a:pt x="2285" y="1477"/>
                    </a:cubicBezTo>
                    <a:cubicBezTo>
                      <a:pt x="2540" y="1477"/>
                      <a:pt x="2455" y="1477"/>
                      <a:pt x="2540" y="1477"/>
                    </a:cubicBezTo>
                    <a:cubicBezTo>
                      <a:pt x="2466" y="2084"/>
                      <a:pt x="1939" y="2551"/>
                      <a:pt x="1323" y="2551"/>
                    </a:cubicBezTo>
                    <a:close/>
                    <a:moveTo>
                      <a:pt x="1509" y="1355"/>
                    </a:moveTo>
                    <a:lnTo>
                      <a:pt x="1509" y="1355"/>
                    </a:lnTo>
                    <a:cubicBezTo>
                      <a:pt x="1440" y="1323"/>
                      <a:pt x="1463" y="1334"/>
                      <a:pt x="1440" y="1323"/>
                    </a:cubicBezTo>
                    <a:cubicBezTo>
                      <a:pt x="1509" y="1286"/>
                      <a:pt x="1486" y="1298"/>
                      <a:pt x="1509" y="1286"/>
                    </a:cubicBezTo>
                    <a:cubicBezTo>
                      <a:pt x="1509" y="1309"/>
                      <a:pt x="1509" y="1332"/>
                      <a:pt x="1509" y="1355"/>
                    </a:cubicBezTo>
                    <a:close/>
                    <a:moveTo>
                      <a:pt x="1557" y="1169"/>
                    </a:moveTo>
                    <a:lnTo>
                      <a:pt x="1557" y="1169"/>
                    </a:lnTo>
                    <a:cubicBezTo>
                      <a:pt x="1552" y="1169"/>
                      <a:pt x="1547" y="1169"/>
                      <a:pt x="1536" y="1169"/>
                    </a:cubicBezTo>
                    <a:lnTo>
                      <a:pt x="1536" y="1169"/>
                    </a:lnTo>
                    <a:cubicBezTo>
                      <a:pt x="1206" y="1323"/>
                      <a:pt x="1316" y="1272"/>
                      <a:pt x="1206" y="1323"/>
                    </a:cubicBezTo>
                    <a:cubicBezTo>
                      <a:pt x="1536" y="1472"/>
                      <a:pt x="1426" y="1422"/>
                      <a:pt x="1536" y="1472"/>
                    </a:cubicBezTo>
                    <a:lnTo>
                      <a:pt x="1536" y="1472"/>
                    </a:lnTo>
                    <a:cubicBezTo>
                      <a:pt x="1547" y="1472"/>
                      <a:pt x="1552" y="1477"/>
                      <a:pt x="1557" y="1477"/>
                    </a:cubicBezTo>
                    <a:cubicBezTo>
                      <a:pt x="1833" y="1477"/>
                      <a:pt x="1741" y="1477"/>
                      <a:pt x="1833" y="1477"/>
                    </a:cubicBezTo>
                    <a:cubicBezTo>
                      <a:pt x="1764" y="1696"/>
                      <a:pt x="1562" y="1855"/>
                      <a:pt x="1323" y="1855"/>
                    </a:cubicBezTo>
                    <a:cubicBezTo>
                      <a:pt x="1031" y="1855"/>
                      <a:pt x="791" y="1616"/>
                      <a:pt x="791" y="1323"/>
                    </a:cubicBezTo>
                    <a:cubicBezTo>
                      <a:pt x="791" y="1026"/>
                      <a:pt x="1031" y="787"/>
                      <a:pt x="1323" y="787"/>
                    </a:cubicBezTo>
                    <a:cubicBezTo>
                      <a:pt x="1562" y="787"/>
                      <a:pt x="1764" y="946"/>
                      <a:pt x="1833" y="1169"/>
                    </a:cubicBezTo>
                    <a:cubicBezTo>
                      <a:pt x="1741" y="1169"/>
                      <a:pt x="1649" y="1169"/>
                      <a:pt x="1557" y="1169"/>
                    </a:cubicBezTo>
                    <a:close/>
                    <a:moveTo>
                      <a:pt x="1934" y="1169"/>
                    </a:moveTo>
                    <a:lnTo>
                      <a:pt x="1934" y="1169"/>
                    </a:lnTo>
                    <a:cubicBezTo>
                      <a:pt x="1865" y="888"/>
                      <a:pt x="1610" y="691"/>
                      <a:pt x="1323" y="691"/>
                    </a:cubicBezTo>
                    <a:cubicBezTo>
                      <a:pt x="978" y="691"/>
                      <a:pt x="696" y="973"/>
                      <a:pt x="696" y="1323"/>
                    </a:cubicBezTo>
                    <a:cubicBezTo>
                      <a:pt x="696" y="1669"/>
                      <a:pt x="978" y="1951"/>
                      <a:pt x="1323" y="1951"/>
                    </a:cubicBezTo>
                    <a:cubicBezTo>
                      <a:pt x="1610" y="1951"/>
                      <a:pt x="1865" y="1754"/>
                      <a:pt x="1934" y="1477"/>
                    </a:cubicBezTo>
                    <a:cubicBezTo>
                      <a:pt x="2189" y="1477"/>
                      <a:pt x="2104" y="1477"/>
                      <a:pt x="2189" y="1477"/>
                    </a:cubicBezTo>
                    <a:cubicBezTo>
                      <a:pt x="2115" y="1892"/>
                      <a:pt x="1754" y="2200"/>
                      <a:pt x="1323" y="2200"/>
                    </a:cubicBezTo>
                    <a:cubicBezTo>
                      <a:pt x="839" y="2200"/>
                      <a:pt x="441" y="1807"/>
                      <a:pt x="441" y="1323"/>
                    </a:cubicBezTo>
                    <a:cubicBezTo>
                      <a:pt x="441" y="835"/>
                      <a:pt x="839" y="441"/>
                      <a:pt x="1323" y="441"/>
                    </a:cubicBezTo>
                    <a:cubicBezTo>
                      <a:pt x="1754" y="441"/>
                      <a:pt x="2115" y="749"/>
                      <a:pt x="2189" y="1169"/>
                    </a:cubicBezTo>
                    <a:cubicBezTo>
                      <a:pt x="2104" y="1169"/>
                      <a:pt x="2019" y="1169"/>
                      <a:pt x="1934" y="1169"/>
                    </a:cubicBezTo>
                    <a:close/>
                    <a:moveTo>
                      <a:pt x="2742" y="1382"/>
                    </a:moveTo>
                    <a:lnTo>
                      <a:pt x="2742" y="1382"/>
                    </a:lnTo>
                    <a:cubicBezTo>
                      <a:pt x="1605" y="1382"/>
                      <a:pt x="1984" y="1382"/>
                      <a:pt x="1605" y="1382"/>
                    </a:cubicBezTo>
                    <a:cubicBezTo>
                      <a:pt x="1605" y="1265"/>
                      <a:pt x="1605" y="1304"/>
                      <a:pt x="1605" y="1265"/>
                    </a:cubicBezTo>
                    <a:cubicBezTo>
                      <a:pt x="2742" y="1265"/>
                      <a:pt x="2363" y="1265"/>
                      <a:pt x="2742" y="1265"/>
                    </a:cubicBezTo>
                    <a:cubicBezTo>
                      <a:pt x="2742" y="1304"/>
                      <a:pt x="2742" y="1343"/>
                      <a:pt x="2742" y="1382"/>
                    </a:cubicBezTo>
                    <a:close/>
                    <a:moveTo>
                      <a:pt x="2960" y="1361"/>
                    </a:moveTo>
                    <a:lnTo>
                      <a:pt x="2960" y="1361"/>
                    </a:lnTo>
                    <a:cubicBezTo>
                      <a:pt x="2950" y="1371"/>
                      <a:pt x="2933" y="1382"/>
                      <a:pt x="2918" y="1382"/>
                    </a:cubicBezTo>
                    <a:cubicBezTo>
                      <a:pt x="2838" y="1382"/>
                      <a:pt x="2865" y="1382"/>
                      <a:pt x="2838" y="1382"/>
                    </a:cubicBezTo>
                    <a:cubicBezTo>
                      <a:pt x="2838" y="1265"/>
                      <a:pt x="2838" y="1304"/>
                      <a:pt x="2838" y="1265"/>
                    </a:cubicBezTo>
                    <a:cubicBezTo>
                      <a:pt x="2918" y="1265"/>
                      <a:pt x="2892" y="1265"/>
                      <a:pt x="2918" y="1265"/>
                    </a:cubicBezTo>
                    <a:cubicBezTo>
                      <a:pt x="2933" y="1265"/>
                      <a:pt x="2950" y="1270"/>
                      <a:pt x="2960" y="1281"/>
                    </a:cubicBezTo>
                    <a:cubicBezTo>
                      <a:pt x="2971" y="1292"/>
                      <a:pt x="2976" y="1308"/>
                      <a:pt x="2976" y="1323"/>
                    </a:cubicBezTo>
                    <a:cubicBezTo>
                      <a:pt x="2976" y="1334"/>
                      <a:pt x="2971" y="1350"/>
                      <a:pt x="2960" y="1361"/>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grpSp>
        <p:grpSp>
          <p:nvGrpSpPr>
            <p:cNvPr id="45" name="Group 43">
              <a:extLst>
                <a:ext uri="{FF2B5EF4-FFF2-40B4-BE49-F238E27FC236}">
                  <a16:creationId xmlns:a16="http://schemas.microsoft.com/office/drawing/2014/main" id="{DBC6645C-9193-FD3F-C32C-FE4D00E37674}"/>
                </a:ext>
              </a:extLst>
            </p:cNvPr>
            <p:cNvGrpSpPr/>
            <p:nvPr userDrawn="1"/>
          </p:nvGrpSpPr>
          <p:grpSpPr>
            <a:xfrm>
              <a:off x="3843469" y="2718965"/>
              <a:ext cx="547962" cy="772796"/>
              <a:chOff x="144463" y="4872038"/>
              <a:chExt cx="769937" cy="1085850"/>
            </a:xfrm>
            <a:solidFill>
              <a:schemeClr val="bg1"/>
            </a:solidFill>
          </p:grpSpPr>
          <p:sp>
            <p:nvSpPr>
              <p:cNvPr id="46" name="Freeform 130">
                <a:extLst>
                  <a:ext uri="{FF2B5EF4-FFF2-40B4-BE49-F238E27FC236}">
                    <a16:creationId xmlns:a16="http://schemas.microsoft.com/office/drawing/2014/main" id="{CD6D15E8-9D32-B3A1-3957-CA198CA60D78}"/>
                  </a:ext>
                </a:extLst>
              </p:cNvPr>
              <p:cNvSpPr>
                <a:spLocks noChangeArrowheads="1"/>
              </p:cNvSpPr>
              <p:nvPr/>
            </p:nvSpPr>
            <p:spPr bwMode="auto">
              <a:xfrm>
                <a:off x="249238" y="4976813"/>
                <a:ext cx="558800" cy="981075"/>
              </a:xfrm>
              <a:custGeom>
                <a:avLst/>
                <a:gdLst>
                  <a:gd name="T0" fmla="*/ 826 w 1559"/>
                  <a:gd name="T1" fmla="*/ 1559 h 2732"/>
                  <a:gd name="T2" fmla="*/ 826 w 1559"/>
                  <a:gd name="T3" fmla="*/ 1559 h 2732"/>
                  <a:gd name="T4" fmla="*/ 1558 w 1559"/>
                  <a:gd name="T5" fmla="*/ 780 h 2732"/>
                  <a:gd name="T6" fmla="*/ 779 w 1559"/>
                  <a:gd name="T7" fmla="*/ 0 h 2732"/>
                  <a:gd name="T8" fmla="*/ 0 w 1559"/>
                  <a:gd name="T9" fmla="*/ 780 h 2732"/>
                  <a:gd name="T10" fmla="*/ 732 w 1559"/>
                  <a:gd name="T11" fmla="*/ 1559 h 2732"/>
                  <a:gd name="T12" fmla="*/ 732 w 1559"/>
                  <a:gd name="T13" fmla="*/ 1737 h 2732"/>
                  <a:gd name="T14" fmla="*/ 565 w 1559"/>
                  <a:gd name="T15" fmla="*/ 1737 h 2732"/>
                  <a:gd name="T16" fmla="*/ 565 w 1559"/>
                  <a:gd name="T17" fmla="*/ 2731 h 2732"/>
                  <a:gd name="T18" fmla="*/ 993 w 1559"/>
                  <a:gd name="T19" fmla="*/ 2731 h 2732"/>
                  <a:gd name="T20" fmla="*/ 993 w 1559"/>
                  <a:gd name="T21" fmla="*/ 1737 h 2732"/>
                  <a:gd name="T22" fmla="*/ 826 w 1559"/>
                  <a:gd name="T23" fmla="*/ 1737 h 2732"/>
                  <a:gd name="T24" fmla="*/ 826 w 1559"/>
                  <a:gd name="T25" fmla="*/ 1559 h 2732"/>
                  <a:gd name="T26" fmla="*/ 93 w 1559"/>
                  <a:gd name="T27" fmla="*/ 780 h 2732"/>
                  <a:gd name="T28" fmla="*/ 93 w 1559"/>
                  <a:gd name="T29" fmla="*/ 780 h 2732"/>
                  <a:gd name="T30" fmla="*/ 779 w 1559"/>
                  <a:gd name="T31" fmla="*/ 94 h 2732"/>
                  <a:gd name="T32" fmla="*/ 1464 w 1559"/>
                  <a:gd name="T33" fmla="*/ 780 h 2732"/>
                  <a:gd name="T34" fmla="*/ 779 w 1559"/>
                  <a:gd name="T35" fmla="*/ 1465 h 2732"/>
                  <a:gd name="T36" fmla="*/ 93 w 1559"/>
                  <a:gd name="T37" fmla="*/ 780 h 2732"/>
                  <a:gd name="T38" fmla="*/ 658 w 1559"/>
                  <a:gd name="T39" fmla="*/ 1998 h 2732"/>
                  <a:gd name="T40" fmla="*/ 658 w 1559"/>
                  <a:gd name="T41" fmla="*/ 1998 h 2732"/>
                  <a:gd name="T42" fmla="*/ 899 w 1559"/>
                  <a:gd name="T43" fmla="*/ 1998 h 2732"/>
                  <a:gd name="T44" fmla="*/ 899 w 1559"/>
                  <a:gd name="T45" fmla="*/ 2469 h 2732"/>
                  <a:gd name="T46" fmla="*/ 658 w 1559"/>
                  <a:gd name="T47" fmla="*/ 2469 h 2732"/>
                  <a:gd name="T48" fmla="*/ 658 w 1559"/>
                  <a:gd name="T49" fmla="*/ 1998 h 2732"/>
                  <a:gd name="T50" fmla="*/ 658 w 1559"/>
                  <a:gd name="T51" fmla="*/ 2637 h 2732"/>
                  <a:gd name="T52" fmla="*/ 658 w 1559"/>
                  <a:gd name="T53" fmla="*/ 2637 h 2732"/>
                  <a:gd name="T54" fmla="*/ 658 w 1559"/>
                  <a:gd name="T55" fmla="*/ 2563 h 2732"/>
                  <a:gd name="T56" fmla="*/ 899 w 1559"/>
                  <a:gd name="T57" fmla="*/ 2563 h 2732"/>
                  <a:gd name="T58" fmla="*/ 899 w 1559"/>
                  <a:gd name="T59" fmla="*/ 2637 h 2732"/>
                  <a:gd name="T60" fmla="*/ 658 w 1559"/>
                  <a:gd name="T61" fmla="*/ 2637 h 2732"/>
                  <a:gd name="T62" fmla="*/ 899 w 1559"/>
                  <a:gd name="T63" fmla="*/ 1904 h 2732"/>
                  <a:gd name="T64" fmla="*/ 899 w 1559"/>
                  <a:gd name="T65" fmla="*/ 1904 h 2732"/>
                  <a:gd name="T66" fmla="*/ 658 w 1559"/>
                  <a:gd name="T67" fmla="*/ 1904 h 2732"/>
                  <a:gd name="T68" fmla="*/ 658 w 1559"/>
                  <a:gd name="T69" fmla="*/ 1831 h 2732"/>
                  <a:gd name="T70" fmla="*/ 899 w 1559"/>
                  <a:gd name="T71" fmla="*/ 1831 h 2732"/>
                  <a:gd name="T72" fmla="*/ 899 w 1559"/>
                  <a:gd name="T73" fmla="*/ 1904 h 2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9" h="2732">
                    <a:moveTo>
                      <a:pt x="826" y="1559"/>
                    </a:moveTo>
                    <a:lnTo>
                      <a:pt x="826" y="1559"/>
                    </a:lnTo>
                    <a:cubicBezTo>
                      <a:pt x="1234" y="1533"/>
                      <a:pt x="1558" y="1193"/>
                      <a:pt x="1558" y="780"/>
                    </a:cubicBezTo>
                    <a:cubicBezTo>
                      <a:pt x="1558" y="351"/>
                      <a:pt x="1208" y="0"/>
                      <a:pt x="779" y="0"/>
                    </a:cubicBezTo>
                    <a:cubicBezTo>
                      <a:pt x="350" y="0"/>
                      <a:pt x="0" y="351"/>
                      <a:pt x="0" y="780"/>
                    </a:cubicBezTo>
                    <a:cubicBezTo>
                      <a:pt x="0" y="1193"/>
                      <a:pt x="323" y="1533"/>
                      <a:pt x="732" y="1559"/>
                    </a:cubicBezTo>
                    <a:cubicBezTo>
                      <a:pt x="732" y="1737"/>
                      <a:pt x="732" y="1678"/>
                      <a:pt x="732" y="1737"/>
                    </a:cubicBezTo>
                    <a:cubicBezTo>
                      <a:pt x="565" y="1737"/>
                      <a:pt x="621" y="1737"/>
                      <a:pt x="565" y="1737"/>
                    </a:cubicBezTo>
                    <a:cubicBezTo>
                      <a:pt x="565" y="2731"/>
                      <a:pt x="565" y="2400"/>
                      <a:pt x="565" y="2731"/>
                    </a:cubicBezTo>
                    <a:cubicBezTo>
                      <a:pt x="993" y="2731"/>
                      <a:pt x="850" y="2731"/>
                      <a:pt x="993" y="2731"/>
                    </a:cubicBezTo>
                    <a:cubicBezTo>
                      <a:pt x="993" y="1737"/>
                      <a:pt x="993" y="2069"/>
                      <a:pt x="993" y="1737"/>
                    </a:cubicBezTo>
                    <a:cubicBezTo>
                      <a:pt x="826" y="1737"/>
                      <a:pt x="882" y="1737"/>
                      <a:pt x="826" y="1737"/>
                    </a:cubicBezTo>
                    <a:cubicBezTo>
                      <a:pt x="826" y="1678"/>
                      <a:pt x="826" y="1619"/>
                      <a:pt x="826" y="1559"/>
                    </a:cubicBezTo>
                    <a:close/>
                    <a:moveTo>
                      <a:pt x="93" y="780"/>
                    </a:moveTo>
                    <a:lnTo>
                      <a:pt x="93" y="780"/>
                    </a:lnTo>
                    <a:cubicBezTo>
                      <a:pt x="93" y="403"/>
                      <a:pt x="402" y="94"/>
                      <a:pt x="779" y="94"/>
                    </a:cubicBezTo>
                    <a:cubicBezTo>
                      <a:pt x="1156" y="94"/>
                      <a:pt x="1464" y="403"/>
                      <a:pt x="1464" y="780"/>
                    </a:cubicBezTo>
                    <a:cubicBezTo>
                      <a:pt x="1464" y="1156"/>
                      <a:pt x="1156" y="1465"/>
                      <a:pt x="779" y="1465"/>
                    </a:cubicBezTo>
                    <a:cubicBezTo>
                      <a:pt x="402" y="1465"/>
                      <a:pt x="93" y="1156"/>
                      <a:pt x="93" y="780"/>
                    </a:cubicBezTo>
                    <a:close/>
                    <a:moveTo>
                      <a:pt x="658" y="1998"/>
                    </a:moveTo>
                    <a:lnTo>
                      <a:pt x="658" y="1998"/>
                    </a:lnTo>
                    <a:cubicBezTo>
                      <a:pt x="899" y="1998"/>
                      <a:pt x="819" y="1998"/>
                      <a:pt x="899" y="1998"/>
                    </a:cubicBezTo>
                    <a:cubicBezTo>
                      <a:pt x="899" y="2469"/>
                      <a:pt x="899" y="2312"/>
                      <a:pt x="899" y="2469"/>
                    </a:cubicBezTo>
                    <a:cubicBezTo>
                      <a:pt x="658" y="2469"/>
                      <a:pt x="738" y="2469"/>
                      <a:pt x="658" y="2469"/>
                    </a:cubicBezTo>
                    <a:cubicBezTo>
                      <a:pt x="658" y="2312"/>
                      <a:pt x="658" y="2155"/>
                      <a:pt x="658" y="1998"/>
                    </a:cubicBezTo>
                    <a:close/>
                    <a:moveTo>
                      <a:pt x="658" y="2637"/>
                    </a:moveTo>
                    <a:lnTo>
                      <a:pt x="658" y="2637"/>
                    </a:lnTo>
                    <a:cubicBezTo>
                      <a:pt x="658" y="2563"/>
                      <a:pt x="658" y="2588"/>
                      <a:pt x="658" y="2563"/>
                    </a:cubicBezTo>
                    <a:cubicBezTo>
                      <a:pt x="899" y="2563"/>
                      <a:pt x="819" y="2563"/>
                      <a:pt x="899" y="2563"/>
                    </a:cubicBezTo>
                    <a:cubicBezTo>
                      <a:pt x="899" y="2637"/>
                      <a:pt x="899" y="2613"/>
                      <a:pt x="899" y="2637"/>
                    </a:cubicBezTo>
                    <a:cubicBezTo>
                      <a:pt x="819" y="2637"/>
                      <a:pt x="738" y="2637"/>
                      <a:pt x="658" y="2637"/>
                    </a:cubicBezTo>
                    <a:close/>
                    <a:moveTo>
                      <a:pt x="899" y="1904"/>
                    </a:moveTo>
                    <a:lnTo>
                      <a:pt x="899" y="1904"/>
                    </a:lnTo>
                    <a:cubicBezTo>
                      <a:pt x="658" y="1904"/>
                      <a:pt x="738" y="1904"/>
                      <a:pt x="658" y="1904"/>
                    </a:cubicBezTo>
                    <a:cubicBezTo>
                      <a:pt x="658" y="1831"/>
                      <a:pt x="658" y="1856"/>
                      <a:pt x="658" y="1831"/>
                    </a:cubicBezTo>
                    <a:cubicBezTo>
                      <a:pt x="899" y="1831"/>
                      <a:pt x="819" y="1831"/>
                      <a:pt x="899" y="1831"/>
                    </a:cubicBezTo>
                    <a:cubicBezTo>
                      <a:pt x="899" y="1856"/>
                      <a:pt x="899" y="1880"/>
                      <a:pt x="899" y="1904"/>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47" name="Freeform 131">
                <a:extLst>
                  <a:ext uri="{FF2B5EF4-FFF2-40B4-BE49-F238E27FC236}">
                    <a16:creationId xmlns:a16="http://schemas.microsoft.com/office/drawing/2014/main" id="{77DB7D61-7A2C-F9A6-2B77-AFBD586BD3B1}"/>
                  </a:ext>
                </a:extLst>
              </p:cNvPr>
              <p:cNvSpPr>
                <a:spLocks noChangeArrowheads="1"/>
              </p:cNvSpPr>
              <p:nvPr/>
            </p:nvSpPr>
            <p:spPr bwMode="auto">
              <a:xfrm>
                <a:off x="317500" y="5045075"/>
                <a:ext cx="422275" cy="422275"/>
              </a:xfrm>
              <a:custGeom>
                <a:avLst/>
                <a:gdLst>
                  <a:gd name="T0" fmla="*/ 1182 w 1183"/>
                  <a:gd name="T1" fmla="*/ 592 h 1184"/>
                  <a:gd name="T2" fmla="*/ 1182 w 1183"/>
                  <a:gd name="T3" fmla="*/ 592 h 1184"/>
                  <a:gd name="T4" fmla="*/ 591 w 1183"/>
                  <a:gd name="T5" fmla="*/ 0 h 1184"/>
                  <a:gd name="T6" fmla="*/ 0 w 1183"/>
                  <a:gd name="T7" fmla="*/ 592 h 1184"/>
                  <a:gd name="T8" fmla="*/ 591 w 1183"/>
                  <a:gd name="T9" fmla="*/ 1183 h 1184"/>
                  <a:gd name="T10" fmla="*/ 1182 w 1183"/>
                  <a:gd name="T11" fmla="*/ 592 h 1184"/>
                  <a:gd name="T12" fmla="*/ 94 w 1183"/>
                  <a:gd name="T13" fmla="*/ 592 h 1184"/>
                  <a:gd name="T14" fmla="*/ 94 w 1183"/>
                  <a:gd name="T15" fmla="*/ 592 h 1184"/>
                  <a:gd name="T16" fmla="*/ 591 w 1183"/>
                  <a:gd name="T17" fmla="*/ 94 h 1184"/>
                  <a:gd name="T18" fmla="*/ 1088 w 1183"/>
                  <a:gd name="T19" fmla="*/ 592 h 1184"/>
                  <a:gd name="T20" fmla="*/ 591 w 1183"/>
                  <a:gd name="T21" fmla="*/ 1088 h 1184"/>
                  <a:gd name="T22" fmla="*/ 94 w 1183"/>
                  <a:gd name="T23" fmla="*/ 592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3" h="1184">
                    <a:moveTo>
                      <a:pt x="1182" y="592"/>
                    </a:moveTo>
                    <a:lnTo>
                      <a:pt x="1182" y="592"/>
                    </a:lnTo>
                    <a:cubicBezTo>
                      <a:pt x="1182" y="267"/>
                      <a:pt x="915" y="0"/>
                      <a:pt x="591" y="0"/>
                    </a:cubicBezTo>
                    <a:cubicBezTo>
                      <a:pt x="267" y="0"/>
                      <a:pt x="0" y="267"/>
                      <a:pt x="0" y="592"/>
                    </a:cubicBezTo>
                    <a:cubicBezTo>
                      <a:pt x="0" y="916"/>
                      <a:pt x="267" y="1183"/>
                      <a:pt x="591" y="1183"/>
                    </a:cubicBezTo>
                    <a:cubicBezTo>
                      <a:pt x="915" y="1183"/>
                      <a:pt x="1182" y="916"/>
                      <a:pt x="1182" y="592"/>
                    </a:cubicBezTo>
                    <a:close/>
                    <a:moveTo>
                      <a:pt x="94" y="592"/>
                    </a:moveTo>
                    <a:lnTo>
                      <a:pt x="94" y="592"/>
                    </a:lnTo>
                    <a:cubicBezTo>
                      <a:pt x="94" y="319"/>
                      <a:pt x="319" y="94"/>
                      <a:pt x="591" y="94"/>
                    </a:cubicBezTo>
                    <a:cubicBezTo>
                      <a:pt x="863" y="94"/>
                      <a:pt x="1088" y="319"/>
                      <a:pt x="1088" y="592"/>
                    </a:cubicBezTo>
                    <a:cubicBezTo>
                      <a:pt x="1088" y="863"/>
                      <a:pt x="863" y="1088"/>
                      <a:pt x="591" y="1088"/>
                    </a:cubicBezTo>
                    <a:cubicBezTo>
                      <a:pt x="319" y="1088"/>
                      <a:pt x="94" y="863"/>
                      <a:pt x="94" y="592"/>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48" name="Freeform 132">
                <a:extLst>
                  <a:ext uri="{FF2B5EF4-FFF2-40B4-BE49-F238E27FC236}">
                    <a16:creationId xmlns:a16="http://schemas.microsoft.com/office/drawing/2014/main" id="{6515D2C8-0CAB-C35B-564E-ED62A3CB0249}"/>
                  </a:ext>
                </a:extLst>
              </p:cNvPr>
              <p:cNvSpPr>
                <a:spLocks noChangeArrowheads="1"/>
              </p:cNvSpPr>
              <p:nvPr/>
            </p:nvSpPr>
            <p:spPr bwMode="auto">
              <a:xfrm>
                <a:off x="512763" y="5126038"/>
                <a:ext cx="31750" cy="185737"/>
              </a:xfrm>
              <a:custGeom>
                <a:avLst/>
                <a:gdLst>
                  <a:gd name="T0" fmla="*/ 94 w 95"/>
                  <a:gd name="T1" fmla="*/ 0 h 524"/>
                  <a:gd name="T2" fmla="*/ 0 w 95"/>
                  <a:gd name="T3" fmla="*/ 0 h 524"/>
                  <a:gd name="T4" fmla="*/ 0 w 95"/>
                  <a:gd name="T5" fmla="*/ 523 h 524"/>
                  <a:gd name="T6" fmla="*/ 94 w 95"/>
                  <a:gd name="T7" fmla="*/ 523 h 524"/>
                  <a:gd name="T8" fmla="*/ 94 w 95"/>
                  <a:gd name="T9" fmla="*/ 0 h 524"/>
                </a:gdLst>
                <a:ahLst/>
                <a:cxnLst>
                  <a:cxn ang="0">
                    <a:pos x="T0" y="T1"/>
                  </a:cxn>
                  <a:cxn ang="0">
                    <a:pos x="T2" y="T3"/>
                  </a:cxn>
                  <a:cxn ang="0">
                    <a:pos x="T4" y="T5"/>
                  </a:cxn>
                  <a:cxn ang="0">
                    <a:pos x="T6" y="T7"/>
                  </a:cxn>
                  <a:cxn ang="0">
                    <a:pos x="T8" y="T9"/>
                  </a:cxn>
                </a:cxnLst>
                <a:rect l="0" t="0" r="r" b="b"/>
                <a:pathLst>
                  <a:path w="95" h="524">
                    <a:moveTo>
                      <a:pt x="94" y="0"/>
                    </a:moveTo>
                    <a:cubicBezTo>
                      <a:pt x="63" y="0"/>
                      <a:pt x="31" y="0"/>
                      <a:pt x="0" y="0"/>
                    </a:cubicBezTo>
                    <a:cubicBezTo>
                      <a:pt x="0" y="175"/>
                      <a:pt x="0" y="349"/>
                      <a:pt x="0" y="523"/>
                    </a:cubicBezTo>
                    <a:cubicBezTo>
                      <a:pt x="31" y="523"/>
                      <a:pt x="63" y="523"/>
                      <a:pt x="94" y="523"/>
                    </a:cubicBezTo>
                    <a:cubicBezTo>
                      <a:pt x="94" y="349"/>
                      <a:pt x="94" y="175"/>
                      <a:pt x="94"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49" name="Freeform 133">
                <a:extLst>
                  <a:ext uri="{FF2B5EF4-FFF2-40B4-BE49-F238E27FC236}">
                    <a16:creationId xmlns:a16="http://schemas.microsoft.com/office/drawing/2014/main" id="{6510C67D-0620-620D-A807-BFD124668474}"/>
                  </a:ext>
                </a:extLst>
              </p:cNvPr>
              <p:cNvSpPr>
                <a:spLocks noChangeArrowheads="1"/>
              </p:cNvSpPr>
              <p:nvPr/>
            </p:nvSpPr>
            <p:spPr bwMode="auto">
              <a:xfrm>
                <a:off x="512763" y="5353050"/>
                <a:ext cx="31750" cy="34925"/>
              </a:xfrm>
              <a:custGeom>
                <a:avLst/>
                <a:gdLst>
                  <a:gd name="T0" fmla="*/ 94 w 95"/>
                  <a:gd name="T1" fmla="*/ 0 h 106"/>
                  <a:gd name="T2" fmla="*/ 0 w 95"/>
                  <a:gd name="T3" fmla="*/ 0 h 106"/>
                  <a:gd name="T4" fmla="*/ 0 w 95"/>
                  <a:gd name="T5" fmla="*/ 105 h 106"/>
                  <a:gd name="T6" fmla="*/ 94 w 95"/>
                  <a:gd name="T7" fmla="*/ 105 h 106"/>
                  <a:gd name="T8" fmla="*/ 94 w 95"/>
                  <a:gd name="T9" fmla="*/ 0 h 106"/>
                </a:gdLst>
                <a:ahLst/>
                <a:cxnLst>
                  <a:cxn ang="0">
                    <a:pos x="T0" y="T1"/>
                  </a:cxn>
                  <a:cxn ang="0">
                    <a:pos x="T2" y="T3"/>
                  </a:cxn>
                  <a:cxn ang="0">
                    <a:pos x="T4" y="T5"/>
                  </a:cxn>
                  <a:cxn ang="0">
                    <a:pos x="T6" y="T7"/>
                  </a:cxn>
                  <a:cxn ang="0">
                    <a:pos x="T8" y="T9"/>
                  </a:cxn>
                </a:cxnLst>
                <a:rect l="0" t="0" r="r" b="b"/>
                <a:pathLst>
                  <a:path w="95" h="106">
                    <a:moveTo>
                      <a:pt x="94" y="0"/>
                    </a:moveTo>
                    <a:cubicBezTo>
                      <a:pt x="63" y="0"/>
                      <a:pt x="31" y="0"/>
                      <a:pt x="0" y="0"/>
                    </a:cubicBezTo>
                    <a:cubicBezTo>
                      <a:pt x="0" y="35"/>
                      <a:pt x="0" y="70"/>
                      <a:pt x="0" y="105"/>
                    </a:cubicBezTo>
                    <a:cubicBezTo>
                      <a:pt x="31" y="105"/>
                      <a:pt x="63" y="105"/>
                      <a:pt x="94" y="105"/>
                    </a:cubicBezTo>
                    <a:cubicBezTo>
                      <a:pt x="94" y="70"/>
                      <a:pt x="94" y="35"/>
                      <a:pt x="94"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0" name="Freeform 134">
                <a:extLst>
                  <a:ext uri="{FF2B5EF4-FFF2-40B4-BE49-F238E27FC236}">
                    <a16:creationId xmlns:a16="http://schemas.microsoft.com/office/drawing/2014/main" id="{ED7B469E-8974-68E7-664E-210DD4ACA58A}"/>
                  </a:ext>
                </a:extLst>
              </p:cNvPr>
              <p:cNvSpPr>
                <a:spLocks noChangeArrowheads="1"/>
              </p:cNvSpPr>
              <p:nvPr/>
            </p:nvSpPr>
            <p:spPr bwMode="auto">
              <a:xfrm>
                <a:off x="376238" y="4891088"/>
                <a:ext cx="39687" cy="42862"/>
              </a:xfrm>
              <a:custGeom>
                <a:avLst/>
                <a:gdLst>
                  <a:gd name="T0" fmla="*/ 120 w 121"/>
                  <a:gd name="T1" fmla="*/ 89 h 127"/>
                  <a:gd name="T2" fmla="*/ 120 w 121"/>
                  <a:gd name="T3" fmla="*/ 89 h 127"/>
                  <a:gd name="T4" fmla="*/ 94 w 121"/>
                  <a:gd name="T5" fmla="*/ 0 h 127"/>
                  <a:gd name="T6" fmla="*/ 0 w 121"/>
                  <a:gd name="T7" fmla="*/ 37 h 127"/>
                  <a:gd name="T8" fmla="*/ 36 w 121"/>
                  <a:gd name="T9" fmla="*/ 126 h 127"/>
                  <a:gd name="T10" fmla="*/ 120 w 121"/>
                  <a:gd name="T11" fmla="*/ 89 h 127"/>
                </a:gdLst>
                <a:ahLst/>
                <a:cxnLst>
                  <a:cxn ang="0">
                    <a:pos x="T0" y="T1"/>
                  </a:cxn>
                  <a:cxn ang="0">
                    <a:pos x="T2" y="T3"/>
                  </a:cxn>
                  <a:cxn ang="0">
                    <a:pos x="T4" y="T5"/>
                  </a:cxn>
                  <a:cxn ang="0">
                    <a:pos x="T6" y="T7"/>
                  </a:cxn>
                  <a:cxn ang="0">
                    <a:pos x="T8" y="T9"/>
                  </a:cxn>
                  <a:cxn ang="0">
                    <a:pos x="T10" y="T11"/>
                  </a:cxn>
                </a:cxnLst>
                <a:rect l="0" t="0" r="r" b="b"/>
                <a:pathLst>
                  <a:path w="121" h="127">
                    <a:moveTo>
                      <a:pt x="120" y="89"/>
                    </a:moveTo>
                    <a:lnTo>
                      <a:pt x="120" y="89"/>
                    </a:lnTo>
                    <a:cubicBezTo>
                      <a:pt x="94" y="0"/>
                      <a:pt x="103" y="30"/>
                      <a:pt x="94" y="0"/>
                    </a:cubicBezTo>
                    <a:cubicBezTo>
                      <a:pt x="63" y="11"/>
                      <a:pt x="31" y="27"/>
                      <a:pt x="0" y="37"/>
                    </a:cubicBezTo>
                    <a:cubicBezTo>
                      <a:pt x="36" y="126"/>
                      <a:pt x="24" y="97"/>
                      <a:pt x="36" y="126"/>
                    </a:cubicBezTo>
                    <a:cubicBezTo>
                      <a:pt x="63" y="110"/>
                      <a:pt x="94" y="99"/>
                      <a:pt x="120" y="8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1" name="Freeform 135">
                <a:extLst>
                  <a:ext uri="{FF2B5EF4-FFF2-40B4-BE49-F238E27FC236}">
                    <a16:creationId xmlns:a16="http://schemas.microsoft.com/office/drawing/2014/main" id="{12B36218-0E88-9213-24C2-DC7538D4BDF1}"/>
                  </a:ext>
                </a:extLst>
              </p:cNvPr>
              <p:cNvSpPr>
                <a:spLocks noChangeArrowheads="1"/>
              </p:cNvSpPr>
              <p:nvPr/>
            </p:nvSpPr>
            <p:spPr bwMode="auto">
              <a:xfrm>
                <a:off x="258763" y="4960938"/>
                <a:ext cx="44450" cy="44450"/>
              </a:xfrm>
              <a:custGeom>
                <a:avLst/>
                <a:gdLst>
                  <a:gd name="T0" fmla="*/ 130 w 131"/>
                  <a:gd name="T1" fmla="*/ 73 h 131"/>
                  <a:gd name="T2" fmla="*/ 130 w 131"/>
                  <a:gd name="T3" fmla="*/ 73 h 131"/>
                  <a:gd name="T4" fmla="*/ 73 w 131"/>
                  <a:gd name="T5" fmla="*/ 0 h 131"/>
                  <a:gd name="T6" fmla="*/ 0 w 131"/>
                  <a:gd name="T7" fmla="*/ 63 h 131"/>
                  <a:gd name="T8" fmla="*/ 62 w 131"/>
                  <a:gd name="T9" fmla="*/ 130 h 131"/>
                  <a:gd name="T10" fmla="*/ 130 w 131"/>
                  <a:gd name="T11" fmla="*/ 73 h 131"/>
                </a:gdLst>
                <a:ahLst/>
                <a:cxnLst>
                  <a:cxn ang="0">
                    <a:pos x="T0" y="T1"/>
                  </a:cxn>
                  <a:cxn ang="0">
                    <a:pos x="T2" y="T3"/>
                  </a:cxn>
                  <a:cxn ang="0">
                    <a:pos x="T4" y="T5"/>
                  </a:cxn>
                  <a:cxn ang="0">
                    <a:pos x="T6" y="T7"/>
                  </a:cxn>
                  <a:cxn ang="0">
                    <a:pos x="T8" y="T9"/>
                  </a:cxn>
                  <a:cxn ang="0">
                    <a:pos x="T10" y="T11"/>
                  </a:cxn>
                </a:cxnLst>
                <a:rect l="0" t="0" r="r" b="b"/>
                <a:pathLst>
                  <a:path w="131" h="131">
                    <a:moveTo>
                      <a:pt x="130" y="73"/>
                    </a:moveTo>
                    <a:lnTo>
                      <a:pt x="130" y="73"/>
                    </a:lnTo>
                    <a:cubicBezTo>
                      <a:pt x="73" y="0"/>
                      <a:pt x="92" y="25"/>
                      <a:pt x="73" y="0"/>
                    </a:cubicBezTo>
                    <a:cubicBezTo>
                      <a:pt x="46" y="21"/>
                      <a:pt x="20" y="42"/>
                      <a:pt x="0" y="63"/>
                    </a:cubicBezTo>
                    <a:cubicBezTo>
                      <a:pt x="62" y="130"/>
                      <a:pt x="41" y="108"/>
                      <a:pt x="62" y="130"/>
                    </a:cubicBezTo>
                    <a:cubicBezTo>
                      <a:pt x="83" y="110"/>
                      <a:pt x="109" y="89"/>
                      <a:pt x="130" y="7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2" name="Freeform 136">
                <a:extLst>
                  <a:ext uri="{FF2B5EF4-FFF2-40B4-BE49-F238E27FC236}">
                    <a16:creationId xmlns:a16="http://schemas.microsoft.com/office/drawing/2014/main" id="{DE99AEE3-0D13-8D76-D046-FBDF034B2261}"/>
                  </a:ext>
                </a:extLst>
              </p:cNvPr>
              <p:cNvSpPr>
                <a:spLocks noChangeArrowheads="1"/>
              </p:cNvSpPr>
              <p:nvPr/>
            </p:nvSpPr>
            <p:spPr bwMode="auto">
              <a:xfrm>
                <a:off x="512763" y="4872038"/>
                <a:ext cx="33337" cy="31750"/>
              </a:xfrm>
              <a:custGeom>
                <a:avLst/>
                <a:gdLst>
                  <a:gd name="T0" fmla="*/ 94 w 100"/>
                  <a:gd name="T1" fmla="*/ 94 h 95"/>
                  <a:gd name="T2" fmla="*/ 94 w 100"/>
                  <a:gd name="T3" fmla="*/ 94 h 95"/>
                  <a:gd name="T4" fmla="*/ 99 w 100"/>
                  <a:gd name="T5" fmla="*/ 0 h 95"/>
                  <a:gd name="T6" fmla="*/ 0 w 100"/>
                  <a:gd name="T7" fmla="*/ 0 h 95"/>
                  <a:gd name="T8" fmla="*/ 5 w 100"/>
                  <a:gd name="T9" fmla="*/ 94 h 95"/>
                  <a:gd name="T10" fmla="*/ 94 w 100"/>
                  <a:gd name="T11" fmla="*/ 94 h 95"/>
                </a:gdLst>
                <a:ahLst/>
                <a:cxnLst>
                  <a:cxn ang="0">
                    <a:pos x="T0" y="T1"/>
                  </a:cxn>
                  <a:cxn ang="0">
                    <a:pos x="T2" y="T3"/>
                  </a:cxn>
                  <a:cxn ang="0">
                    <a:pos x="T4" y="T5"/>
                  </a:cxn>
                  <a:cxn ang="0">
                    <a:pos x="T6" y="T7"/>
                  </a:cxn>
                  <a:cxn ang="0">
                    <a:pos x="T8" y="T9"/>
                  </a:cxn>
                  <a:cxn ang="0">
                    <a:pos x="T10" y="T11"/>
                  </a:cxn>
                </a:cxnLst>
                <a:rect l="0" t="0" r="r" b="b"/>
                <a:pathLst>
                  <a:path w="100" h="95">
                    <a:moveTo>
                      <a:pt x="94" y="94"/>
                    </a:moveTo>
                    <a:lnTo>
                      <a:pt x="94" y="94"/>
                    </a:lnTo>
                    <a:cubicBezTo>
                      <a:pt x="99" y="0"/>
                      <a:pt x="97" y="32"/>
                      <a:pt x="99" y="0"/>
                    </a:cubicBezTo>
                    <a:cubicBezTo>
                      <a:pt x="68" y="0"/>
                      <a:pt x="36" y="0"/>
                      <a:pt x="0" y="0"/>
                    </a:cubicBezTo>
                    <a:cubicBezTo>
                      <a:pt x="5" y="94"/>
                      <a:pt x="3" y="63"/>
                      <a:pt x="5" y="94"/>
                    </a:cubicBezTo>
                    <a:cubicBezTo>
                      <a:pt x="36" y="94"/>
                      <a:pt x="68" y="94"/>
                      <a:pt x="94" y="9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3" name="Freeform 137">
                <a:extLst>
                  <a:ext uri="{FF2B5EF4-FFF2-40B4-BE49-F238E27FC236}">
                    <a16:creationId xmlns:a16="http://schemas.microsoft.com/office/drawing/2014/main" id="{83E42EE7-FE2E-1031-2024-69D7BB6A1D90}"/>
                  </a:ext>
                </a:extLst>
              </p:cNvPr>
              <p:cNvSpPr>
                <a:spLocks noChangeArrowheads="1"/>
              </p:cNvSpPr>
              <p:nvPr/>
            </p:nvSpPr>
            <p:spPr bwMode="auto">
              <a:xfrm>
                <a:off x="581025" y="4875213"/>
                <a:ext cx="36512" cy="36512"/>
              </a:xfrm>
              <a:custGeom>
                <a:avLst/>
                <a:gdLst>
                  <a:gd name="T0" fmla="*/ 110 w 111"/>
                  <a:gd name="T1" fmla="*/ 21 h 111"/>
                  <a:gd name="T2" fmla="*/ 110 w 111"/>
                  <a:gd name="T3" fmla="*/ 21 h 111"/>
                  <a:gd name="T4" fmla="*/ 11 w 111"/>
                  <a:gd name="T5" fmla="*/ 0 h 111"/>
                  <a:gd name="T6" fmla="*/ 0 w 111"/>
                  <a:gd name="T7" fmla="*/ 95 h 111"/>
                  <a:gd name="T8" fmla="*/ 89 w 111"/>
                  <a:gd name="T9" fmla="*/ 110 h 111"/>
                  <a:gd name="T10" fmla="*/ 110 w 111"/>
                  <a:gd name="T11" fmla="*/ 21 h 111"/>
                </a:gdLst>
                <a:ahLst/>
                <a:cxnLst>
                  <a:cxn ang="0">
                    <a:pos x="T0" y="T1"/>
                  </a:cxn>
                  <a:cxn ang="0">
                    <a:pos x="T2" y="T3"/>
                  </a:cxn>
                  <a:cxn ang="0">
                    <a:pos x="T4" y="T5"/>
                  </a:cxn>
                  <a:cxn ang="0">
                    <a:pos x="T6" y="T7"/>
                  </a:cxn>
                  <a:cxn ang="0">
                    <a:pos x="T8" y="T9"/>
                  </a:cxn>
                  <a:cxn ang="0">
                    <a:pos x="T10" y="T11"/>
                  </a:cxn>
                </a:cxnLst>
                <a:rect l="0" t="0" r="r" b="b"/>
                <a:pathLst>
                  <a:path w="111" h="111">
                    <a:moveTo>
                      <a:pt x="110" y="21"/>
                    </a:moveTo>
                    <a:lnTo>
                      <a:pt x="110" y="21"/>
                    </a:lnTo>
                    <a:cubicBezTo>
                      <a:pt x="78" y="11"/>
                      <a:pt x="42" y="6"/>
                      <a:pt x="11" y="0"/>
                    </a:cubicBezTo>
                    <a:cubicBezTo>
                      <a:pt x="0" y="95"/>
                      <a:pt x="4" y="64"/>
                      <a:pt x="0" y="95"/>
                    </a:cubicBezTo>
                    <a:cubicBezTo>
                      <a:pt x="26" y="100"/>
                      <a:pt x="58" y="105"/>
                      <a:pt x="89" y="110"/>
                    </a:cubicBezTo>
                    <a:cubicBezTo>
                      <a:pt x="96" y="81"/>
                      <a:pt x="103" y="51"/>
                      <a:pt x="110" y="2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4" name="Freeform 138">
                <a:extLst>
                  <a:ext uri="{FF2B5EF4-FFF2-40B4-BE49-F238E27FC236}">
                    <a16:creationId xmlns:a16="http://schemas.microsoft.com/office/drawing/2014/main" id="{FE1CB4BF-4AA7-B5E4-3A80-E4CAFF2CDB8C}"/>
                  </a:ext>
                </a:extLst>
              </p:cNvPr>
              <p:cNvSpPr>
                <a:spLocks noChangeArrowheads="1"/>
              </p:cNvSpPr>
              <p:nvPr/>
            </p:nvSpPr>
            <p:spPr bwMode="auto">
              <a:xfrm>
                <a:off x="442913" y="4875213"/>
                <a:ext cx="36512" cy="36512"/>
              </a:xfrm>
              <a:custGeom>
                <a:avLst/>
                <a:gdLst>
                  <a:gd name="T0" fmla="*/ 110 w 111"/>
                  <a:gd name="T1" fmla="*/ 95 h 111"/>
                  <a:gd name="T2" fmla="*/ 110 w 111"/>
                  <a:gd name="T3" fmla="*/ 95 h 111"/>
                  <a:gd name="T4" fmla="*/ 94 w 111"/>
                  <a:gd name="T5" fmla="*/ 0 h 111"/>
                  <a:gd name="T6" fmla="*/ 0 w 111"/>
                  <a:gd name="T7" fmla="*/ 16 h 111"/>
                  <a:gd name="T8" fmla="*/ 21 w 111"/>
                  <a:gd name="T9" fmla="*/ 110 h 111"/>
                  <a:gd name="T10" fmla="*/ 110 w 111"/>
                  <a:gd name="T11" fmla="*/ 95 h 111"/>
                </a:gdLst>
                <a:ahLst/>
                <a:cxnLst>
                  <a:cxn ang="0">
                    <a:pos x="T0" y="T1"/>
                  </a:cxn>
                  <a:cxn ang="0">
                    <a:pos x="T2" y="T3"/>
                  </a:cxn>
                  <a:cxn ang="0">
                    <a:pos x="T4" y="T5"/>
                  </a:cxn>
                  <a:cxn ang="0">
                    <a:pos x="T6" y="T7"/>
                  </a:cxn>
                  <a:cxn ang="0">
                    <a:pos x="T8" y="T9"/>
                  </a:cxn>
                  <a:cxn ang="0">
                    <a:pos x="T10" y="T11"/>
                  </a:cxn>
                </a:cxnLst>
                <a:rect l="0" t="0" r="r" b="b"/>
                <a:pathLst>
                  <a:path w="111" h="111">
                    <a:moveTo>
                      <a:pt x="110" y="95"/>
                    </a:moveTo>
                    <a:lnTo>
                      <a:pt x="110" y="95"/>
                    </a:lnTo>
                    <a:cubicBezTo>
                      <a:pt x="94" y="0"/>
                      <a:pt x="99" y="32"/>
                      <a:pt x="94" y="0"/>
                    </a:cubicBezTo>
                    <a:cubicBezTo>
                      <a:pt x="63" y="6"/>
                      <a:pt x="32" y="11"/>
                      <a:pt x="0" y="16"/>
                    </a:cubicBezTo>
                    <a:cubicBezTo>
                      <a:pt x="21" y="110"/>
                      <a:pt x="14" y="79"/>
                      <a:pt x="21" y="110"/>
                    </a:cubicBezTo>
                    <a:cubicBezTo>
                      <a:pt x="47" y="105"/>
                      <a:pt x="79" y="95"/>
                      <a:pt x="110" y="9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5" name="Freeform 139">
                <a:extLst>
                  <a:ext uri="{FF2B5EF4-FFF2-40B4-BE49-F238E27FC236}">
                    <a16:creationId xmlns:a16="http://schemas.microsoft.com/office/drawing/2014/main" id="{6B3F7997-07A1-CA0C-EF95-E852151D823C}"/>
                  </a:ext>
                </a:extLst>
              </p:cNvPr>
              <p:cNvSpPr>
                <a:spLocks noChangeArrowheads="1"/>
              </p:cNvSpPr>
              <p:nvPr/>
            </p:nvSpPr>
            <p:spPr bwMode="auto">
              <a:xfrm>
                <a:off x="314325" y="4921250"/>
                <a:ext cx="44450" cy="42862"/>
              </a:xfrm>
              <a:custGeom>
                <a:avLst/>
                <a:gdLst>
                  <a:gd name="T0" fmla="*/ 131 w 132"/>
                  <a:gd name="T1" fmla="*/ 78 h 126"/>
                  <a:gd name="T2" fmla="*/ 131 w 132"/>
                  <a:gd name="T3" fmla="*/ 78 h 126"/>
                  <a:gd name="T4" fmla="*/ 84 w 132"/>
                  <a:gd name="T5" fmla="*/ 0 h 126"/>
                  <a:gd name="T6" fmla="*/ 0 w 132"/>
                  <a:gd name="T7" fmla="*/ 47 h 126"/>
                  <a:gd name="T8" fmla="*/ 53 w 132"/>
                  <a:gd name="T9" fmla="*/ 125 h 126"/>
                  <a:gd name="T10" fmla="*/ 131 w 132"/>
                  <a:gd name="T11" fmla="*/ 78 h 126"/>
                </a:gdLst>
                <a:ahLst/>
                <a:cxnLst>
                  <a:cxn ang="0">
                    <a:pos x="T0" y="T1"/>
                  </a:cxn>
                  <a:cxn ang="0">
                    <a:pos x="T2" y="T3"/>
                  </a:cxn>
                  <a:cxn ang="0">
                    <a:pos x="T4" y="T5"/>
                  </a:cxn>
                  <a:cxn ang="0">
                    <a:pos x="T6" y="T7"/>
                  </a:cxn>
                  <a:cxn ang="0">
                    <a:pos x="T8" y="T9"/>
                  </a:cxn>
                  <a:cxn ang="0">
                    <a:pos x="T10" y="T11"/>
                  </a:cxn>
                </a:cxnLst>
                <a:rect l="0" t="0" r="r" b="b"/>
                <a:pathLst>
                  <a:path w="132" h="126">
                    <a:moveTo>
                      <a:pt x="131" y="78"/>
                    </a:moveTo>
                    <a:lnTo>
                      <a:pt x="131" y="78"/>
                    </a:lnTo>
                    <a:cubicBezTo>
                      <a:pt x="84" y="0"/>
                      <a:pt x="100" y="26"/>
                      <a:pt x="84" y="0"/>
                    </a:cubicBezTo>
                    <a:cubicBezTo>
                      <a:pt x="53" y="15"/>
                      <a:pt x="26" y="31"/>
                      <a:pt x="0" y="47"/>
                    </a:cubicBezTo>
                    <a:cubicBezTo>
                      <a:pt x="53" y="125"/>
                      <a:pt x="35" y="99"/>
                      <a:pt x="53" y="125"/>
                    </a:cubicBezTo>
                    <a:cubicBezTo>
                      <a:pt x="79" y="110"/>
                      <a:pt x="105" y="94"/>
                      <a:pt x="131" y="7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6" name="Freeform 140">
                <a:extLst>
                  <a:ext uri="{FF2B5EF4-FFF2-40B4-BE49-F238E27FC236}">
                    <a16:creationId xmlns:a16="http://schemas.microsoft.com/office/drawing/2014/main" id="{D4909A4F-7581-663A-37D8-DB68B782E911}"/>
                  </a:ext>
                </a:extLst>
              </p:cNvPr>
              <p:cNvSpPr>
                <a:spLocks noChangeArrowheads="1"/>
              </p:cNvSpPr>
              <p:nvPr/>
            </p:nvSpPr>
            <p:spPr bwMode="auto">
              <a:xfrm>
                <a:off x="879475" y="5205413"/>
                <a:ext cx="34925" cy="34925"/>
              </a:xfrm>
              <a:custGeom>
                <a:avLst/>
                <a:gdLst>
                  <a:gd name="T0" fmla="*/ 10 w 105"/>
                  <a:gd name="T1" fmla="*/ 104 h 105"/>
                  <a:gd name="T2" fmla="*/ 10 w 105"/>
                  <a:gd name="T3" fmla="*/ 104 h 105"/>
                  <a:gd name="T4" fmla="*/ 104 w 105"/>
                  <a:gd name="T5" fmla="*/ 99 h 105"/>
                  <a:gd name="T6" fmla="*/ 94 w 105"/>
                  <a:gd name="T7" fmla="*/ 0 h 105"/>
                  <a:gd name="T8" fmla="*/ 0 w 105"/>
                  <a:gd name="T9" fmla="*/ 15 h 105"/>
                  <a:gd name="T10" fmla="*/ 10 w 105"/>
                  <a:gd name="T11" fmla="*/ 104 h 105"/>
                </a:gdLst>
                <a:ahLst/>
                <a:cxnLst>
                  <a:cxn ang="0">
                    <a:pos x="T0" y="T1"/>
                  </a:cxn>
                  <a:cxn ang="0">
                    <a:pos x="T2" y="T3"/>
                  </a:cxn>
                  <a:cxn ang="0">
                    <a:pos x="T4" y="T5"/>
                  </a:cxn>
                  <a:cxn ang="0">
                    <a:pos x="T6" y="T7"/>
                  </a:cxn>
                  <a:cxn ang="0">
                    <a:pos x="T8" y="T9"/>
                  </a:cxn>
                  <a:cxn ang="0">
                    <a:pos x="T10" y="T11"/>
                  </a:cxn>
                </a:cxnLst>
                <a:rect l="0" t="0" r="r" b="b"/>
                <a:pathLst>
                  <a:path w="105" h="105">
                    <a:moveTo>
                      <a:pt x="10" y="104"/>
                    </a:moveTo>
                    <a:lnTo>
                      <a:pt x="10" y="104"/>
                    </a:lnTo>
                    <a:cubicBezTo>
                      <a:pt x="104" y="99"/>
                      <a:pt x="73" y="101"/>
                      <a:pt x="104" y="99"/>
                    </a:cubicBezTo>
                    <a:cubicBezTo>
                      <a:pt x="104" y="68"/>
                      <a:pt x="99" y="37"/>
                      <a:pt x="94" y="0"/>
                    </a:cubicBezTo>
                    <a:cubicBezTo>
                      <a:pt x="0" y="15"/>
                      <a:pt x="31" y="10"/>
                      <a:pt x="0" y="15"/>
                    </a:cubicBezTo>
                    <a:cubicBezTo>
                      <a:pt x="5" y="42"/>
                      <a:pt x="10" y="73"/>
                      <a:pt x="10" y="104"/>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7" name="Freeform 141">
                <a:extLst>
                  <a:ext uri="{FF2B5EF4-FFF2-40B4-BE49-F238E27FC236}">
                    <a16:creationId xmlns:a16="http://schemas.microsoft.com/office/drawing/2014/main" id="{99D48B30-DEB1-1BCF-7A79-531E413A72A2}"/>
                  </a:ext>
                </a:extLst>
              </p:cNvPr>
              <p:cNvSpPr>
                <a:spLocks noChangeArrowheads="1"/>
              </p:cNvSpPr>
              <p:nvPr/>
            </p:nvSpPr>
            <p:spPr bwMode="auto">
              <a:xfrm>
                <a:off x="839788" y="5072063"/>
                <a:ext cx="42862" cy="42862"/>
              </a:xfrm>
              <a:custGeom>
                <a:avLst/>
                <a:gdLst>
                  <a:gd name="T0" fmla="*/ 36 w 126"/>
                  <a:gd name="T1" fmla="*/ 126 h 127"/>
                  <a:gd name="T2" fmla="*/ 36 w 126"/>
                  <a:gd name="T3" fmla="*/ 126 h 127"/>
                  <a:gd name="T4" fmla="*/ 125 w 126"/>
                  <a:gd name="T5" fmla="*/ 90 h 127"/>
                  <a:gd name="T6" fmla="*/ 78 w 126"/>
                  <a:gd name="T7" fmla="*/ 0 h 127"/>
                  <a:gd name="T8" fmla="*/ 0 w 126"/>
                  <a:gd name="T9" fmla="*/ 47 h 127"/>
                  <a:gd name="T10" fmla="*/ 36 w 126"/>
                  <a:gd name="T11" fmla="*/ 126 h 127"/>
                </a:gdLst>
                <a:ahLst/>
                <a:cxnLst>
                  <a:cxn ang="0">
                    <a:pos x="T0" y="T1"/>
                  </a:cxn>
                  <a:cxn ang="0">
                    <a:pos x="T2" y="T3"/>
                  </a:cxn>
                  <a:cxn ang="0">
                    <a:pos x="T4" y="T5"/>
                  </a:cxn>
                  <a:cxn ang="0">
                    <a:pos x="T6" y="T7"/>
                  </a:cxn>
                  <a:cxn ang="0">
                    <a:pos x="T8" y="T9"/>
                  </a:cxn>
                  <a:cxn ang="0">
                    <a:pos x="T10" y="T11"/>
                  </a:cxn>
                </a:cxnLst>
                <a:rect l="0" t="0" r="r" b="b"/>
                <a:pathLst>
                  <a:path w="126" h="127">
                    <a:moveTo>
                      <a:pt x="36" y="126"/>
                    </a:moveTo>
                    <a:lnTo>
                      <a:pt x="36" y="126"/>
                    </a:lnTo>
                    <a:cubicBezTo>
                      <a:pt x="125" y="90"/>
                      <a:pt x="95" y="102"/>
                      <a:pt x="125" y="90"/>
                    </a:cubicBezTo>
                    <a:cubicBezTo>
                      <a:pt x="110" y="58"/>
                      <a:pt x="94" y="27"/>
                      <a:pt x="78" y="0"/>
                    </a:cubicBezTo>
                    <a:cubicBezTo>
                      <a:pt x="0" y="47"/>
                      <a:pt x="26" y="32"/>
                      <a:pt x="0" y="47"/>
                    </a:cubicBezTo>
                    <a:cubicBezTo>
                      <a:pt x="10" y="74"/>
                      <a:pt x="26" y="100"/>
                      <a:pt x="36" y="12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8" name="Freeform 142">
                <a:extLst>
                  <a:ext uri="{FF2B5EF4-FFF2-40B4-BE49-F238E27FC236}">
                    <a16:creationId xmlns:a16="http://schemas.microsoft.com/office/drawing/2014/main" id="{D97B6E79-02F9-50A8-5699-9C102638FCF9}"/>
                  </a:ext>
                </a:extLst>
              </p:cNvPr>
              <p:cNvSpPr>
                <a:spLocks noChangeArrowheads="1"/>
              </p:cNvSpPr>
              <p:nvPr/>
            </p:nvSpPr>
            <p:spPr bwMode="auto">
              <a:xfrm>
                <a:off x="865188" y="5137150"/>
                <a:ext cx="38100" cy="38100"/>
              </a:xfrm>
              <a:custGeom>
                <a:avLst/>
                <a:gdLst>
                  <a:gd name="T0" fmla="*/ 21 w 116"/>
                  <a:gd name="T1" fmla="*/ 115 h 116"/>
                  <a:gd name="T2" fmla="*/ 21 w 116"/>
                  <a:gd name="T3" fmla="*/ 115 h 116"/>
                  <a:gd name="T4" fmla="*/ 115 w 116"/>
                  <a:gd name="T5" fmla="*/ 94 h 116"/>
                  <a:gd name="T6" fmla="*/ 89 w 116"/>
                  <a:gd name="T7" fmla="*/ 0 h 116"/>
                  <a:gd name="T8" fmla="*/ 0 w 116"/>
                  <a:gd name="T9" fmla="*/ 26 h 116"/>
                  <a:gd name="T10" fmla="*/ 21 w 116"/>
                  <a:gd name="T11" fmla="*/ 115 h 116"/>
                </a:gdLst>
                <a:ahLst/>
                <a:cxnLst>
                  <a:cxn ang="0">
                    <a:pos x="T0" y="T1"/>
                  </a:cxn>
                  <a:cxn ang="0">
                    <a:pos x="T2" y="T3"/>
                  </a:cxn>
                  <a:cxn ang="0">
                    <a:pos x="T4" y="T5"/>
                  </a:cxn>
                  <a:cxn ang="0">
                    <a:pos x="T6" y="T7"/>
                  </a:cxn>
                  <a:cxn ang="0">
                    <a:pos x="T8" y="T9"/>
                  </a:cxn>
                  <a:cxn ang="0">
                    <a:pos x="T10" y="T11"/>
                  </a:cxn>
                </a:cxnLst>
                <a:rect l="0" t="0" r="r" b="b"/>
                <a:pathLst>
                  <a:path w="116" h="116">
                    <a:moveTo>
                      <a:pt x="21" y="115"/>
                    </a:moveTo>
                    <a:lnTo>
                      <a:pt x="21" y="115"/>
                    </a:lnTo>
                    <a:cubicBezTo>
                      <a:pt x="115" y="94"/>
                      <a:pt x="84" y="101"/>
                      <a:pt x="115" y="94"/>
                    </a:cubicBezTo>
                    <a:cubicBezTo>
                      <a:pt x="105" y="62"/>
                      <a:pt x="100" y="26"/>
                      <a:pt x="89" y="0"/>
                    </a:cubicBezTo>
                    <a:cubicBezTo>
                      <a:pt x="0" y="26"/>
                      <a:pt x="30" y="18"/>
                      <a:pt x="0" y="26"/>
                    </a:cubicBezTo>
                    <a:cubicBezTo>
                      <a:pt x="5" y="57"/>
                      <a:pt x="16" y="83"/>
                      <a:pt x="21" y="115"/>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59" name="Freeform 143">
                <a:extLst>
                  <a:ext uri="{FF2B5EF4-FFF2-40B4-BE49-F238E27FC236}">
                    <a16:creationId xmlns:a16="http://schemas.microsoft.com/office/drawing/2014/main" id="{E48CD0D3-4DC1-6B91-FC5A-DFC0A7FD64F9}"/>
                  </a:ext>
                </a:extLst>
              </p:cNvPr>
              <p:cNvSpPr>
                <a:spLocks noChangeArrowheads="1"/>
              </p:cNvSpPr>
              <p:nvPr/>
            </p:nvSpPr>
            <p:spPr bwMode="auto">
              <a:xfrm>
                <a:off x="212725" y="5010150"/>
                <a:ext cx="46037" cy="46037"/>
              </a:xfrm>
              <a:custGeom>
                <a:avLst/>
                <a:gdLst>
                  <a:gd name="T0" fmla="*/ 136 w 137"/>
                  <a:gd name="T1" fmla="*/ 63 h 137"/>
                  <a:gd name="T2" fmla="*/ 136 w 137"/>
                  <a:gd name="T3" fmla="*/ 63 h 137"/>
                  <a:gd name="T4" fmla="*/ 62 w 137"/>
                  <a:gd name="T5" fmla="*/ 0 h 137"/>
                  <a:gd name="T6" fmla="*/ 0 w 137"/>
                  <a:gd name="T7" fmla="*/ 78 h 137"/>
                  <a:gd name="T8" fmla="*/ 78 w 137"/>
                  <a:gd name="T9" fmla="*/ 136 h 137"/>
                  <a:gd name="T10" fmla="*/ 136 w 137"/>
                  <a:gd name="T11" fmla="*/ 63 h 137"/>
                </a:gdLst>
                <a:ahLst/>
                <a:cxnLst>
                  <a:cxn ang="0">
                    <a:pos x="T0" y="T1"/>
                  </a:cxn>
                  <a:cxn ang="0">
                    <a:pos x="T2" y="T3"/>
                  </a:cxn>
                  <a:cxn ang="0">
                    <a:pos x="T4" y="T5"/>
                  </a:cxn>
                  <a:cxn ang="0">
                    <a:pos x="T6" y="T7"/>
                  </a:cxn>
                  <a:cxn ang="0">
                    <a:pos x="T8" y="T9"/>
                  </a:cxn>
                  <a:cxn ang="0">
                    <a:pos x="T10" y="T11"/>
                  </a:cxn>
                </a:cxnLst>
                <a:rect l="0" t="0" r="r" b="b"/>
                <a:pathLst>
                  <a:path w="137" h="137">
                    <a:moveTo>
                      <a:pt x="136" y="63"/>
                    </a:moveTo>
                    <a:lnTo>
                      <a:pt x="136" y="63"/>
                    </a:lnTo>
                    <a:cubicBezTo>
                      <a:pt x="62" y="0"/>
                      <a:pt x="87" y="21"/>
                      <a:pt x="62" y="0"/>
                    </a:cubicBezTo>
                    <a:cubicBezTo>
                      <a:pt x="42" y="26"/>
                      <a:pt x="21" y="52"/>
                      <a:pt x="0" y="78"/>
                    </a:cubicBezTo>
                    <a:cubicBezTo>
                      <a:pt x="78" y="136"/>
                      <a:pt x="52" y="117"/>
                      <a:pt x="78" y="136"/>
                    </a:cubicBezTo>
                    <a:cubicBezTo>
                      <a:pt x="94" y="109"/>
                      <a:pt x="115" y="83"/>
                      <a:pt x="136" y="6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0" name="Freeform 144">
                <a:extLst>
                  <a:ext uri="{FF2B5EF4-FFF2-40B4-BE49-F238E27FC236}">
                    <a16:creationId xmlns:a16="http://schemas.microsoft.com/office/drawing/2014/main" id="{6A308819-3A75-79A7-D897-6A6570513BB4}"/>
                  </a:ext>
                </a:extLst>
              </p:cNvPr>
              <p:cNvSpPr>
                <a:spLocks noChangeArrowheads="1"/>
              </p:cNvSpPr>
              <p:nvPr/>
            </p:nvSpPr>
            <p:spPr bwMode="auto">
              <a:xfrm>
                <a:off x="703263" y="4921250"/>
                <a:ext cx="42862" cy="44450"/>
              </a:xfrm>
              <a:custGeom>
                <a:avLst/>
                <a:gdLst>
                  <a:gd name="T0" fmla="*/ 126 w 127"/>
                  <a:gd name="T1" fmla="*/ 52 h 132"/>
                  <a:gd name="T2" fmla="*/ 126 w 127"/>
                  <a:gd name="T3" fmla="*/ 52 h 132"/>
                  <a:gd name="T4" fmla="*/ 42 w 127"/>
                  <a:gd name="T5" fmla="*/ 0 h 132"/>
                  <a:gd name="T6" fmla="*/ 0 w 127"/>
                  <a:gd name="T7" fmla="*/ 84 h 132"/>
                  <a:gd name="T8" fmla="*/ 73 w 127"/>
                  <a:gd name="T9" fmla="*/ 131 h 132"/>
                  <a:gd name="T10" fmla="*/ 126 w 127"/>
                  <a:gd name="T11" fmla="*/ 52 h 132"/>
                </a:gdLst>
                <a:ahLst/>
                <a:cxnLst>
                  <a:cxn ang="0">
                    <a:pos x="T0" y="T1"/>
                  </a:cxn>
                  <a:cxn ang="0">
                    <a:pos x="T2" y="T3"/>
                  </a:cxn>
                  <a:cxn ang="0">
                    <a:pos x="T4" y="T5"/>
                  </a:cxn>
                  <a:cxn ang="0">
                    <a:pos x="T6" y="T7"/>
                  </a:cxn>
                  <a:cxn ang="0">
                    <a:pos x="T8" y="T9"/>
                  </a:cxn>
                  <a:cxn ang="0">
                    <a:pos x="T10" y="T11"/>
                  </a:cxn>
                </a:cxnLst>
                <a:rect l="0" t="0" r="r" b="b"/>
                <a:pathLst>
                  <a:path w="127" h="132">
                    <a:moveTo>
                      <a:pt x="126" y="52"/>
                    </a:moveTo>
                    <a:lnTo>
                      <a:pt x="126" y="52"/>
                    </a:lnTo>
                    <a:cubicBezTo>
                      <a:pt x="100" y="37"/>
                      <a:pt x="73" y="15"/>
                      <a:pt x="42" y="0"/>
                    </a:cubicBezTo>
                    <a:cubicBezTo>
                      <a:pt x="0" y="84"/>
                      <a:pt x="14" y="56"/>
                      <a:pt x="0" y="84"/>
                    </a:cubicBezTo>
                    <a:cubicBezTo>
                      <a:pt x="26" y="99"/>
                      <a:pt x="52" y="115"/>
                      <a:pt x="73" y="131"/>
                    </a:cubicBezTo>
                    <a:cubicBezTo>
                      <a:pt x="91" y="105"/>
                      <a:pt x="108" y="79"/>
                      <a:pt x="126" y="52"/>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1" name="Freeform 145">
                <a:extLst>
                  <a:ext uri="{FF2B5EF4-FFF2-40B4-BE49-F238E27FC236}">
                    <a16:creationId xmlns:a16="http://schemas.microsoft.com/office/drawing/2014/main" id="{01512472-EE5A-945F-1F08-9A02CFBF5DF6}"/>
                  </a:ext>
                </a:extLst>
              </p:cNvPr>
              <p:cNvSpPr>
                <a:spLocks noChangeArrowheads="1"/>
              </p:cNvSpPr>
              <p:nvPr/>
            </p:nvSpPr>
            <p:spPr bwMode="auto">
              <a:xfrm>
                <a:off x="642938" y="4892675"/>
                <a:ext cx="39687" cy="41275"/>
              </a:xfrm>
              <a:custGeom>
                <a:avLst/>
                <a:gdLst>
                  <a:gd name="T0" fmla="*/ 120 w 121"/>
                  <a:gd name="T1" fmla="*/ 37 h 122"/>
                  <a:gd name="T2" fmla="*/ 120 w 121"/>
                  <a:gd name="T3" fmla="*/ 37 h 122"/>
                  <a:gd name="T4" fmla="*/ 31 w 121"/>
                  <a:gd name="T5" fmla="*/ 0 h 122"/>
                  <a:gd name="T6" fmla="*/ 0 w 121"/>
                  <a:gd name="T7" fmla="*/ 89 h 122"/>
                  <a:gd name="T8" fmla="*/ 83 w 121"/>
                  <a:gd name="T9" fmla="*/ 121 h 122"/>
                  <a:gd name="T10" fmla="*/ 120 w 121"/>
                  <a:gd name="T11" fmla="*/ 37 h 122"/>
                </a:gdLst>
                <a:ahLst/>
                <a:cxnLst>
                  <a:cxn ang="0">
                    <a:pos x="T0" y="T1"/>
                  </a:cxn>
                  <a:cxn ang="0">
                    <a:pos x="T2" y="T3"/>
                  </a:cxn>
                  <a:cxn ang="0">
                    <a:pos x="T4" y="T5"/>
                  </a:cxn>
                  <a:cxn ang="0">
                    <a:pos x="T6" y="T7"/>
                  </a:cxn>
                  <a:cxn ang="0">
                    <a:pos x="T8" y="T9"/>
                  </a:cxn>
                  <a:cxn ang="0">
                    <a:pos x="T10" y="T11"/>
                  </a:cxn>
                </a:cxnLst>
                <a:rect l="0" t="0" r="r" b="b"/>
                <a:pathLst>
                  <a:path w="121" h="122">
                    <a:moveTo>
                      <a:pt x="120" y="37"/>
                    </a:moveTo>
                    <a:lnTo>
                      <a:pt x="120" y="37"/>
                    </a:lnTo>
                    <a:cubicBezTo>
                      <a:pt x="94" y="22"/>
                      <a:pt x="63" y="11"/>
                      <a:pt x="31" y="0"/>
                    </a:cubicBezTo>
                    <a:cubicBezTo>
                      <a:pt x="0" y="89"/>
                      <a:pt x="10" y="60"/>
                      <a:pt x="0" y="89"/>
                    </a:cubicBezTo>
                    <a:cubicBezTo>
                      <a:pt x="31" y="100"/>
                      <a:pt x="57" y="110"/>
                      <a:pt x="83" y="121"/>
                    </a:cubicBezTo>
                    <a:cubicBezTo>
                      <a:pt x="95" y="93"/>
                      <a:pt x="108" y="65"/>
                      <a:pt x="120" y="3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2" name="Freeform 146">
                <a:extLst>
                  <a:ext uri="{FF2B5EF4-FFF2-40B4-BE49-F238E27FC236}">
                    <a16:creationId xmlns:a16="http://schemas.microsoft.com/office/drawing/2014/main" id="{EE42EE9B-7E7A-72AC-B9D0-DADFBF76F8B0}"/>
                  </a:ext>
                </a:extLst>
              </p:cNvPr>
              <p:cNvSpPr>
                <a:spLocks noChangeArrowheads="1"/>
              </p:cNvSpPr>
              <p:nvPr/>
            </p:nvSpPr>
            <p:spPr bwMode="auto">
              <a:xfrm>
                <a:off x="755650" y="4962525"/>
                <a:ext cx="44450" cy="44450"/>
              </a:xfrm>
              <a:custGeom>
                <a:avLst/>
                <a:gdLst>
                  <a:gd name="T0" fmla="*/ 130 w 131"/>
                  <a:gd name="T1" fmla="*/ 68 h 132"/>
                  <a:gd name="T2" fmla="*/ 130 w 131"/>
                  <a:gd name="T3" fmla="*/ 68 h 132"/>
                  <a:gd name="T4" fmla="*/ 63 w 131"/>
                  <a:gd name="T5" fmla="*/ 0 h 132"/>
                  <a:gd name="T6" fmla="*/ 0 w 131"/>
                  <a:gd name="T7" fmla="*/ 73 h 132"/>
                  <a:gd name="T8" fmla="*/ 68 w 131"/>
                  <a:gd name="T9" fmla="*/ 131 h 132"/>
                  <a:gd name="T10" fmla="*/ 130 w 131"/>
                  <a:gd name="T11" fmla="*/ 68 h 132"/>
                </a:gdLst>
                <a:ahLst/>
                <a:cxnLst>
                  <a:cxn ang="0">
                    <a:pos x="T0" y="T1"/>
                  </a:cxn>
                  <a:cxn ang="0">
                    <a:pos x="T2" y="T3"/>
                  </a:cxn>
                  <a:cxn ang="0">
                    <a:pos x="T4" y="T5"/>
                  </a:cxn>
                  <a:cxn ang="0">
                    <a:pos x="T6" y="T7"/>
                  </a:cxn>
                  <a:cxn ang="0">
                    <a:pos x="T8" y="T9"/>
                  </a:cxn>
                  <a:cxn ang="0">
                    <a:pos x="T10" y="T11"/>
                  </a:cxn>
                </a:cxnLst>
                <a:rect l="0" t="0" r="r" b="b"/>
                <a:pathLst>
                  <a:path w="131" h="132">
                    <a:moveTo>
                      <a:pt x="130" y="68"/>
                    </a:moveTo>
                    <a:lnTo>
                      <a:pt x="130" y="68"/>
                    </a:lnTo>
                    <a:cubicBezTo>
                      <a:pt x="109" y="42"/>
                      <a:pt x="83" y="21"/>
                      <a:pt x="63" y="0"/>
                    </a:cubicBezTo>
                    <a:cubicBezTo>
                      <a:pt x="0" y="73"/>
                      <a:pt x="21" y="49"/>
                      <a:pt x="0" y="73"/>
                    </a:cubicBezTo>
                    <a:cubicBezTo>
                      <a:pt x="20" y="89"/>
                      <a:pt x="46" y="110"/>
                      <a:pt x="68" y="131"/>
                    </a:cubicBezTo>
                    <a:cubicBezTo>
                      <a:pt x="89" y="110"/>
                      <a:pt x="109" y="89"/>
                      <a:pt x="130" y="6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3" name="Freeform 147">
                <a:extLst>
                  <a:ext uri="{FF2B5EF4-FFF2-40B4-BE49-F238E27FC236}">
                    <a16:creationId xmlns:a16="http://schemas.microsoft.com/office/drawing/2014/main" id="{B3D1988F-3B79-1956-535E-DE2B8AC02D7C}"/>
                  </a:ext>
                </a:extLst>
              </p:cNvPr>
              <p:cNvSpPr>
                <a:spLocks noChangeArrowheads="1"/>
              </p:cNvSpPr>
              <p:nvPr/>
            </p:nvSpPr>
            <p:spPr bwMode="auto">
              <a:xfrm>
                <a:off x="801688" y="5013325"/>
                <a:ext cx="46037" cy="44450"/>
              </a:xfrm>
              <a:custGeom>
                <a:avLst/>
                <a:gdLst>
                  <a:gd name="T0" fmla="*/ 58 w 137"/>
                  <a:gd name="T1" fmla="*/ 131 h 132"/>
                  <a:gd name="T2" fmla="*/ 58 w 137"/>
                  <a:gd name="T3" fmla="*/ 131 h 132"/>
                  <a:gd name="T4" fmla="*/ 136 w 137"/>
                  <a:gd name="T5" fmla="*/ 79 h 132"/>
                  <a:gd name="T6" fmla="*/ 74 w 137"/>
                  <a:gd name="T7" fmla="*/ 0 h 132"/>
                  <a:gd name="T8" fmla="*/ 0 w 137"/>
                  <a:gd name="T9" fmla="*/ 58 h 132"/>
                  <a:gd name="T10" fmla="*/ 58 w 137"/>
                  <a:gd name="T11" fmla="*/ 131 h 132"/>
                </a:gdLst>
                <a:ahLst/>
                <a:cxnLst>
                  <a:cxn ang="0">
                    <a:pos x="T0" y="T1"/>
                  </a:cxn>
                  <a:cxn ang="0">
                    <a:pos x="T2" y="T3"/>
                  </a:cxn>
                  <a:cxn ang="0">
                    <a:pos x="T4" y="T5"/>
                  </a:cxn>
                  <a:cxn ang="0">
                    <a:pos x="T6" y="T7"/>
                  </a:cxn>
                  <a:cxn ang="0">
                    <a:pos x="T8" y="T9"/>
                  </a:cxn>
                  <a:cxn ang="0">
                    <a:pos x="T10" y="T11"/>
                  </a:cxn>
                </a:cxnLst>
                <a:rect l="0" t="0" r="r" b="b"/>
                <a:pathLst>
                  <a:path w="137" h="132">
                    <a:moveTo>
                      <a:pt x="58" y="131"/>
                    </a:moveTo>
                    <a:lnTo>
                      <a:pt x="58" y="131"/>
                    </a:lnTo>
                    <a:cubicBezTo>
                      <a:pt x="136" y="79"/>
                      <a:pt x="110" y="97"/>
                      <a:pt x="136" y="79"/>
                    </a:cubicBezTo>
                    <a:cubicBezTo>
                      <a:pt x="115" y="53"/>
                      <a:pt x="94" y="21"/>
                      <a:pt x="74" y="0"/>
                    </a:cubicBezTo>
                    <a:cubicBezTo>
                      <a:pt x="0" y="58"/>
                      <a:pt x="25" y="39"/>
                      <a:pt x="0" y="58"/>
                    </a:cubicBezTo>
                    <a:cubicBezTo>
                      <a:pt x="21" y="84"/>
                      <a:pt x="37" y="105"/>
                      <a:pt x="58" y="131"/>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4" name="Freeform 148">
                <a:extLst>
                  <a:ext uri="{FF2B5EF4-FFF2-40B4-BE49-F238E27FC236}">
                    <a16:creationId xmlns:a16="http://schemas.microsoft.com/office/drawing/2014/main" id="{337610B5-DF54-0758-D241-5DA6D396087B}"/>
                  </a:ext>
                </a:extLst>
              </p:cNvPr>
              <p:cNvSpPr>
                <a:spLocks noChangeArrowheads="1"/>
              </p:cNvSpPr>
              <p:nvPr/>
            </p:nvSpPr>
            <p:spPr bwMode="auto">
              <a:xfrm>
                <a:off x="209550" y="5456238"/>
                <a:ext cx="44450" cy="44450"/>
              </a:xfrm>
              <a:custGeom>
                <a:avLst/>
                <a:gdLst>
                  <a:gd name="T0" fmla="*/ 78 w 131"/>
                  <a:gd name="T1" fmla="*/ 0 h 133"/>
                  <a:gd name="T2" fmla="*/ 78 w 131"/>
                  <a:gd name="T3" fmla="*/ 0 h 133"/>
                  <a:gd name="T4" fmla="*/ 0 w 131"/>
                  <a:gd name="T5" fmla="*/ 53 h 133"/>
                  <a:gd name="T6" fmla="*/ 62 w 131"/>
                  <a:gd name="T7" fmla="*/ 132 h 133"/>
                  <a:gd name="T8" fmla="*/ 130 w 131"/>
                  <a:gd name="T9" fmla="*/ 74 h 133"/>
                  <a:gd name="T10" fmla="*/ 78 w 131"/>
                  <a:gd name="T11" fmla="*/ 0 h 133"/>
                </a:gdLst>
                <a:ahLst/>
                <a:cxnLst>
                  <a:cxn ang="0">
                    <a:pos x="T0" y="T1"/>
                  </a:cxn>
                  <a:cxn ang="0">
                    <a:pos x="T2" y="T3"/>
                  </a:cxn>
                  <a:cxn ang="0">
                    <a:pos x="T4" y="T5"/>
                  </a:cxn>
                  <a:cxn ang="0">
                    <a:pos x="T6" y="T7"/>
                  </a:cxn>
                  <a:cxn ang="0">
                    <a:pos x="T8" y="T9"/>
                  </a:cxn>
                  <a:cxn ang="0">
                    <a:pos x="T10" y="T11"/>
                  </a:cxn>
                </a:cxnLst>
                <a:rect l="0" t="0" r="r" b="b"/>
                <a:pathLst>
                  <a:path w="131" h="133">
                    <a:moveTo>
                      <a:pt x="78" y="0"/>
                    </a:moveTo>
                    <a:lnTo>
                      <a:pt x="78" y="0"/>
                    </a:lnTo>
                    <a:cubicBezTo>
                      <a:pt x="0" y="53"/>
                      <a:pt x="26" y="36"/>
                      <a:pt x="0" y="53"/>
                    </a:cubicBezTo>
                    <a:cubicBezTo>
                      <a:pt x="21" y="79"/>
                      <a:pt x="41" y="105"/>
                      <a:pt x="62" y="132"/>
                    </a:cubicBezTo>
                    <a:cubicBezTo>
                      <a:pt x="130" y="74"/>
                      <a:pt x="107" y="94"/>
                      <a:pt x="130" y="74"/>
                    </a:cubicBezTo>
                    <a:cubicBezTo>
                      <a:pt x="115" y="48"/>
                      <a:pt x="93" y="27"/>
                      <a:pt x="78"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5" name="Freeform 149">
                <a:extLst>
                  <a:ext uri="{FF2B5EF4-FFF2-40B4-BE49-F238E27FC236}">
                    <a16:creationId xmlns:a16="http://schemas.microsoft.com/office/drawing/2014/main" id="{2D6F37CF-A766-E570-27A3-9EF4927E5937}"/>
                  </a:ext>
                </a:extLst>
              </p:cNvPr>
              <p:cNvSpPr>
                <a:spLocks noChangeArrowheads="1"/>
              </p:cNvSpPr>
              <p:nvPr/>
            </p:nvSpPr>
            <p:spPr bwMode="auto">
              <a:xfrm>
                <a:off x="309563" y="5548313"/>
                <a:ext cx="44450" cy="44450"/>
              </a:xfrm>
              <a:custGeom>
                <a:avLst/>
                <a:gdLst>
                  <a:gd name="T0" fmla="*/ 0 w 131"/>
                  <a:gd name="T1" fmla="*/ 78 h 132"/>
                  <a:gd name="T2" fmla="*/ 0 w 131"/>
                  <a:gd name="T3" fmla="*/ 78 h 132"/>
                  <a:gd name="T4" fmla="*/ 84 w 131"/>
                  <a:gd name="T5" fmla="*/ 131 h 132"/>
                  <a:gd name="T6" fmla="*/ 130 w 131"/>
                  <a:gd name="T7" fmla="*/ 47 h 132"/>
                  <a:gd name="T8" fmla="*/ 52 w 131"/>
                  <a:gd name="T9" fmla="*/ 0 h 132"/>
                  <a:gd name="T10" fmla="*/ 0 w 131"/>
                  <a:gd name="T11" fmla="*/ 78 h 132"/>
                </a:gdLst>
                <a:ahLst/>
                <a:cxnLst>
                  <a:cxn ang="0">
                    <a:pos x="T0" y="T1"/>
                  </a:cxn>
                  <a:cxn ang="0">
                    <a:pos x="T2" y="T3"/>
                  </a:cxn>
                  <a:cxn ang="0">
                    <a:pos x="T4" y="T5"/>
                  </a:cxn>
                  <a:cxn ang="0">
                    <a:pos x="T6" y="T7"/>
                  </a:cxn>
                  <a:cxn ang="0">
                    <a:pos x="T8" y="T9"/>
                  </a:cxn>
                  <a:cxn ang="0">
                    <a:pos x="T10" y="T11"/>
                  </a:cxn>
                </a:cxnLst>
                <a:rect l="0" t="0" r="r" b="b"/>
                <a:pathLst>
                  <a:path w="131" h="132">
                    <a:moveTo>
                      <a:pt x="0" y="78"/>
                    </a:moveTo>
                    <a:lnTo>
                      <a:pt x="0" y="78"/>
                    </a:lnTo>
                    <a:cubicBezTo>
                      <a:pt x="26" y="94"/>
                      <a:pt x="58" y="115"/>
                      <a:pt x="84" y="131"/>
                    </a:cubicBezTo>
                    <a:cubicBezTo>
                      <a:pt x="130" y="47"/>
                      <a:pt x="115" y="75"/>
                      <a:pt x="130" y="47"/>
                    </a:cubicBezTo>
                    <a:cubicBezTo>
                      <a:pt x="104" y="31"/>
                      <a:pt x="78" y="16"/>
                      <a:pt x="52" y="0"/>
                    </a:cubicBezTo>
                    <a:cubicBezTo>
                      <a:pt x="35" y="26"/>
                      <a:pt x="17" y="52"/>
                      <a:pt x="0" y="7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6" name="Freeform 150">
                <a:extLst>
                  <a:ext uri="{FF2B5EF4-FFF2-40B4-BE49-F238E27FC236}">
                    <a16:creationId xmlns:a16="http://schemas.microsoft.com/office/drawing/2014/main" id="{EE1CDEB0-FA58-6316-6677-AC95CA873651}"/>
                  </a:ext>
                </a:extLst>
              </p:cNvPr>
              <p:cNvSpPr>
                <a:spLocks noChangeArrowheads="1"/>
              </p:cNvSpPr>
              <p:nvPr/>
            </p:nvSpPr>
            <p:spPr bwMode="auto">
              <a:xfrm>
                <a:off x="800100" y="5459413"/>
                <a:ext cx="44450" cy="44450"/>
              </a:xfrm>
              <a:custGeom>
                <a:avLst/>
                <a:gdLst>
                  <a:gd name="T0" fmla="*/ 0 w 132"/>
                  <a:gd name="T1" fmla="*/ 68 h 132"/>
                  <a:gd name="T2" fmla="*/ 0 w 132"/>
                  <a:gd name="T3" fmla="*/ 68 h 132"/>
                  <a:gd name="T4" fmla="*/ 73 w 132"/>
                  <a:gd name="T5" fmla="*/ 131 h 132"/>
                  <a:gd name="T6" fmla="*/ 131 w 132"/>
                  <a:gd name="T7" fmla="*/ 52 h 132"/>
                  <a:gd name="T8" fmla="*/ 58 w 132"/>
                  <a:gd name="T9" fmla="*/ 0 h 132"/>
                  <a:gd name="T10" fmla="*/ 0 w 132"/>
                  <a:gd name="T11" fmla="*/ 68 h 132"/>
                </a:gdLst>
                <a:ahLst/>
                <a:cxnLst>
                  <a:cxn ang="0">
                    <a:pos x="T0" y="T1"/>
                  </a:cxn>
                  <a:cxn ang="0">
                    <a:pos x="T2" y="T3"/>
                  </a:cxn>
                  <a:cxn ang="0">
                    <a:pos x="T4" y="T5"/>
                  </a:cxn>
                  <a:cxn ang="0">
                    <a:pos x="T6" y="T7"/>
                  </a:cxn>
                  <a:cxn ang="0">
                    <a:pos x="T8" y="T9"/>
                  </a:cxn>
                  <a:cxn ang="0">
                    <a:pos x="T10" y="T11"/>
                  </a:cxn>
                </a:cxnLst>
                <a:rect l="0" t="0" r="r" b="b"/>
                <a:pathLst>
                  <a:path w="132" h="132">
                    <a:moveTo>
                      <a:pt x="0" y="68"/>
                    </a:moveTo>
                    <a:lnTo>
                      <a:pt x="0" y="68"/>
                    </a:lnTo>
                    <a:cubicBezTo>
                      <a:pt x="73" y="131"/>
                      <a:pt x="49" y="110"/>
                      <a:pt x="73" y="131"/>
                    </a:cubicBezTo>
                    <a:cubicBezTo>
                      <a:pt x="94" y="105"/>
                      <a:pt x="115" y="79"/>
                      <a:pt x="131" y="52"/>
                    </a:cubicBezTo>
                    <a:cubicBezTo>
                      <a:pt x="58" y="0"/>
                      <a:pt x="82" y="18"/>
                      <a:pt x="58" y="0"/>
                    </a:cubicBezTo>
                    <a:cubicBezTo>
                      <a:pt x="36" y="21"/>
                      <a:pt x="21" y="47"/>
                      <a:pt x="0" y="6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7" name="Freeform 151">
                <a:extLst>
                  <a:ext uri="{FF2B5EF4-FFF2-40B4-BE49-F238E27FC236}">
                    <a16:creationId xmlns:a16="http://schemas.microsoft.com/office/drawing/2014/main" id="{60BF19F8-4C27-34D4-8EF9-7C857AE267F4}"/>
                  </a:ext>
                </a:extLst>
              </p:cNvPr>
              <p:cNvSpPr>
                <a:spLocks noChangeArrowheads="1"/>
              </p:cNvSpPr>
              <p:nvPr/>
            </p:nvSpPr>
            <p:spPr bwMode="auto">
              <a:xfrm>
                <a:off x="700088" y="5549900"/>
                <a:ext cx="44450" cy="44450"/>
              </a:xfrm>
              <a:custGeom>
                <a:avLst/>
                <a:gdLst>
                  <a:gd name="T0" fmla="*/ 0 w 132"/>
                  <a:gd name="T1" fmla="*/ 47 h 132"/>
                  <a:gd name="T2" fmla="*/ 0 w 132"/>
                  <a:gd name="T3" fmla="*/ 47 h 132"/>
                  <a:gd name="T4" fmla="*/ 47 w 132"/>
                  <a:gd name="T5" fmla="*/ 131 h 132"/>
                  <a:gd name="T6" fmla="*/ 131 w 132"/>
                  <a:gd name="T7" fmla="*/ 79 h 132"/>
                  <a:gd name="T8" fmla="*/ 78 w 132"/>
                  <a:gd name="T9" fmla="*/ 0 h 132"/>
                  <a:gd name="T10" fmla="*/ 0 w 132"/>
                  <a:gd name="T11" fmla="*/ 47 h 132"/>
                </a:gdLst>
                <a:ahLst/>
                <a:cxnLst>
                  <a:cxn ang="0">
                    <a:pos x="T0" y="T1"/>
                  </a:cxn>
                  <a:cxn ang="0">
                    <a:pos x="T2" y="T3"/>
                  </a:cxn>
                  <a:cxn ang="0">
                    <a:pos x="T4" y="T5"/>
                  </a:cxn>
                  <a:cxn ang="0">
                    <a:pos x="T6" y="T7"/>
                  </a:cxn>
                  <a:cxn ang="0">
                    <a:pos x="T8" y="T9"/>
                  </a:cxn>
                  <a:cxn ang="0">
                    <a:pos x="T10" y="T11"/>
                  </a:cxn>
                </a:cxnLst>
                <a:rect l="0" t="0" r="r" b="b"/>
                <a:pathLst>
                  <a:path w="132" h="132">
                    <a:moveTo>
                      <a:pt x="0" y="47"/>
                    </a:moveTo>
                    <a:lnTo>
                      <a:pt x="0" y="47"/>
                    </a:lnTo>
                    <a:cubicBezTo>
                      <a:pt x="47" y="131"/>
                      <a:pt x="31" y="103"/>
                      <a:pt x="47" y="131"/>
                    </a:cubicBezTo>
                    <a:cubicBezTo>
                      <a:pt x="73" y="115"/>
                      <a:pt x="105" y="95"/>
                      <a:pt x="131" y="79"/>
                    </a:cubicBezTo>
                    <a:cubicBezTo>
                      <a:pt x="78" y="0"/>
                      <a:pt x="96" y="27"/>
                      <a:pt x="78" y="0"/>
                    </a:cubicBezTo>
                    <a:cubicBezTo>
                      <a:pt x="52" y="16"/>
                      <a:pt x="26" y="32"/>
                      <a:pt x="0" y="4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8" name="Freeform 152">
                <a:extLst>
                  <a:ext uri="{FF2B5EF4-FFF2-40B4-BE49-F238E27FC236}">
                    <a16:creationId xmlns:a16="http://schemas.microsoft.com/office/drawing/2014/main" id="{BBDF5AA8-B07A-601A-D8AF-958F80786B08}"/>
                  </a:ext>
                </a:extLst>
              </p:cNvPr>
              <p:cNvSpPr>
                <a:spLocks noChangeArrowheads="1"/>
              </p:cNvSpPr>
              <p:nvPr/>
            </p:nvSpPr>
            <p:spPr bwMode="auto">
              <a:xfrm>
                <a:off x="177800" y="5067300"/>
                <a:ext cx="42862" cy="44450"/>
              </a:xfrm>
              <a:custGeom>
                <a:avLst/>
                <a:gdLst>
                  <a:gd name="T0" fmla="*/ 125 w 126"/>
                  <a:gd name="T1" fmla="*/ 47 h 132"/>
                  <a:gd name="T2" fmla="*/ 125 w 126"/>
                  <a:gd name="T3" fmla="*/ 47 h 132"/>
                  <a:gd name="T4" fmla="*/ 41 w 126"/>
                  <a:gd name="T5" fmla="*/ 0 h 132"/>
                  <a:gd name="T6" fmla="*/ 0 w 126"/>
                  <a:gd name="T7" fmla="*/ 89 h 132"/>
                  <a:gd name="T8" fmla="*/ 83 w 126"/>
                  <a:gd name="T9" fmla="*/ 131 h 132"/>
                  <a:gd name="T10" fmla="*/ 125 w 126"/>
                  <a:gd name="T11" fmla="*/ 47 h 132"/>
                </a:gdLst>
                <a:ahLst/>
                <a:cxnLst>
                  <a:cxn ang="0">
                    <a:pos x="T0" y="T1"/>
                  </a:cxn>
                  <a:cxn ang="0">
                    <a:pos x="T2" y="T3"/>
                  </a:cxn>
                  <a:cxn ang="0">
                    <a:pos x="T4" y="T5"/>
                  </a:cxn>
                  <a:cxn ang="0">
                    <a:pos x="T6" y="T7"/>
                  </a:cxn>
                  <a:cxn ang="0">
                    <a:pos x="T8" y="T9"/>
                  </a:cxn>
                  <a:cxn ang="0">
                    <a:pos x="T10" y="T11"/>
                  </a:cxn>
                </a:cxnLst>
                <a:rect l="0" t="0" r="r" b="b"/>
                <a:pathLst>
                  <a:path w="126" h="132">
                    <a:moveTo>
                      <a:pt x="125" y="47"/>
                    </a:moveTo>
                    <a:lnTo>
                      <a:pt x="125" y="47"/>
                    </a:lnTo>
                    <a:cubicBezTo>
                      <a:pt x="41" y="0"/>
                      <a:pt x="69" y="16"/>
                      <a:pt x="41" y="0"/>
                    </a:cubicBezTo>
                    <a:cubicBezTo>
                      <a:pt x="26" y="31"/>
                      <a:pt x="10" y="63"/>
                      <a:pt x="0" y="89"/>
                    </a:cubicBezTo>
                    <a:cubicBezTo>
                      <a:pt x="83" y="131"/>
                      <a:pt x="55" y="117"/>
                      <a:pt x="83" y="131"/>
                    </a:cubicBezTo>
                    <a:cubicBezTo>
                      <a:pt x="99" y="105"/>
                      <a:pt x="110" y="73"/>
                      <a:pt x="125" y="47"/>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69" name="Freeform 153">
                <a:extLst>
                  <a:ext uri="{FF2B5EF4-FFF2-40B4-BE49-F238E27FC236}">
                    <a16:creationId xmlns:a16="http://schemas.microsoft.com/office/drawing/2014/main" id="{9ACAAB65-651A-A52E-2FBA-CDCA2B8B4536}"/>
                  </a:ext>
                </a:extLst>
              </p:cNvPr>
              <p:cNvSpPr>
                <a:spLocks noChangeArrowheads="1"/>
              </p:cNvSpPr>
              <p:nvPr/>
            </p:nvSpPr>
            <p:spPr bwMode="auto">
              <a:xfrm>
                <a:off x="879475" y="5275263"/>
                <a:ext cx="34925" cy="36512"/>
              </a:xfrm>
              <a:custGeom>
                <a:avLst/>
                <a:gdLst>
                  <a:gd name="T0" fmla="*/ 10 w 105"/>
                  <a:gd name="T1" fmla="*/ 6 h 111"/>
                  <a:gd name="T2" fmla="*/ 10 w 105"/>
                  <a:gd name="T3" fmla="*/ 6 h 111"/>
                  <a:gd name="T4" fmla="*/ 0 w 105"/>
                  <a:gd name="T5" fmla="*/ 95 h 111"/>
                  <a:gd name="T6" fmla="*/ 94 w 105"/>
                  <a:gd name="T7" fmla="*/ 110 h 111"/>
                  <a:gd name="T8" fmla="*/ 104 w 105"/>
                  <a:gd name="T9" fmla="*/ 11 h 111"/>
                  <a:gd name="T10" fmla="*/ 104 w 105"/>
                  <a:gd name="T11" fmla="*/ 6 h 111"/>
                  <a:gd name="T12" fmla="*/ 10 w 105"/>
                  <a:gd name="T13" fmla="*/ 0 h 111"/>
                  <a:gd name="T14" fmla="*/ 10 w 105"/>
                  <a:gd name="T15" fmla="*/ 6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11">
                    <a:moveTo>
                      <a:pt x="10" y="6"/>
                    </a:moveTo>
                    <a:lnTo>
                      <a:pt x="10" y="6"/>
                    </a:lnTo>
                    <a:cubicBezTo>
                      <a:pt x="5" y="37"/>
                      <a:pt x="5" y="69"/>
                      <a:pt x="0" y="95"/>
                    </a:cubicBezTo>
                    <a:cubicBezTo>
                      <a:pt x="94" y="110"/>
                      <a:pt x="63" y="105"/>
                      <a:pt x="94" y="110"/>
                    </a:cubicBezTo>
                    <a:cubicBezTo>
                      <a:pt x="99" y="79"/>
                      <a:pt x="99" y="42"/>
                      <a:pt x="104" y="11"/>
                    </a:cubicBezTo>
                    <a:cubicBezTo>
                      <a:pt x="104" y="6"/>
                      <a:pt x="104" y="8"/>
                      <a:pt x="104" y="6"/>
                    </a:cubicBezTo>
                    <a:cubicBezTo>
                      <a:pt x="10" y="0"/>
                      <a:pt x="41" y="2"/>
                      <a:pt x="10" y="0"/>
                    </a:cubicBezTo>
                    <a:cubicBezTo>
                      <a:pt x="10" y="2"/>
                      <a:pt x="10" y="4"/>
                      <a:pt x="10" y="6"/>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0" name="Freeform 154">
                <a:extLst>
                  <a:ext uri="{FF2B5EF4-FFF2-40B4-BE49-F238E27FC236}">
                    <a16:creationId xmlns:a16="http://schemas.microsoft.com/office/drawing/2014/main" id="{9E7FBB55-DFE6-3EBF-9D5E-4F34D259F757}"/>
                  </a:ext>
                </a:extLst>
              </p:cNvPr>
              <p:cNvSpPr>
                <a:spLocks noChangeArrowheads="1"/>
              </p:cNvSpPr>
              <p:nvPr/>
            </p:nvSpPr>
            <p:spPr bwMode="auto">
              <a:xfrm>
                <a:off x="836613" y="5402263"/>
                <a:ext cx="42862" cy="42862"/>
              </a:xfrm>
              <a:custGeom>
                <a:avLst/>
                <a:gdLst>
                  <a:gd name="T0" fmla="*/ 0 w 126"/>
                  <a:gd name="T1" fmla="*/ 79 h 127"/>
                  <a:gd name="T2" fmla="*/ 0 w 126"/>
                  <a:gd name="T3" fmla="*/ 79 h 127"/>
                  <a:gd name="T4" fmla="*/ 78 w 126"/>
                  <a:gd name="T5" fmla="*/ 126 h 127"/>
                  <a:gd name="T6" fmla="*/ 125 w 126"/>
                  <a:gd name="T7" fmla="*/ 37 h 127"/>
                  <a:gd name="T8" fmla="*/ 41 w 126"/>
                  <a:gd name="T9" fmla="*/ 0 h 127"/>
                  <a:gd name="T10" fmla="*/ 0 w 126"/>
                  <a:gd name="T11" fmla="*/ 79 h 127"/>
                </a:gdLst>
                <a:ahLst/>
                <a:cxnLst>
                  <a:cxn ang="0">
                    <a:pos x="T0" y="T1"/>
                  </a:cxn>
                  <a:cxn ang="0">
                    <a:pos x="T2" y="T3"/>
                  </a:cxn>
                  <a:cxn ang="0">
                    <a:pos x="T4" y="T5"/>
                  </a:cxn>
                  <a:cxn ang="0">
                    <a:pos x="T6" y="T7"/>
                  </a:cxn>
                  <a:cxn ang="0">
                    <a:pos x="T8" y="T9"/>
                  </a:cxn>
                  <a:cxn ang="0">
                    <a:pos x="T10" y="T11"/>
                  </a:cxn>
                </a:cxnLst>
                <a:rect l="0" t="0" r="r" b="b"/>
                <a:pathLst>
                  <a:path w="126" h="127">
                    <a:moveTo>
                      <a:pt x="0" y="79"/>
                    </a:moveTo>
                    <a:lnTo>
                      <a:pt x="0" y="79"/>
                    </a:lnTo>
                    <a:cubicBezTo>
                      <a:pt x="78" y="126"/>
                      <a:pt x="52" y="111"/>
                      <a:pt x="78" y="126"/>
                    </a:cubicBezTo>
                    <a:cubicBezTo>
                      <a:pt x="99" y="100"/>
                      <a:pt x="109" y="68"/>
                      <a:pt x="125" y="37"/>
                    </a:cubicBezTo>
                    <a:cubicBezTo>
                      <a:pt x="41" y="0"/>
                      <a:pt x="69" y="13"/>
                      <a:pt x="41" y="0"/>
                    </a:cubicBezTo>
                    <a:cubicBezTo>
                      <a:pt x="26" y="26"/>
                      <a:pt x="15" y="53"/>
                      <a:pt x="0" y="79"/>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1" name="Freeform 155">
                <a:extLst>
                  <a:ext uri="{FF2B5EF4-FFF2-40B4-BE49-F238E27FC236}">
                    <a16:creationId xmlns:a16="http://schemas.microsoft.com/office/drawing/2014/main" id="{B46089EC-8ED7-C749-074F-E334A4B50393}"/>
                  </a:ext>
                </a:extLst>
              </p:cNvPr>
              <p:cNvSpPr>
                <a:spLocks noChangeArrowheads="1"/>
              </p:cNvSpPr>
              <p:nvPr/>
            </p:nvSpPr>
            <p:spPr bwMode="auto">
              <a:xfrm>
                <a:off x="863600" y="5340350"/>
                <a:ext cx="38100" cy="39687"/>
              </a:xfrm>
              <a:custGeom>
                <a:avLst/>
                <a:gdLst>
                  <a:gd name="T0" fmla="*/ 0 w 116"/>
                  <a:gd name="T1" fmla="*/ 88 h 121"/>
                  <a:gd name="T2" fmla="*/ 0 w 116"/>
                  <a:gd name="T3" fmla="*/ 88 h 121"/>
                  <a:gd name="T4" fmla="*/ 89 w 116"/>
                  <a:gd name="T5" fmla="*/ 120 h 121"/>
                  <a:gd name="T6" fmla="*/ 115 w 116"/>
                  <a:gd name="T7" fmla="*/ 21 h 121"/>
                  <a:gd name="T8" fmla="*/ 26 w 116"/>
                  <a:gd name="T9" fmla="*/ 0 h 121"/>
                  <a:gd name="T10" fmla="*/ 0 w 116"/>
                  <a:gd name="T11" fmla="*/ 88 h 121"/>
                </a:gdLst>
                <a:ahLst/>
                <a:cxnLst>
                  <a:cxn ang="0">
                    <a:pos x="T0" y="T1"/>
                  </a:cxn>
                  <a:cxn ang="0">
                    <a:pos x="T2" y="T3"/>
                  </a:cxn>
                  <a:cxn ang="0">
                    <a:pos x="T4" y="T5"/>
                  </a:cxn>
                  <a:cxn ang="0">
                    <a:pos x="T6" y="T7"/>
                  </a:cxn>
                  <a:cxn ang="0">
                    <a:pos x="T8" y="T9"/>
                  </a:cxn>
                  <a:cxn ang="0">
                    <a:pos x="T10" y="T11"/>
                  </a:cxn>
                </a:cxnLst>
                <a:rect l="0" t="0" r="r" b="b"/>
                <a:pathLst>
                  <a:path w="116" h="121">
                    <a:moveTo>
                      <a:pt x="0" y="88"/>
                    </a:moveTo>
                    <a:lnTo>
                      <a:pt x="0" y="88"/>
                    </a:lnTo>
                    <a:cubicBezTo>
                      <a:pt x="89" y="120"/>
                      <a:pt x="59" y="110"/>
                      <a:pt x="89" y="120"/>
                    </a:cubicBezTo>
                    <a:cubicBezTo>
                      <a:pt x="99" y="88"/>
                      <a:pt x="110" y="52"/>
                      <a:pt x="115" y="21"/>
                    </a:cubicBezTo>
                    <a:cubicBezTo>
                      <a:pt x="26" y="0"/>
                      <a:pt x="56" y="7"/>
                      <a:pt x="26" y="0"/>
                    </a:cubicBezTo>
                    <a:cubicBezTo>
                      <a:pt x="16" y="31"/>
                      <a:pt x="10" y="57"/>
                      <a:pt x="0" y="8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2" name="Freeform 156">
                <a:extLst>
                  <a:ext uri="{FF2B5EF4-FFF2-40B4-BE49-F238E27FC236}">
                    <a16:creationId xmlns:a16="http://schemas.microsoft.com/office/drawing/2014/main" id="{49AB1086-6758-B198-CEEA-9287C4C08FCC}"/>
                  </a:ext>
                </a:extLst>
              </p:cNvPr>
              <p:cNvSpPr>
                <a:spLocks noChangeArrowheads="1"/>
              </p:cNvSpPr>
              <p:nvPr/>
            </p:nvSpPr>
            <p:spPr bwMode="auto">
              <a:xfrm>
                <a:off x="754063" y="5508625"/>
                <a:ext cx="44450" cy="46037"/>
              </a:xfrm>
              <a:custGeom>
                <a:avLst/>
                <a:gdLst>
                  <a:gd name="T0" fmla="*/ 0 w 132"/>
                  <a:gd name="T1" fmla="*/ 63 h 137"/>
                  <a:gd name="T2" fmla="*/ 0 w 132"/>
                  <a:gd name="T3" fmla="*/ 63 h 137"/>
                  <a:gd name="T4" fmla="*/ 58 w 132"/>
                  <a:gd name="T5" fmla="*/ 136 h 137"/>
                  <a:gd name="T6" fmla="*/ 131 w 132"/>
                  <a:gd name="T7" fmla="*/ 68 h 137"/>
                  <a:gd name="T8" fmla="*/ 63 w 132"/>
                  <a:gd name="T9" fmla="*/ 0 h 137"/>
                  <a:gd name="T10" fmla="*/ 0 w 132"/>
                  <a:gd name="T11" fmla="*/ 63 h 137"/>
                </a:gdLst>
                <a:ahLst/>
                <a:cxnLst>
                  <a:cxn ang="0">
                    <a:pos x="T0" y="T1"/>
                  </a:cxn>
                  <a:cxn ang="0">
                    <a:pos x="T2" y="T3"/>
                  </a:cxn>
                  <a:cxn ang="0">
                    <a:pos x="T4" y="T5"/>
                  </a:cxn>
                  <a:cxn ang="0">
                    <a:pos x="T6" y="T7"/>
                  </a:cxn>
                  <a:cxn ang="0">
                    <a:pos x="T8" y="T9"/>
                  </a:cxn>
                  <a:cxn ang="0">
                    <a:pos x="T10" y="T11"/>
                  </a:cxn>
                </a:cxnLst>
                <a:rect l="0" t="0" r="r" b="b"/>
                <a:pathLst>
                  <a:path w="132" h="137">
                    <a:moveTo>
                      <a:pt x="0" y="63"/>
                    </a:moveTo>
                    <a:lnTo>
                      <a:pt x="0" y="63"/>
                    </a:lnTo>
                    <a:cubicBezTo>
                      <a:pt x="58" y="136"/>
                      <a:pt x="39" y="112"/>
                      <a:pt x="58" y="136"/>
                    </a:cubicBezTo>
                    <a:cubicBezTo>
                      <a:pt x="84" y="115"/>
                      <a:pt x="110" y="89"/>
                      <a:pt x="131" y="68"/>
                    </a:cubicBezTo>
                    <a:cubicBezTo>
                      <a:pt x="63" y="0"/>
                      <a:pt x="86" y="23"/>
                      <a:pt x="63" y="0"/>
                    </a:cubicBezTo>
                    <a:cubicBezTo>
                      <a:pt x="42" y="21"/>
                      <a:pt x="21" y="42"/>
                      <a:pt x="0" y="6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3" name="Freeform 157">
                <a:extLst>
                  <a:ext uri="{FF2B5EF4-FFF2-40B4-BE49-F238E27FC236}">
                    <a16:creationId xmlns:a16="http://schemas.microsoft.com/office/drawing/2014/main" id="{013A7CA6-FDD4-388D-0D73-D3FA79FEF198}"/>
                  </a:ext>
                </a:extLst>
              </p:cNvPr>
              <p:cNvSpPr>
                <a:spLocks noChangeArrowheads="1"/>
              </p:cNvSpPr>
              <p:nvPr/>
            </p:nvSpPr>
            <p:spPr bwMode="auto">
              <a:xfrm>
                <a:off x="255588" y="5507038"/>
                <a:ext cx="46037" cy="44450"/>
              </a:xfrm>
              <a:custGeom>
                <a:avLst/>
                <a:gdLst>
                  <a:gd name="T0" fmla="*/ 0 w 137"/>
                  <a:gd name="T1" fmla="*/ 63 h 132"/>
                  <a:gd name="T2" fmla="*/ 0 w 137"/>
                  <a:gd name="T3" fmla="*/ 63 h 132"/>
                  <a:gd name="T4" fmla="*/ 73 w 137"/>
                  <a:gd name="T5" fmla="*/ 131 h 132"/>
                  <a:gd name="T6" fmla="*/ 136 w 137"/>
                  <a:gd name="T7" fmla="*/ 57 h 132"/>
                  <a:gd name="T8" fmla="*/ 68 w 137"/>
                  <a:gd name="T9" fmla="*/ 0 h 132"/>
                  <a:gd name="T10" fmla="*/ 0 w 137"/>
                  <a:gd name="T11" fmla="*/ 63 h 132"/>
                </a:gdLst>
                <a:ahLst/>
                <a:cxnLst>
                  <a:cxn ang="0">
                    <a:pos x="T0" y="T1"/>
                  </a:cxn>
                  <a:cxn ang="0">
                    <a:pos x="T2" y="T3"/>
                  </a:cxn>
                  <a:cxn ang="0">
                    <a:pos x="T4" y="T5"/>
                  </a:cxn>
                  <a:cxn ang="0">
                    <a:pos x="T6" y="T7"/>
                  </a:cxn>
                  <a:cxn ang="0">
                    <a:pos x="T8" y="T9"/>
                  </a:cxn>
                  <a:cxn ang="0">
                    <a:pos x="T10" y="T11"/>
                  </a:cxn>
                </a:cxnLst>
                <a:rect l="0" t="0" r="r" b="b"/>
                <a:pathLst>
                  <a:path w="137" h="132">
                    <a:moveTo>
                      <a:pt x="0" y="63"/>
                    </a:moveTo>
                    <a:lnTo>
                      <a:pt x="0" y="63"/>
                    </a:lnTo>
                    <a:cubicBezTo>
                      <a:pt x="26" y="89"/>
                      <a:pt x="47" y="110"/>
                      <a:pt x="73" y="131"/>
                    </a:cubicBezTo>
                    <a:cubicBezTo>
                      <a:pt x="136" y="57"/>
                      <a:pt x="115" y="82"/>
                      <a:pt x="136" y="57"/>
                    </a:cubicBezTo>
                    <a:cubicBezTo>
                      <a:pt x="110" y="42"/>
                      <a:pt x="89" y="21"/>
                      <a:pt x="68" y="0"/>
                    </a:cubicBezTo>
                    <a:cubicBezTo>
                      <a:pt x="45" y="21"/>
                      <a:pt x="23" y="42"/>
                      <a:pt x="0" y="63"/>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4" name="Freeform 158">
                <a:extLst>
                  <a:ext uri="{FF2B5EF4-FFF2-40B4-BE49-F238E27FC236}">
                    <a16:creationId xmlns:a16="http://schemas.microsoft.com/office/drawing/2014/main" id="{71CEA896-EB52-B99E-9311-BB7624B01B74}"/>
                  </a:ext>
                </a:extLst>
              </p:cNvPr>
              <p:cNvSpPr>
                <a:spLocks noChangeArrowheads="1"/>
              </p:cNvSpPr>
              <p:nvPr/>
            </p:nvSpPr>
            <p:spPr bwMode="auto">
              <a:xfrm>
                <a:off x="155575" y="5133975"/>
                <a:ext cx="38100" cy="38100"/>
              </a:xfrm>
              <a:custGeom>
                <a:avLst/>
                <a:gdLst>
                  <a:gd name="T0" fmla="*/ 115 w 116"/>
                  <a:gd name="T1" fmla="*/ 32 h 116"/>
                  <a:gd name="T2" fmla="*/ 115 w 116"/>
                  <a:gd name="T3" fmla="*/ 32 h 116"/>
                  <a:gd name="T4" fmla="*/ 26 w 116"/>
                  <a:gd name="T5" fmla="*/ 0 h 116"/>
                  <a:gd name="T6" fmla="*/ 0 w 116"/>
                  <a:gd name="T7" fmla="*/ 94 h 116"/>
                  <a:gd name="T8" fmla="*/ 89 w 116"/>
                  <a:gd name="T9" fmla="*/ 115 h 116"/>
                  <a:gd name="T10" fmla="*/ 115 w 116"/>
                  <a:gd name="T11" fmla="*/ 32 h 116"/>
                </a:gdLst>
                <a:ahLst/>
                <a:cxnLst>
                  <a:cxn ang="0">
                    <a:pos x="T0" y="T1"/>
                  </a:cxn>
                  <a:cxn ang="0">
                    <a:pos x="T2" y="T3"/>
                  </a:cxn>
                  <a:cxn ang="0">
                    <a:pos x="T4" y="T5"/>
                  </a:cxn>
                  <a:cxn ang="0">
                    <a:pos x="T6" y="T7"/>
                  </a:cxn>
                  <a:cxn ang="0">
                    <a:pos x="T8" y="T9"/>
                  </a:cxn>
                  <a:cxn ang="0">
                    <a:pos x="T10" y="T11"/>
                  </a:cxn>
                </a:cxnLst>
                <a:rect l="0" t="0" r="r" b="b"/>
                <a:pathLst>
                  <a:path w="116" h="116">
                    <a:moveTo>
                      <a:pt x="115" y="32"/>
                    </a:moveTo>
                    <a:lnTo>
                      <a:pt x="115" y="32"/>
                    </a:lnTo>
                    <a:cubicBezTo>
                      <a:pt x="26" y="0"/>
                      <a:pt x="56" y="11"/>
                      <a:pt x="26" y="0"/>
                    </a:cubicBezTo>
                    <a:cubicBezTo>
                      <a:pt x="15" y="32"/>
                      <a:pt x="5" y="63"/>
                      <a:pt x="0" y="94"/>
                    </a:cubicBezTo>
                    <a:cubicBezTo>
                      <a:pt x="89" y="115"/>
                      <a:pt x="59" y="108"/>
                      <a:pt x="89" y="115"/>
                    </a:cubicBezTo>
                    <a:cubicBezTo>
                      <a:pt x="94" y="89"/>
                      <a:pt x="104" y="58"/>
                      <a:pt x="115" y="32"/>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5" name="Freeform 159">
                <a:extLst>
                  <a:ext uri="{FF2B5EF4-FFF2-40B4-BE49-F238E27FC236}">
                    <a16:creationId xmlns:a16="http://schemas.microsoft.com/office/drawing/2014/main" id="{2ACC3D9D-B177-687C-45BA-FF730B439CC9}"/>
                  </a:ext>
                </a:extLst>
              </p:cNvPr>
              <p:cNvSpPr>
                <a:spLocks noChangeArrowheads="1"/>
              </p:cNvSpPr>
              <p:nvPr/>
            </p:nvSpPr>
            <p:spPr bwMode="auto">
              <a:xfrm>
                <a:off x="144463" y="5273675"/>
                <a:ext cx="34925" cy="33337"/>
              </a:xfrm>
              <a:custGeom>
                <a:avLst/>
                <a:gdLst>
                  <a:gd name="T0" fmla="*/ 95 w 106"/>
                  <a:gd name="T1" fmla="*/ 0 h 101"/>
                  <a:gd name="T2" fmla="*/ 95 w 106"/>
                  <a:gd name="T3" fmla="*/ 0 h 101"/>
                  <a:gd name="T4" fmla="*/ 0 w 106"/>
                  <a:gd name="T5" fmla="*/ 5 h 101"/>
                  <a:gd name="T6" fmla="*/ 11 w 106"/>
                  <a:gd name="T7" fmla="*/ 100 h 101"/>
                  <a:gd name="T8" fmla="*/ 105 w 106"/>
                  <a:gd name="T9" fmla="*/ 89 h 101"/>
                  <a:gd name="T10" fmla="*/ 95 w 106"/>
                  <a:gd name="T11" fmla="*/ 0 h 101"/>
                </a:gdLst>
                <a:ahLst/>
                <a:cxnLst>
                  <a:cxn ang="0">
                    <a:pos x="T0" y="T1"/>
                  </a:cxn>
                  <a:cxn ang="0">
                    <a:pos x="T2" y="T3"/>
                  </a:cxn>
                  <a:cxn ang="0">
                    <a:pos x="T4" y="T5"/>
                  </a:cxn>
                  <a:cxn ang="0">
                    <a:pos x="T6" y="T7"/>
                  </a:cxn>
                  <a:cxn ang="0">
                    <a:pos x="T8" y="T9"/>
                  </a:cxn>
                  <a:cxn ang="0">
                    <a:pos x="T10" y="T11"/>
                  </a:cxn>
                </a:cxnLst>
                <a:rect l="0" t="0" r="r" b="b"/>
                <a:pathLst>
                  <a:path w="106" h="101">
                    <a:moveTo>
                      <a:pt x="95" y="0"/>
                    </a:moveTo>
                    <a:lnTo>
                      <a:pt x="95" y="0"/>
                    </a:lnTo>
                    <a:cubicBezTo>
                      <a:pt x="0" y="5"/>
                      <a:pt x="32" y="4"/>
                      <a:pt x="0" y="5"/>
                    </a:cubicBezTo>
                    <a:cubicBezTo>
                      <a:pt x="0" y="37"/>
                      <a:pt x="6" y="68"/>
                      <a:pt x="11" y="100"/>
                    </a:cubicBezTo>
                    <a:cubicBezTo>
                      <a:pt x="105" y="89"/>
                      <a:pt x="74" y="93"/>
                      <a:pt x="105" y="89"/>
                    </a:cubicBezTo>
                    <a:cubicBezTo>
                      <a:pt x="100" y="58"/>
                      <a:pt x="95" y="32"/>
                      <a:pt x="95"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6" name="Freeform 160">
                <a:extLst>
                  <a:ext uri="{FF2B5EF4-FFF2-40B4-BE49-F238E27FC236}">
                    <a16:creationId xmlns:a16="http://schemas.microsoft.com/office/drawing/2014/main" id="{ABA4B493-5735-1CD0-F60E-15701FEA0537}"/>
                  </a:ext>
                </a:extLst>
              </p:cNvPr>
              <p:cNvSpPr>
                <a:spLocks noChangeArrowheads="1"/>
              </p:cNvSpPr>
              <p:nvPr/>
            </p:nvSpPr>
            <p:spPr bwMode="auto">
              <a:xfrm>
                <a:off x="144463" y="5203825"/>
                <a:ext cx="34925" cy="33337"/>
              </a:xfrm>
              <a:custGeom>
                <a:avLst/>
                <a:gdLst>
                  <a:gd name="T0" fmla="*/ 105 w 106"/>
                  <a:gd name="T1" fmla="*/ 10 h 100"/>
                  <a:gd name="T2" fmla="*/ 105 w 106"/>
                  <a:gd name="T3" fmla="*/ 10 h 100"/>
                  <a:gd name="T4" fmla="*/ 11 w 106"/>
                  <a:gd name="T5" fmla="*/ 0 h 100"/>
                  <a:gd name="T6" fmla="*/ 0 w 106"/>
                  <a:gd name="T7" fmla="*/ 94 h 100"/>
                  <a:gd name="T8" fmla="*/ 0 w 106"/>
                  <a:gd name="T9" fmla="*/ 99 h 100"/>
                  <a:gd name="T10" fmla="*/ 95 w 106"/>
                  <a:gd name="T11" fmla="*/ 99 h 100"/>
                  <a:gd name="T12" fmla="*/ 105 w 106"/>
                  <a:gd name="T13" fmla="*/ 10 h 100"/>
                </a:gdLst>
                <a:ahLst/>
                <a:cxnLst>
                  <a:cxn ang="0">
                    <a:pos x="T0" y="T1"/>
                  </a:cxn>
                  <a:cxn ang="0">
                    <a:pos x="T2" y="T3"/>
                  </a:cxn>
                  <a:cxn ang="0">
                    <a:pos x="T4" y="T5"/>
                  </a:cxn>
                  <a:cxn ang="0">
                    <a:pos x="T6" y="T7"/>
                  </a:cxn>
                  <a:cxn ang="0">
                    <a:pos x="T8" y="T9"/>
                  </a:cxn>
                  <a:cxn ang="0">
                    <a:pos x="T10" y="T11"/>
                  </a:cxn>
                  <a:cxn ang="0">
                    <a:pos x="T12" y="T13"/>
                  </a:cxn>
                </a:cxnLst>
                <a:rect l="0" t="0" r="r" b="b"/>
                <a:pathLst>
                  <a:path w="106" h="100">
                    <a:moveTo>
                      <a:pt x="105" y="10"/>
                    </a:moveTo>
                    <a:lnTo>
                      <a:pt x="105" y="10"/>
                    </a:lnTo>
                    <a:cubicBezTo>
                      <a:pt x="11" y="0"/>
                      <a:pt x="42" y="4"/>
                      <a:pt x="11" y="0"/>
                    </a:cubicBezTo>
                    <a:cubicBezTo>
                      <a:pt x="6" y="31"/>
                      <a:pt x="6" y="63"/>
                      <a:pt x="0" y="94"/>
                    </a:cubicBezTo>
                    <a:cubicBezTo>
                      <a:pt x="0" y="99"/>
                      <a:pt x="0" y="98"/>
                      <a:pt x="0" y="99"/>
                    </a:cubicBezTo>
                    <a:cubicBezTo>
                      <a:pt x="95" y="99"/>
                      <a:pt x="63" y="99"/>
                      <a:pt x="95" y="99"/>
                    </a:cubicBezTo>
                    <a:cubicBezTo>
                      <a:pt x="100" y="73"/>
                      <a:pt x="100" y="42"/>
                      <a:pt x="105" y="1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7" name="Freeform 161">
                <a:extLst>
                  <a:ext uri="{FF2B5EF4-FFF2-40B4-BE49-F238E27FC236}">
                    <a16:creationId xmlns:a16="http://schemas.microsoft.com/office/drawing/2014/main" id="{82F40E62-36A3-639B-24EF-25AC02FD5639}"/>
                  </a:ext>
                </a:extLst>
              </p:cNvPr>
              <p:cNvSpPr>
                <a:spLocks noChangeArrowheads="1"/>
              </p:cNvSpPr>
              <p:nvPr/>
            </p:nvSpPr>
            <p:spPr bwMode="auto">
              <a:xfrm>
                <a:off x="176213" y="5399088"/>
                <a:ext cx="42862" cy="42862"/>
              </a:xfrm>
              <a:custGeom>
                <a:avLst/>
                <a:gdLst>
                  <a:gd name="T0" fmla="*/ 84 w 127"/>
                  <a:gd name="T1" fmla="*/ 0 h 126"/>
                  <a:gd name="T2" fmla="*/ 84 w 127"/>
                  <a:gd name="T3" fmla="*/ 0 h 126"/>
                  <a:gd name="T4" fmla="*/ 0 w 127"/>
                  <a:gd name="T5" fmla="*/ 36 h 126"/>
                  <a:gd name="T6" fmla="*/ 42 w 127"/>
                  <a:gd name="T7" fmla="*/ 125 h 126"/>
                  <a:gd name="T8" fmla="*/ 126 w 127"/>
                  <a:gd name="T9" fmla="*/ 78 h 126"/>
                  <a:gd name="T10" fmla="*/ 84 w 127"/>
                  <a:gd name="T11" fmla="*/ 0 h 126"/>
                </a:gdLst>
                <a:ahLst/>
                <a:cxnLst>
                  <a:cxn ang="0">
                    <a:pos x="T0" y="T1"/>
                  </a:cxn>
                  <a:cxn ang="0">
                    <a:pos x="T2" y="T3"/>
                  </a:cxn>
                  <a:cxn ang="0">
                    <a:pos x="T4" y="T5"/>
                  </a:cxn>
                  <a:cxn ang="0">
                    <a:pos x="T6" y="T7"/>
                  </a:cxn>
                  <a:cxn ang="0">
                    <a:pos x="T8" y="T9"/>
                  </a:cxn>
                  <a:cxn ang="0">
                    <a:pos x="T10" y="T11"/>
                  </a:cxn>
                </a:cxnLst>
                <a:rect l="0" t="0" r="r" b="b"/>
                <a:pathLst>
                  <a:path w="127" h="126">
                    <a:moveTo>
                      <a:pt x="84" y="0"/>
                    </a:moveTo>
                    <a:lnTo>
                      <a:pt x="84" y="0"/>
                    </a:lnTo>
                    <a:cubicBezTo>
                      <a:pt x="0" y="36"/>
                      <a:pt x="28" y="24"/>
                      <a:pt x="0" y="36"/>
                    </a:cubicBezTo>
                    <a:cubicBezTo>
                      <a:pt x="11" y="68"/>
                      <a:pt x="26" y="94"/>
                      <a:pt x="42" y="125"/>
                    </a:cubicBezTo>
                    <a:cubicBezTo>
                      <a:pt x="126" y="78"/>
                      <a:pt x="98" y="94"/>
                      <a:pt x="126" y="78"/>
                    </a:cubicBezTo>
                    <a:cubicBezTo>
                      <a:pt x="110" y="52"/>
                      <a:pt x="100" y="26"/>
                      <a:pt x="84"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78" name="Freeform 162">
                <a:extLst>
                  <a:ext uri="{FF2B5EF4-FFF2-40B4-BE49-F238E27FC236}">
                    <a16:creationId xmlns:a16="http://schemas.microsoft.com/office/drawing/2014/main" id="{51DBDD98-2768-A66B-00B8-BE7B49FAEA42}"/>
                  </a:ext>
                </a:extLst>
              </p:cNvPr>
              <p:cNvSpPr>
                <a:spLocks noChangeArrowheads="1"/>
              </p:cNvSpPr>
              <p:nvPr/>
            </p:nvSpPr>
            <p:spPr bwMode="auto">
              <a:xfrm>
                <a:off x="153988" y="5337175"/>
                <a:ext cx="39687" cy="38100"/>
              </a:xfrm>
              <a:custGeom>
                <a:avLst/>
                <a:gdLst>
                  <a:gd name="T0" fmla="*/ 95 w 117"/>
                  <a:gd name="T1" fmla="*/ 0 h 116"/>
                  <a:gd name="T2" fmla="*/ 95 w 117"/>
                  <a:gd name="T3" fmla="*/ 0 h 116"/>
                  <a:gd name="T4" fmla="*/ 0 w 117"/>
                  <a:gd name="T5" fmla="*/ 21 h 116"/>
                  <a:gd name="T6" fmla="*/ 26 w 117"/>
                  <a:gd name="T7" fmla="*/ 115 h 116"/>
                  <a:gd name="T8" fmla="*/ 116 w 117"/>
                  <a:gd name="T9" fmla="*/ 89 h 116"/>
                  <a:gd name="T10" fmla="*/ 95 w 117"/>
                  <a:gd name="T11" fmla="*/ 0 h 116"/>
                </a:gdLst>
                <a:ahLst/>
                <a:cxnLst>
                  <a:cxn ang="0">
                    <a:pos x="T0" y="T1"/>
                  </a:cxn>
                  <a:cxn ang="0">
                    <a:pos x="T2" y="T3"/>
                  </a:cxn>
                  <a:cxn ang="0">
                    <a:pos x="T4" y="T5"/>
                  </a:cxn>
                  <a:cxn ang="0">
                    <a:pos x="T6" y="T7"/>
                  </a:cxn>
                  <a:cxn ang="0">
                    <a:pos x="T8" y="T9"/>
                  </a:cxn>
                  <a:cxn ang="0">
                    <a:pos x="T10" y="T11"/>
                  </a:cxn>
                </a:cxnLst>
                <a:rect l="0" t="0" r="r" b="b"/>
                <a:pathLst>
                  <a:path w="117" h="116">
                    <a:moveTo>
                      <a:pt x="95" y="0"/>
                    </a:moveTo>
                    <a:lnTo>
                      <a:pt x="95" y="0"/>
                    </a:lnTo>
                    <a:cubicBezTo>
                      <a:pt x="0" y="21"/>
                      <a:pt x="32" y="14"/>
                      <a:pt x="0" y="21"/>
                    </a:cubicBezTo>
                    <a:cubicBezTo>
                      <a:pt x="11" y="52"/>
                      <a:pt x="16" y="84"/>
                      <a:pt x="26" y="115"/>
                    </a:cubicBezTo>
                    <a:cubicBezTo>
                      <a:pt x="116" y="89"/>
                      <a:pt x="86" y="98"/>
                      <a:pt x="116" y="89"/>
                    </a:cubicBezTo>
                    <a:cubicBezTo>
                      <a:pt x="110" y="58"/>
                      <a:pt x="100" y="32"/>
                      <a:pt x="95"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grpSp>
        <p:grpSp>
          <p:nvGrpSpPr>
            <p:cNvPr id="79" name="Group 77">
              <a:extLst>
                <a:ext uri="{FF2B5EF4-FFF2-40B4-BE49-F238E27FC236}">
                  <a16:creationId xmlns:a16="http://schemas.microsoft.com/office/drawing/2014/main" id="{66F3195C-E3AA-931F-1B41-BCA51D0C395B}"/>
                </a:ext>
              </a:extLst>
            </p:cNvPr>
            <p:cNvGrpSpPr/>
            <p:nvPr userDrawn="1"/>
          </p:nvGrpSpPr>
          <p:grpSpPr>
            <a:xfrm>
              <a:off x="6624742" y="2774676"/>
              <a:ext cx="577455" cy="621506"/>
              <a:chOff x="3295650" y="3281363"/>
              <a:chExt cx="957263" cy="1030287"/>
            </a:xfrm>
            <a:solidFill>
              <a:schemeClr val="bg1"/>
            </a:solidFill>
          </p:grpSpPr>
          <p:sp>
            <p:nvSpPr>
              <p:cNvPr id="80" name="Freeform 74">
                <a:extLst>
                  <a:ext uri="{FF2B5EF4-FFF2-40B4-BE49-F238E27FC236}">
                    <a16:creationId xmlns:a16="http://schemas.microsoft.com/office/drawing/2014/main" id="{98837DC7-4112-D718-39DE-01F9C4AF1AC9}"/>
                  </a:ext>
                </a:extLst>
              </p:cNvPr>
              <p:cNvSpPr>
                <a:spLocks noChangeArrowheads="1"/>
              </p:cNvSpPr>
              <p:nvPr/>
            </p:nvSpPr>
            <p:spPr bwMode="auto">
              <a:xfrm>
                <a:off x="3940175" y="3419475"/>
                <a:ext cx="31750" cy="58737"/>
              </a:xfrm>
              <a:custGeom>
                <a:avLst/>
                <a:gdLst>
                  <a:gd name="T0" fmla="*/ 94 w 95"/>
                  <a:gd name="T1" fmla="*/ 0 h 174"/>
                  <a:gd name="T2" fmla="*/ 0 w 95"/>
                  <a:gd name="T3" fmla="*/ 0 h 174"/>
                  <a:gd name="T4" fmla="*/ 0 w 95"/>
                  <a:gd name="T5" fmla="*/ 173 h 174"/>
                  <a:gd name="T6" fmla="*/ 94 w 95"/>
                  <a:gd name="T7" fmla="*/ 173 h 174"/>
                  <a:gd name="T8" fmla="*/ 94 w 95"/>
                  <a:gd name="T9" fmla="*/ 0 h 174"/>
                </a:gdLst>
                <a:ahLst/>
                <a:cxnLst>
                  <a:cxn ang="0">
                    <a:pos x="T0" y="T1"/>
                  </a:cxn>
                  <a:cxn ang="0">
                    <a:pos x="T2" y="T3"/>
                  </a:cxn>
                  <a:cxn ang="0">
                    <a:pos x="T4" y="T5"/>
                  </a:cxn>
                  <a:cxn ang="0">
                    <a:pos x="T6" y="T7"/>
                  </a:cxn>
                  <a:cxn ang="0">
                    <a:pos x="T8" y="T9"/>
                  </a:cxn>
                </a:cxnLst>
                <a:rect l="0" t="0" r="r" b="b"/>
                <a:pathLst>
                  <a:path w="95" h="174">
                    <a:moveTo>
                      <a:pt x="94" y="0"/>
                    </a:moveTo>
                    <a:cubicBezTo>
                      <a:pt x="63" y="0"/>
                      <a:pt x="32" y="0"/>
                      <a:pt x="0" y="0"/>
                    </a:cubicBezTo>
                    <a:cubicBezTo>
                      <a:pt x="0" y="57"/>
                      <a:pt x="0" y="115"/>
                      <a:pt x="0" y="173"/>
                    </a:cubicBezTo>
                    <a:cubicBezTo>
                      <a:pt x="32" y="173"/>
                      <a:pt x="63" y="173"/>
                      <a:pt x="94" y="173"/>
                    </a:cubicBezTo>
                    <a:cubicBezTo>
                      <a:pt x="94" y="115"/>
                      <a:pt x="94" y="57"/>
                      <a:pt x="94"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81" name="Freeform 75">
                <a:extLst>
                  <a:ext uri="{FF2B5EF4-FFF2-40B4-BE49-F238E27FC236}">
                    <a16:creationId xmlns:a16="http://schemas.microsoft.com/office/drawing/2014/main" id="{461AD89E-1BDB-C25E-54C0-0A55263853CE}"/>
                  </a:ext>
                </a:extLst>
              </p:cNvPr>
              <p:cNvSpPr>
                <a:spLocks noChangeArrowheads="1"/>
              </p:cNvSpPr>
              <p:nvPr/>
            </p:nvSpPr>
            <p:spPr bwMode="auto">
              <a:xfrm>
                <a:off x="3690938" y="3357563"/>
                <a:ext cx="31750" cy="92075"/>
              </a:xfrm>
              <a:custGeom>
                <a:avLst/>
                <a:gdLst>
                  <a:gd name="T0" fmla="*/ 95 w 96"/>
                  <a:gd name="T1" fmla="*/ 0 h 263"/>
                  <a:gd name="T2" fmla="*/ 0 w 96"/>
                  <a:gd name="T3" fmla="*/ 0 h 263"/>
                  <a:gd name="T4" fmla="*/ 0 w 96"/>
                  <a:gd name="T5" fmla="*/ 262 h 263"/>
                  <a:gd name="T6" fmla="*/ 95 w 96"/>
                  <a:gd name="T7" fmla="*/ 262 h 263"/>
                  <a:gd name="T8" fmla="*/ 95 w 96"/>
                  <a:gd name="T9" fmla="*/ 0 h 263"/>
                </a:gdLst>
                <a:ahLst/>
                <a:cxnLst>
                  <a:cxn ang="0">
                    <a:pos x="T0" y="T1"/>
                  </a:cxn>
                  <a:cxn ang="0">
                    <a:pos x="T2" y="T3"/>
                  </a:cxn>
                  <a:cxn ang="0">
                    <a:pos x="T4" y="T5"/>
                  </a:cxn>
                  <a:cxn ang="0">
                    <a:pos x="T6" y="T7"/>
                  </a:cxn>
                  <a:cxn ang="0">
                    <a:pos x="T8" y="T9"/>
                  </a:cxn>
                </a:cxnLst>
                <a:rect l="0" t="0" r="r" b="b"/>
                <a:pathLst>
                  <a:path w="96" h="263">
                    <a:moveTo>
                      <a:pt x="95" y="0"/>
                    </a:moveTo>
                    <a:cubicBezTo>
                      <a:pt x="63" y="0"/>
                      <a:pt x="31" y="0"/>
                      <a:pt x="0" y="0"/>
                    </a:cubicBezTo>
                    <a:cubicBezTo>
                      <a:pt x="0" y="87"/>
                      <a:pt x="0" y="174"/>
                      <a:pt x="0" y="262"/>
                    </a:cubicBezTo>
                    <a:cubicBezTo>
                      <a:pt x="31" y="262"/>
                      <a:pt x="63" y="262"/>
                      <a:pt x="95" y="262"/>
                    </a:cubicBezTo>
                    <a:cubicBezTo>
                      <a:pt x="95" y="174"/>
                      <a:pt x="95" y="87"/>
                      <a:pt x="95"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82" name="Freeform 76">
                <a:extLst>
                  <a:ext uri="{FF2B5EF4-FFF2-40B4-BE49-F238E27FC236}">
                    <a16:creationId xmlns:a16="http://schemas.microsoft.com/office/drawing/2014/main" id="{AC466A1C-E35D-07F3-73B9-AD3D862F3489}"/>
                  </a:ext>
                </a:extLst>
              </p:cNvPr>
              <p:cNvSpPr>
                <a:spLocks noChangeArrowheads="1"/>
              </p:cNvSpPr>
              <p:nvPr/>
            </p:nvSpPr>
            <p:spPr bwMode="auto">
              <a:xfrm>
                <a:off x="3787775" y="3281363"/>
                <a:ext cx="31750" cy="133350"/>
              </a:xfrm>
              <a:custGeom>
                <a:avLst/>
                <a:gdLst>
                  <a:gd name="T0" fmla="*/ 94 w 95"/>
                  <a:gd name="T1" fmla="*/ 0 h 378"/>
                  <a:gd name="T2" fmla="*/ 0 w 95"/>
                  <a:gd name="T3" fmla="*/ 0 h 378"/>
                  <a:gd name="T4" fmla="*/ 0 w 95"/>
                  <a:gd name="T5" fmla="*/ 377 h 378"/>
                  <a:gd name="T6" fmla="*/ 94 w 95"/>
                  <a:gd name="T7" fmla="*/ 377 h 378"/>
                  <a:gd name="T8" fmla="*/ 94 w 95"/>
                  <a:gd name="T9" fmla="*/ 0 h 378"/>
                </a:gdLst>
                <a:ahLst/>
                <a:cxnLst>
                  <a:cxn ang="0">
                    <a:pos x="T0" y="T1"/>
                  </a:cxn>
                  <a:cxn ang="0">
                    <a:pos x="T2" y="T3"/>
                  </a:cxn>
                  <a:cxn ang="0">
                    <a:pos x="T4" y="T5"/>
                  </a:cxn>
                  <a:cxn ang="0">
                    <a:pos x="T6" y="T7"/>
                  </a:cxn>
                  <a:cxn ang="0">
                    <a:pos x="T8" y="T9"/>
                  </a:cxn>
                </a:cxnLst>
                <a:rect l="0" t="0" r="r" b="b"/>
                <a:pathLst>
                  <a:path w="95" h="378">
                    <a:moveTo>
                      <a:pt x="94" y="0"/>
                    </a:moveTo>
                    <a:cubicBezTo>
                      <a:pt x="63" y="0"/>
                      <a:pt x="32" y="0"/>
                      <a:pt x="0" y="0"/>
                    </a:cubicBezTo>
                    <a:cubicBezTo>
                      <a:pt x="0" y="125"/>
                      <a:pt x="0" y="251"/>
                      <a:pt x="0" y="377"/>
                    </a:cubicBezTo>
                    <a:cubicBezTo>
                      <a:pt x="32" y="377"/>
                      <a:pt x="63" y="377"/>
                      <a:pt x="94" y="377"/>
                    </a:cubicBezTo>
                    <a:cubicBezTo>
                      <a:pt x="94" y="251"/>
                      <a:pt x="94" y="125"/>
                      <a:pt x="94" y="0"/>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83" name="Freeform 77">
                <a:extLst>
                  <a:ext uri="{FF2B5EF4-FFF2-40B4-BE49-F238E27FC236}">
                    <a16:creationId xmlns:a16="http://schemas.microsoft.com/office/drawing/2014/main" id="{2DC145C2-8E9A-929D-A226-78559E073091}"/>
                  </a:ext>
                </a:extLst>
              </p:cNvPr>
              <p:cNvSpPr>
                <a:spLocks noChangeArrowheads="1"/>
              </p:cNvSpPr>
              <p:nvPr/>
            </p:nvSpPr>
            <p:spPr bwMode="auto">
              <a:xfrm>
                <a:off x="3295650" y="3609975"/>
                <a:ext cx="269875" cy="206375"/>
              </a:xfrm>
              <a:custGeom>
                <a:avLst/>
                <a:gdLst>
                  <a:gd name="T0" fmla="*/ 758 w 759"/>
                  <a:gd name="T1" fmla="*/ 209 h 580"/>
                  <a:gd name="T2" fmla="*/ 758 w 759"/>
                  <a:gd name="T3" fmla="*/ 209 h 580"/>
                  <a:gd name="T4" fmla="*/ 607 w 759"/>
                  <a:gd name="T5" fmla="*/ 57 h 580"/>
                  <a:gd name="T6" fmla="*/ 455 w 759"/>
                  <a:gd name="T7" fmla="*/ 0 h 580"/>
                  <a:gd name="T8" fmla="*/ 303 w 759"/>
                  <a:gd name="T9" fmla="*/ 57 h 580"/>
                  <a:gd name="T10" fmla="*/ 0 w 759"/>
                  <a:gd name="T11" fmla="*/ 366 h 580"/>
                  <a:gd name="T12" fmla="*/ 146 w 759"/>
                  <a:gd name="T13" fmla="*/ 516 h 580"/>
                  <a:gd name="T14" fmla="*/ 298 w 759"/>
                  <a:gd name="T15" fmla="*/ 579 h 580"/>
                  <a:gd name="T16" fmla="*/ 298 w 759"/>
                  <a:gd name="T17" fmla="*/ 579 h 580"/>
                  <a:gd name="T18" fmla="*/ 450 w 759"/>
                  <a:gd name="T19" fmla="*/ 516 h 580"/>
                  <a:gd name="T20" fmla="*/ 758 w 759"/>
                  <a:gd name="T21" fmla="*/ 209 h 580"/>
                  <a:gd name="T22" fmla="*/ 298 w 759"/>
                  <a:gd name="T23" fmla="*/ 485 h 580"/>
                  <a:gd name="T24" fmla="*/ 298 w 759"/>
                  <a:gd name="T25" fmla="*/ 485 h 580"/>
                  <a:gd name="T26" fmla="*/ 298 w 759"/>
                  <a:gd name="T27" fmla="*/ 485 h 580"/>
                  <a:gd name="T28" fmla="*/ 214 w 759"/>
                  <a:gd name="T29" fmla="*/ 450 h 580"/>
                  <a:gd name="T30" fmla="*/ 130 w 759"/>
                  <a:gd name="T31" fmla="*/ 366 h 580"/>
                  <a:gd name="T32" fmla="*/ 371 w 759"/>
                  <a:gd name="T33" fmla="*/ 125 h 580"/>
                  <a:gd name="T34" fmla="*/ 455 w 759"/>
                  <a:gd name="T35" fmla="*/ 94 h 580"/>
                  <a:gd name="T36" fmla="*/ 539 w 759"/>
                  <a:gd name="T37" fmla="*/ 125 h 580"/>
                  <a:gd name="T38" fmla="*/ 622 w 759"/>
                  <a:gd name="T39" fmla="*/ 209 h 580"/>
                  <a:gd name="T40" fmla="*/ 382 w 759"/>
                  <a:gd name="T41" fmla="*/ 450 h 580"/>
                  <a:gd name="T42" fmla="*/ 298 w 759"/>
                  <a:gd name="T43" fmla="*/ 485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9" h="580">
                    <a:moveTo>
                      <a:pt x="758" y="209"/>
                    </a:moveTo>
                    <a:lnTo>
                      <a:pt x="758" y="209"/>
                    </a:lnTo>
                    <a:cubicBezTo>
                      <a:pt x="607" y="57"/>
                      <a:pt x="657" y="107"/>
                      <a:pt x="607" y="57"/>
                    </a:cubicBezTo>
                    <a:cubicBezTo>
                      <a:pt x="565" y="20"/>
                      <a:pt x="513" y="0"/>
                      <a:pt x="455" y="0"/>
                    </a:cubicBezTo>
                    <a:cubicBezTo>
                      <a:pt x="397" y="0"/>
                      <a:pt x="345" y="20"/>
                      <a:pt x="303" y="57"/>
                    </a:cubicBezTo>
                    <a:cubicBezTo>
                      <a:pt x="0" y="366"/>
                      <a:pt x="101" y="263"/>
                      <a:pt x="0" y="366"/>
                    </a:cubicBezTo>
                    <a:cubicBezTo>
                      <a:pt x="146" y="516"/>
                      <a:pt x="97" y="466"/>
                      <a:pt x="146" y="516"/>
                    </a:cubicBezTo>
                    <a:cubicBezTo>
                      <a:pt x="188" y="558"/>
                      <a:pt x="240" y="579"/>
                      <a:pt x="298" y="579"/>
                    </a:cubicBezTo>
                    <a:lnTo>
                      <a:pt x="298" y="579"/>
                    </a:lnTo>
                    <a:cubicBezTo>
                      <a:pt x="355" y="579"/>
                      <a:pt x="408" y="558"/>
                      <a:pt x="450" y="516"/>
                    </a:cubicBezTo>
                    <a:cubicBezTo>
                      <a:pt x="552" y="414"/>
                      <a:pt x="655" y="311"/>
                      <a:pt x="758" y="209"/>
                    </a:cubicBezTo>
                    <a:close/>
                    <a:moveTo>
                      <a:pt x="298" y="485"/>
                    </a:moveTo>
                    <a:lnTo>
                      <a:pt x="298" y="485"/>
                    </a:lnTo>
                    <a:lnTo>
                      <a:pt x="298" y="485"/>
                    </a:lnTo>
                    <a:cubicBezTo>
                      <a:pt x="267" y="485"/>
                      <a:pt x="235" y="476"/>
                      <a:pt x="214" y="450"/>
                    </a:cubicBezTo>
                    <a:cubicBezTo>
                      <a:pt x="130" y="366"/>
                      <a:pt x="158" y="394"/>
                      <a:pt x="130" y="366"/>
                    </a:cubicBezTo>
                    <a:cubicBezTo>
                      <a:pt x="371" y="125"/>
                      <a:pt x="290" y="205"/>
                      <a:pt x="371" y="125"/>
                    </a:cubicBezTo>
                    <a:cubicBezTo>
                      <a:pt x="392" y="104"/>
                      <a:pt x="424" y="94"/>
                      <a:pt x="455" y="94"/>
                    </a:cubicBezTo>
                    <a:cubicBezTo>
                      <a:pt x="487" y="94"/>
                      <a:pt x="518" y="104"/>
                      <a:pt x="539" y="125"/>
                    </a:cubicBezTo>
                    <a:cubicBezTo>
                      <a:pt x="622" y="209"/>
                      <a:pt x="594" y="181"/>
                      <a:pt x="622" y="209"/>
                    </a:cubicBezTo>
                    <a:cubicBezTo>
                      <a:pt x="382" y="450"/>
                      <a:pt x="462" y="369"/>
                      <a:pt x="382" y="450"/>
                    </a:cubicBezTo>
                    <a:cubicBezTo>
                      <a:pt x="361" y="476"/>
                      <a:pt x="329" y="485"/>
                      <a:pt x="298" y="485"/>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84" name="Freeform 78">
                <a:extLst>
                  <a:ext uri="{FF2B5EF4-FFF2-40B4-BE49-F238E27FC236}">
                    <a16:creationId xmlns:a16="http://schemas.microsoft.com/office/drawing/2014/main" id="{F49E661E-CC36-E025-EBD7-E4A2967F2FB7}"/>
                  </a:ext>
                </a:extLst>
              </p:cNvPr>
              <p:cNvSpPr>
                <a:spLocks noChangeArrowheads="1"/>
              </p:cNvSpPr>
              <p:nvPr/>
            </p:nvSpPr>
            <p:spPr bwMode="auto">
              <a:xfrm>
                <a:off x="3430588" y="3509963"/>
                <a:ext cx="822325" cy="801687"/>
              </a:xfrm>
              <a:custGeom>
                <a:avLst/>
                <a:gdLst>
                  <a:gd name="T0" fmla="*/ 2055 w 2291"/>
                  <a:gd name="T1" fmla="*/ 618 h 2234"/>
                  <a:gd name="T2" fmla="*/ 2055 w 2291"/>
                  <a:gd name="T3" fmla="*/ 618 h 2234"/>
                  <a:gd name="T4" fmla="*/ 1615 w 2291"/>
                  <a:gd name="T5" fmla="*/ 178 h 2234"/>
                  <a:gd name="T6" fmla="*/ 1191 w 2291"/>
                  <a:gd name="T7" fmla="*/ 0 h 2234"/>
                  <a:gd name="T8" fmla="*/ 763 w 2291"/>
                  <a:gd name="T9" fmla="*/ 178 h 2234"/>
                  <a:gd name="T10" fmla="*/ 596 w 2291"/>
                  <a:gd name="T11" fmla="*/ 529 h 2234"/>
                  <a:gd name="T12" fmla="*/ 433 w 2291"/>
                  <a:gd name="T13" fmla="*/ 367 h 2234"/>
                  <a:gd name="T14" fmla="*/ 371 w 2291"/>
                  <a:gd name="T15" fmla="*/ 215 h 2234"/>
                  <a:gd name="T16" fmla="*/ 433 w 2291"/>
                  <a:gd name="T17" fmla="*/ 68 h 2234"/>
                  <a:gd name="T18" fmla="*/ 366 w 2291"/>
                  <a:gd name="T19" fmla="*/ 0 h 2234"/>
                  <a:gd name="T20" fmla="*/ 277 w 2291"/>
                  <a:gd name="T21" fmla="*/ 215 h 2234"/>
                  <a:gd name="T22" fmla="*/ 366 w 2291"/>
                  <a:gd name="T23" fmla="*/ 429 h 2234"/>
                  <a:gd name="T24" fmla="*/ 528 w 2291"/>
                  <a:gd name="T25" fmla="*/ 592 h 2234"/>
                  <a:gd name="T26" fmla="*/ 177 w 2291"/>
                  <a:gd name="T27" fmla="*/ 763 h 2234"/>
                  <a:gd name="T28" fmla="*/ 0 w 2291"/>
                  <a:gd name="T29" fmla="*/ 1187 h 2234"/>
                  <a:gd name="T30" fmla="*/ 177 w 2291"/>
                  <a:gd name="T31" fmla="*/ 1616 h 2234"/>
                  <a:gd name="T32" fmla="*/ 617 w 2291"/>
                  <a:gd name="T33" fmla="*/ 2056 h 2234"/>
                  <a:gd name="T34" fmla="*/ 1040 w 2291"/>
                  <a:gd name="T35" fmla="*/ 2233 h 2234"/>
                  <a:gd name="T36" fmla="*/ 1040 w 2291"/>
                  <a:gd name="T37" fmla="*/ 2233 h 2234"/>
                  <a:gd name="T38" fmla="*/ 1469 w 2291"/>
                  <a:gd name="T39" fmla="*/ 2056 h 2234"/>
                  <a:gd name="T40" fmla="*/ 1641 w 2291"/>
                  <a:gd name="T41" fmla="*/ 1668 h 2234"/>
                  <a:gd name="T42" fmla="*/ 1641 w 2291"/>
                  <a:gd name="T43" fmla="*/ 1663 h 2234"/>
                  <a:gd name="T44" fmla="*/ 1641 w 2291"/>
                  <a:gd name="T45" fmla="*/ 1663 h 2234"/>
                  <a:gd name="T46" fmla="*/ 1646 w 2291"/>
                  <a:gd name="T47" fmla="*/ 1647 h 2234"/>
                  <a:gd name="T48" fmla="*/ 1662 w 2291"/>
                  <a:gd name="T49" fmla="*/ 1642 h 2234"/>
                  <a:gd name="T50" fmla="*/ 1662 w 2291"/>
                  <a:gd name="T51" fmla="*/ 1642 h 2234"/>
                  <a:gd name="T52" fmla="*/ 1667 w 2291"/>
                  <a:gd name="T53" fmla="*/ 1642 h 2234"/>
                  <a:gd name="T54" fmla="*/ 2055 w 2291"/>
                  <a:gd name="T55" fmla="*/ 1469 h 2234"/>
                  <a:gd name="T56" fmla="*/ 2055 w 2291"/>
                  <a:gd name="T57" fmla="*/ 618 h 2234"/>
                  <a:gd name="T58" fmla="*/ 1986 w 2291"/>
                  <a:gd name="T59" fmla="*/ 1402 h 2234"/>
                  <a:gd name="T60" fmla="*/ 1986 w 2291"/>
                  <a:gd name="T61" fmla="*/ 1402 h 2234"/>
                  <a:gd name="T62" fmla="*/ 1662 w 2291"/>
                  <a:gd name="T63" fmla="*/ 1548 h 2234"/>
                  <a:gd name="T64" fmla="*/ 1651 w 2291"/>
                  <a:gd name="T65" fmla="*/ 1548 h 2234"/>
                  <a:gd name="T66" fmla="*/ 1584 w 2291"/>
                  <a:gd name="T67" fmla="*/ 1579 h 2234"/>
                  <a:gd name="T68" fmla="*/ 1547 w 2291"/>
                  <a:gd name="T69" fmla="*/ 1653 h 2234"/>
                  <a:gd name="T70" fmla="*/ 1547 w 2291"/>
                  <a:gd name="T71" fmla="*/ 1663 h 2234"/>
                  <a:gd name="T72" fmla="*/ 1400 w 2291"/>
                  <a:gd name="T73" fmla="*/ 1987 h 2234"/>
                  <a:gd name="T74" fmla="*/ 1040 w 2291"/>
                  <a:gd name="T75" fmla="*/ 2139 h 2234"/>
                  <a:gd name="T76" fmla="*/ 1040 w 2291"/>
                  <a:gd name="T77" fmla="*/ 2139 h 2234"/>
                  <a:gd name="T78" fmla="*/ 685 w 2291"/>
                  <a:gd name="T79" fmla="*/ 1987 h 2234"/>
                  <a:gd name="T80" fmla="*/ 245 w 2291"/>
                  <a:gd name="T81" fmla="*/ 1548 h 2234"/>
                  <a:gd name="T82" fmla="*/ 93 w 2291"/>
                  <a:gd name="T83" fmla="*/ 1187 h 2234"/>
                  <a:gd name="T84" fmla="*/ 245 w 2291"/>
                  <a:gd name="T85" fmla="*/ 831 h 2234"/>
                  <a:gd name="T86" fmla="*/ 570 w 2291"/>
                  <a:gd name="T87" fmla="*/ 686 h 2234"/>
                  <a:gd name="T88" fmla="*/ 580 w 2291"/>
                  <a:gd name="T89" fmla="*/ 686 h 2234"/>
                  <a:gd name="T90" fmla="*/ 648 w 2291"/>
                  <a:gd name="T91" fmla="*/ 649 h 2234"/>
                  <a:gd name="T92" fmla="*/ 685 w 2291"/>
                  <a:gd name="T93" fmla="*/ 581 h 2234"/>
                  <a:gd name="T94" fmla="*/ 685 w 2291"/>
                  <a:gd name="T95" fmla="*/ 570 h 2234"/>
                  <a:gd name="T96" fmla="*/ 831 w 2291"/>
                  <a:gd name="T97" fmla="*/ 241 h 2234"/>
                  <a:gd name="T98" fmla="*/ 1191 w 2291"/>
                  <a:gd name="T99" fmla="*/ 95 h 2234"/>
                  <a:gd name="T100" fmla="*/ 1547 w 2291"/>
                  <a:gd name="T101" fmla="*/ 241 h 2234"/>
                  <a:gd name="T102" fmla="*/ 1986 w 2291"/>
                  <a:gd name="T103" fmla="*/ 686 h 2234"/>
                  <a:gd name="T104" fmla="*/ 1986 w 2291"/>
                  <a:gd name="T105" fmla="*/ 1402 h 2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1" h="2234">
                    <a:moveTo>
                      <a:pt x="2055" y="618"/>
                    </a:moveTo>
                    <a:lnTo>
                      <a:pt x="2055" y="618"/>
                    </a:lnTo>
                    <a:cubicBezTo>
                      <a:pt x="1615" y="178"/>
                      <a:pt x="1762" y="324"/>
                      <a:pt x="1615" y="178"/>
                    </a:cubicBezTo>
                    <a:cubicBezTo>
                      <a:pt x="1500" y="63"/>
                      <a:pt x="1348" y="0"/>
                      <a:pt x="1191" y="0"/>
                    </a:cubicBezTo>
                    <a:cubicBezTo>
                      <a:pt x="1029" y="0"/>
                      <a:pt x="878" y="63"/>
                      <a:pt x="763" y="178"/>
                    </a:cubicBezTo>
                    <a:cubicBezTo>
                      <a:pt x="669" y="273"/>
                      <a:pt x="612" y="393"/>
                      <a:pt x="596" y="529"/>
                    </a:cubicBezTo>
                    <a:cubicBezTo>
                      <a:pt x="433" y="367"/>
                      <a:pt x="487" y="421"/>
                      <a:pt x="433" y="367"/>
                    </a:cubicBezTo>
                    <a:cubicBezTo>
                      <a:pt x="392" y="325"/>
                      <a:pt x="371" y="273"/>
                      <a:pt x="371" y="215"/>
                    </a:cubicBezTo>
                    <a:cubicBezTo>
                      <a:pt x="371" y="163"/>
                      <a:pt x="392" y="110"/>
                      <a:pt x="433" y="68"/>
                    </a:cubicBezTo>
                    <a:cubicBezTo>
                      <a:pt x="366" y="0"/>
                      <a:pt x="388" y="22"/>
                      <a:pt x="366" y="0"/>
                    </a:cubicBezTo>
                    <a:cubicBezTo>
                      <a:pt x="308" y="58"/>
                      <a:pt x="277" y="137"/>
                      <a:pt x="277" y="215"/>
                    </a:cubicBezTo>
                    <a:cubicBezTo>
                      <a:pt x="277" y="299"/>
                      <a:pt x="308" y="377"/>
                      <a:pt x="366" y="429"/>
                    </a:cubicBezTo>
                    <a:cubicBezTo>
                      <a:pt x="528" y="592"/>
                      <a:pt x="474" y="537"/>
                      <a:pt x="528" y="592"/>
                    </a:cubicBezTo>
                    <a:cubicBezTo>
                      <a:pt x="397" y="613"/>
                      <a:pt x="271" y="670"/>
                      <a:pt x="177" y="763"/>
                    </a:cubicBezTo>
                    <a:cubicBezTo>
                      <a:pt x="62" y="878"/>
                      <a:pt x="0" y="1030"/>
                      <a:pt x="0" y="1187"/>
                    </a:cubicBezTo>
                    <a:cubicBezTo>
                      <a:pt x="0" y="1349"/>
                      <a:pt x="62" y="1501"/>
                      <a:pt x="177" y="1616"/>
                    </a:cubicBezTo>
                    <a:cubicBezTo>
                      <a:pt x="617" y="2056"/>
                      <a:pt x="470" y="1910"/>
                      <a:pt x="617" y="2056"/>
                    </a:cubicBezTo>
                    <a:cubicBezTo>
                      <a:pt x="732" y="2171"/>
                      <a:pt x="883" y="2233"/>
                      <a:pt x="1040" y="2233"/>
                    </a:cubicBezTo>
                    <a:lnTo>
                      <a:pt x="1040" y="2233"/>
                    </a:lnTo>
                    <a:cubicBezTo>
                      <a:pt x="1202" y="2233"/>
                      <a:pt x="1354" y="2171"/>
                      <a:pt x="1469" y="2056"/>
                    </a:cubicBezTo>
                    <a:cubicBezTo>
                      <a:pt x="1573" y="1951"/>
                      <a:pt x="1631" y="1815"/>
                      <a:pt x="1641" y="1668"/>
                    </a:cubicBezTo>
                    <a:cubicBezTo>
                      <a:pt x="1641" y="1663"/>
                      <a:pt x="1641" y="1665"/>
                      <a:pt x="1641" y="1663"/>
                    </a:cubicBezTo>
                    <a:lnTo>
                      <a:pt x="1641" y="1663"/>
                    </a:lnTo>
                    <a:cubicBezTo>
                      <a:pt x="1641" y="1658"/>
                      <a:pt x="1646" y="1653"/>
                      <a:pt x="1646" y="1647"/>
                    </a:cubicBezTo>
                    <a:cubicBezTo>
                      <a:pt x="1651" y="1642"/>
                      <a:pt x="1657" y="1642"/>
                      <a:pt x="1662" y="1642"/>
                    </a:cubicBezTo>
                    <a:lnTo>
                      <a:pt x="1662" y="1642"/>
                    </a:lnTo>
                    <a:cubicBezTo>
                      <a:pt x="1667" y="1642"/>
                      <a:pt x="1666" y="1642"/>
                      <a:pt x="1667" y="1642"/>
                    </a:cubicBezTo>
                    <a:cubicBezTo>
                      <a:pt x="1814" y="1632"/>
                      <a:pt x="1950" y="1569"/>
                      <a:pt x="2055" y="1469"/>
                    </a:cubicBezTo>
                    <a:cubicBezTo>
                      <a:pt x="2290" y="1234"/>
                      <a:pt x="2290" y="852"/>
                      <a:pt x="2055" y="618"/>
                    </a:cubicBezTo>
                    <a:close/>
                    <a:moveTo>
                      <a:pt x="1986" y="1402"/>
                    </a:moveTo>
                    <a:lnTo>
                      <a:pt x="1986" y="1402"/>
                    </a:lnTo>
                    <a:cubicBezTo>
                      <a:pt x="1902" y="1485"/>
                      <a:pt x="1787" y="1538"/>
                      <a:pt x="1662" y="1548"/>
                    </a:cubicBezTo>
                    <a:cubicBezTo>
                      <a:pt x="1657" y="1548"/>
                      <a:pt x="1657" y="1548"/>
                      <a:pt x="1651" y="1548"/>
                    </a:cubicBezTo>
                    <a:cubicBezTo>
                      <a:pt x="1625" y="1553"/>
                      <a:pt x="1599" y="1564"/>
                      <a:pt x="1584" y="1579"/>
                    </a:cubicBezTo>
                    <a:cubicBezTo>
                      <a:pt x="1562" y="1601"/>
                      <a:pt x="1552" y="1627"/>
                      <a:pt x="1547" y="1653"/>
                    </a:cubicBezTo>
                    <a:cubicBezTo>
                      <a:pt x="1547" y="1658"/>
                      <a:pt x="1547" y="1658"/>
                      <a:pt x="1547" y="1663"/>
                    </a:cubicBezTo>
                    <a:cubicBezTo>
                      <a:pt x="1542" y="1783"/>
                      <a:pt x="1490" y="1898"/>
                      <a:pt x="1400" y="1987"/>
                    </a:cubicBezTo>
                    <a:cubicBezTo>
                      <a:pt x="1306" y="2082"/>
                      <a:pt x="1176" y="2139"/>
                      <a:pt x="1040" y="2139"/>
                    </a:cubicBezTo>
                    <a:lnTo>
                      <a:pt x="1040" y="2139"/>
                    </a:lnTo>
                    <a:cubicBezTo>
                      <a:pt x="910" y="2139"/>
                      <a:pt x="779" y="2082"/>
                      <a:pt x="685" y="1987"/>
                    </a:cubicBezTo>
                    <a:cubicBezTo>
                      <a:pt x="245" y="1548"/>
                      <a:pt x="391" y="1695"/>
                      <a:pt x="245" y="1548"/>
                    </a:cubicBezTo>
                    <a:cubicBezTo>
                      <a:pt x="146" y="1454"/>
                      <a:pt x="93" y="1323"/>
                      <a:pt x="93" y="1187"/>
                    </a:cubicBezTo>
                    <a:cubicBezTo>
                      <a:pt x="93" y="1056"/>
                      <a:pt x="146" y="926"/>
                      <a:pt x="245" y="831"/>
                    </a:cubicBezTo>
                    <a:cubicBezTo>
                      <a:pt x="329" y="743"/>
                      <a:pt x="450" y="691"/>
                      <a:pt x="570" y="686"/>
                    </a:cubicBezTo>
                    <a:cubicBezTo>
                      <a:pt x="575" y="686"/>
                      <a:pt x="575" y="686"/>
                      <a:pt x="580" y="686"/>
                    </a:cubicBezTo>
                    <a:cubicBezTo>
                      <a:pt x="606" y="680"/>
                      <a:pt x="632" y="670"/>
                      <a:pt x="648" y="649"/>
                    </a:cubicBezTo>
                    <a:cubicBezTo>
                      <a:pt x="669" y="633"/>
                      <a:pt x="680" y="607"/>
                      <a:pt x="685" y="581"/>
                    </a:cubicBezTo>
                    <a:cubicBezTo>
                      <a:pt x="685" y="576"/>
                      <a:pt x="685" y="573"/>
                      <a:pt x="685" y="570"/>
                    </a:cubicBezTo>
                    <a:cubicBezTo>
                      <a:pt x="690" y="445"/>
                      <a:pt x="742" y="330"/>
                      <a:pt x="831" y="241"/>
                    </a:cubicBezTo>
                    <a:cubicBezTo>
                      <a:pt x="926" y="147"/>
                      <a:pt x="1055" y="95"/>
                      <a:pt x="1191" y="95"/>
                    </a:cubicBezTo>
                    <a:cubicBezTo>
                      <a:pt x="1327" y="95"/>
                      <a:pt x="1453" y="147"/>
                      <a:pt x="1547" y="241"/>
                    </a:cubicBezTo>
                    <a:cubicBezTo>
                      <a:pt x="1986" y="686"/>
                      <a:pt x="1840" y="537"/>
                      <a:pt x="1986" y="686"/>
                    </a:cubicBezTo>
                    <a:cubicBezTo>
                      <a:pt x="2185" y="878"/>
                      <a:pt x="2185" y="1203"/>
                      <a:pt x="1986" y="1402"/>
                    </a:cubicBezTo>
                    <a:close/>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sp>
            <p:nvSpPr>
              <p:cNvPr id="85" name="Freeform 79">
                <a:extLst>
                  <a:ext uri="{FF2B5EF4-FFF2-40B4-BE49-F238E27FC236}">
                    <a16:creationId xmlns:a16="http://schemas.microsoft.com/office/drawing/2014/main" id="{5E454152-9558-308A-538C-CCC17D5DF5F3}"/>
                  </a:ext>
                </a:extLst>
              </p:cNvPr>
              <p:cNvSpPr>
                <a:spLocks noChangeArrowheads="1"/>
              </p:cNvSpPr>
              <p:nvPr/>
            </p:nvSpPr>
            <p:spPr bwMode="auto">
              <a:xfrm>
                <a:off x="3551238" y="3870325"/>
                <a:ext cx="117475" cy="200025"/>
              </a:xfrm>
              <a:custGeom>
                <a:avLst/>
                <a:gdLst>
                  <a:gd name="T0" fmla="*/ 94 w 336"/>
                  <a:gd name="T1" fmla="*/ 188 h 566"/>
                  <a:gd name="T2" fmla="*/ 94 w 336"/>
                  <a:gd name="T3" fmla="*/ 188 h 566"/>
                  <a:gd name="T4" fmla="*/ 147 w 336"/>
                  <a:gd name="T5" fmla="*/ 68 h 566"/>
                  <a:gd name="T6" fmla="*/ 79 w 336"/>
                  <a:gd name="T7" fmla="*/ 0 h 566"/>
                  <a:gd name="T8" fmla="*/ 0 w 336"/>
                  <a:gd name="T9" fmla="*/ 188 h 566"/>
                  <a:gd name="T10" fmla="*/ 79 w 336"/>
                  <a:gd name="T11" fmla="*/ 377 h 566"/>
                  <a:gd name="T12" fmla="*/ 267 w 336"/>
                  <a:gd name="T13" fmla="*/ 565 h 566"/>
                  <a:gd name="T14" fmla="*/ 335 w 336"/>
                  <a:gd name="T15" fmla="*/ 502 h 566"/>
                  <a:gd name="T16" fmla="*/ 147 w 336"/>
                  <a:gd name="T17" fmla="*/ 314 h 566"/>
                  <a:gd name="T18" fmla="*/ 94 w 336"/>
                  <a:gd name="T19" fmla="*/ 188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566">
                    <a:moveTo>
                      <a:pt x="94" y="188"/>
                    </a:moveTo>
                    <a:lnTo>
                      <a:pt x="94" y="188"/>
                    </a:lnTo>
                    <a:cubicBezTo>
                      <a:pt x="94" y="146"/>
                      <a:pt x="116" y="99"/>
                      <a:pt x="147" y="68"/>
                    </a:cubicBezTo>
                    <a:cubicBezTo>
                      <a:pt x="79" y="0"/>
                      <a:pt x="101" y="23"/>
                      <a:pt x="79" y="0"/>
                    </a:cubicBezTo>
                    <a:cubicBezTo>
                      <a:pt x="32" y="52"/>
                      <a:pt x="0" y="120"/>
                      <a:pt x="0" y="188"/>
                    </a:cubicBezTo>
                    <a:cubicBezTo>
                      <a:pt x="0" y="261"/>
                      <a:pt x="32" y="329"/>
                      <a:pt x="79" y="377"/>
                    </a:cubicBezTo>
                    <a:cubicBezTo>
                      <a:pt x="267" y="565"/>
                      <a:pt x="204" y="503"/>
                      <a:pt x="267" y="565"/>
                    </a:cubicBezTo>
                    <a:cubicBezTo>
                      <a:pt x="335" y="502"/>
                      <a:pt x="312" y="523"/>
                      <a:pt x="335" y="502"/>
                    </a:cubicBezTo>
                    <a:cubicBezTo>
                      <a:pt x="147" y="314"/>
                      <a:pt x="209" y="377"/>
                      <a:pt x="147" y="314"/>
                    </a:cubicBezTo>
                    <a:cubicBezTo>
                      <a:pt x="116" y="277"/>
                      <a:pt x="94" y="235"/>
                      <a:pt x="94" y="188"/>
                    </a:cubicBez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137160" tIns="68580" rIns="137160" bIns="68580" numCol="1" anchor="ctr" anchorCtr="0" compatLnSpc="1">
                <a:prstTxWarp prst="textNoShape">
                  <a:avLst/>
                </a:prstTxWarp>
              </a:bodyPr>
              <a:lstStyle/>
              <a:p>
                <a:pPr>
                  <a:lnSpc>
                    <a:spcPct val="100000"/>
                  </a:lnSpc>
                </a:pPr>
                <a:endParaRPr lang="en-GB" sz="4050"/>
              </a:p>
            </p:txBody>
          </p:sp>
        </p:grpSp>
      </p:grpSp>
      <p:sp>
        <p:nvSpPr>
          <p:cNvPr id="93" name="Segnaposto testo 4">
            <a:extLst>
              <a:ext uri="{FF2B5EF4-FFF2-40B4-BE49-F238E27FC236}">
                <a16:creationId xmlns:a16="http://schemas.microsoft.com/office/drawing/2014/main" id="{38065B06-CD98-5028-FD9E-887F3CBDF49F}"/>
              </a:ext>
            </a:extLst>
          </p:cNvPr>
          <p:cNvSpPr>
            <a:spLocks noGrp="1"/>
          </p:cNvSpPr>
          <p:nvPr>
            <p:ph type="body" sz="quarter" idx="29" hasCustomPrompt="1"/>
          </p:nvPr>
        </p:nvSpPr>
        <p:spPr>
          <a:xfrm>
            <a:off x="633464" y="3781631"/>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94" name="Segnaposto testo 4">
            <a:extLst>
              <a:ext uri="{FF2B5EF4-FFF2-40B4-BE49-F238E27FC236}">
                <a16:creationId xmlns:a16="http://schemas.microsoft.com/office/drawing/2014/main" id="{3FF0A1EA-3307-E410-AB8F-0FDF99D7A2D4}"/>
              </a:ext>
            </a:extLst>
          </p:cNvPr>
          <p:cNvSpPr>
            <a:spLocks noGrp="1"/>
          </p:cNvSpPr>
          <p:nvPr>
            <p:ph type="body" sz="quarter" idx="30" hasCustomPrompt="1"/>
          </p:nvPr>
        </p:nvSpPr>
        <p:spPr>
          <a:xfrm>
            <a:off x="2687526" y="3781630"/>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95" name="Segnaposto testo 4">
            <a:extLst>
              <a:ext uri="{FF2B5EF4-FFF2-40B4-BE49-F238E27FC236}">
                <a16:creationId xmlns:a16="http://schemas.microsoft.com/office/drawing/2014/main" id="{4B528524-2C21-FA4A-3B9D-72FA2750B582}"/>
              </a:ext>
            </a:extLst>
          </p:cNvPr>
          <p:cNvSpPr>
            <a:spLocks noGrp="1"/>
          </p:cNvSpPr>
          <p:nvPr>
            <p:ph type="body" sz="quarter" idx="31" hasCustomPrompt="1"/>
          </p:nvPr>
        </p:nvSpPr>
        <p:spPr>
          <a:xfrm>
            <a:off x="4719336" y="3781629"/>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96" name="Segnaposto testo 4">
            <a:extLst>
              <a:ext uri="{FF2B5EF4-FFF2-40B4-BE49-F238E27FC236}">
                <a16:creationId xmlns:a16="http://schemas.microsoft.com/office/drawing/2014/main" id="{BC184B8E-3556-D8EB-F710-4B0BC3AACB73}"/>
              </a:ext>
            </a:extLst>
          </p:cNvPr>
          <p:cNvSpPr>
            <a:spLocks noGrp="1"/>
          </p:cNvSpPr>
          <p:nvPr>
            <p:ph type="body" sz="quarter" idx="32" hasCustomPrompt="1"/>
          </p:nvPr>
        </p:nvSpPr>
        <p:spPr>
          <a:xfrm>
            <a:off x="6750662" y="3781629"/>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97" name="Segnaposto testo 4">
            <a:extLst>
              <a:ext uri="{FF2B5EF4-FFF2-40B4-BE49-F238E27FC236}">
                <a16:creationId xmlns:a16="http://schemas.microsoft.com/office/drawing/2014/main" id="{FA043CFA-327D-84FD-D23E-691C2D7A9F0E}"/>
              </a:ext>
            </a:extLst>
          </p:cNvPr>
          <p:cNvSpPr>
            <a:spLocks noGrp="1"/>
          </p:cNvSpPr>
          <p:nvPr>
            <p:ph type="body" sz="quarter" idx="33" hasCustomPrompt="1"/>
          </p:nvPr>
        </p:nvSpPr>
        <p:spPr>
          <a:xfrm>
            <a:off x="8793177" y="3781628"/>
            <a:ext cx="1488561" cy="432523"/>
          </a:xfrm>
        </p:spPr>
        <p:txBody>
          <a:bodyPr numCol="1" spcCol="360000" anchor="ctr">
            <a:noAutofit/>
          </a:bodyPr>
          <a:lstStyle>
            <a:lvl1pPr marL="0" indent="0" algn="ctr">
              <a:lnSpc>
                <a:spcPct val="100000"/>
              </a:lnSpc>
              <a:buNone/>
              <a:defRPr sz="2400" b="1" i="0">
                <a:solidFill>
                  <a:schemeClr val="bg1"/>
                </a:solidFill>
                <a:latin typeface="Prometo" panose="020B0604030203060203" pitchFamily="34" charset="77"/>
                <a:cs typeface="Arial" panose="020B0604020202020204" pitchFamily="34" charset="0"/>
              </a:defRPr>
            </a:lvl1pPr>
          </a:lstStyle>
          <a:p>
            <a:pPr lvl="0"/>
            <a:r>
              <a:rPr lang="en-US" noProof="0"/>
              <a:t>TEXT</a:t>
            </a:r>
          </a:p>
        </p:txBody>
      </p:sp>
      <p:sp>
        <p:nvSpPr>
          <p:cNvPr id="98" name="Segnaposto testo 4">
            <a:extLst>
              <a:ext uri="{FF2B5EF4-FFF2-40B4-BE49-F238E27FC236}">
                <a16:creationId xmlns:a16="http://schemas.microsoft.com/office/drawing/2014/main" id="{D28EA40D-1942-677C-A06E-DE069E76809A}"/>
              </a:ext>
            </a:extLst>
          </p:cNvPr>
          <p:cNvSpPr>
            <a:spLocks noGrp="1"/>
          </p:cNvSpPr>
          <p:nvPr>
            <p:ph type="body" sz="quarter" idx="42" hasCustomPrompt="1"/>
          </p:nvPr>
        </p:nvSpPr>
        <p:spPr>
          <a:xfrm>
            <a:off x="3479937" y="1700373"/>
            <a:ext cx="2045122" cy="911748"/>
          </a:xfrm>
        </p:spPr>
        <p:txBody>
          <a:bodyPr numCol="1" spcCol="360000">
            <a:normAutofit/>
          </a:bodyPr>
          <a:lstStyle>
            <a:lvl1pPr marL="228600" marR="0" indent="-228600" algn="just" defTabSz="914400" rtl="0" eaLnBrk="1" fontAlgn="auto" latinLnBrk="0" hangingPunct="1">
              <a:lnSpc>
                <a:spcPct val="100000"/>
              </a:lnSpc>
              <a:spcBef>
                <a:spcPts val="1000"/>
              </a:spcBef>
              <a:spcAft>
                <a:spcPts val="0"/>
              </a:spcAft>
              <a:buClrTx/>
              <a:buSzTx/>
              <a:buFont typeface="+mj-lt"/>
              <a:buAutoNum type="arabicPeriod"/>
              <a:tabLst/>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endParaRPr lang="en-US" noProof="0"/>
          </a:p>
        </p:txBody>
      </p:sp>
      <p:sp>
        <p:nvSpPr>
          <p:cNvPr id="99" name="Segnaposto testo 4">
            <a:extLst>
              <a:ext uri="{FF2B5EF4-FFF2-40B4-BE49-F238E27FC236}">
                <a16:creationId xmlns:a16="http://schemas.microsoft.com/office/drawing/2014/main" id="{FA7AEAE8-7B62-D906-4D79-6802360B96D5}"/>
              </a:ext>
            </a:extLst>
          </p:cNvPr>
          <p:cNvSpPr>
            <a:spLocks noGrp="1"/>
          </p:cNvSpPr>
          <p:nvPr>
            <p:ph type="body" sz="quarter" idx="43" hasCustomPrompt="1"/>
          </p:nvPr>
        </p:nvSpPr>
        <p:spPr>
          <a:xfrm>
            <a:off x="7510446" y="1700373"/>
            <a:ext cx="2045122" cy="911748"/>
          </a:xfrm>
        </p:spPr>
        <p:txBody>
          <a:bodyPr numCol="1" spcCol="360000">
            <a:normAutofit/>
          </a:bodyPr>
          <a:lstStyle>
            <a:lvl1pPr marL="228600" marR="0" indent="-228600" algn="just" defTabSz="914400" rtl="0" eaLnBrk="1" fontAlgn="auto" latinLnBrk="0" hangingPunct="1">
              <a:lnSpc>
                <a:spcPct val="100000"/>
              </a:lnSpc>
              <a:spcBef>
                <a:spcPts val="1000"/>
              </a:spcBef>
              <a:spcAft>
                <a:spcPts val="0"/>
              </a:spcAft>
              <a:buClrTx/>
              <a:buSzTx/>
              <a:buFont typeface="+mj-lt"/>
              <a:buAutoNum type="arabicPeriod"/>
              <a:tabLst/>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endParaRPr lang="en-US" noProof="0"/>
          </a:p>
        </p:txBody>
      </p:sp>
      <p:sp>
        <p:nvSpPr>
          <p:cNvPr id="100" name="Segnaposto testo 4">
            <a:extLst>
              <a:ext uri="{FF2B5EF4-FFF2-40B4-BE49-F238E27FC236}">
                <a16:creationId xmlns:a16="http://schemas.microsoft.com/office/drawing/2014/main" id="{A4CF4BE1-1EFF-4BF1-7EF0-3A1C454770CE}"/>
              </a:ext>
            </a:extLst>
          </p:cNvPr>
          <p:cNvSpPr>
            <a:spLocks noGrp="1"/>
          </p:cNvSpPr>
          <p:nvPr>
            <p:ph type="body" sz="quarter" idx="44" hasCustomPrompt="1"/>
          </p:nvPr>
        </p:nvSpPr>
        <p:spPr>
          <a:xfrm>
            <a:off x="1099464" y="5269470"/>
            <a:ext cx="2045122" cy="911748"/>
          </a:xfrm>
        </p:spPr>
        <p:txBody>
          <a:bodyPr numCol="1" spcCol="360000">
            <a:normAutofit/>
          </a:bodyPr>
          <a:lstStyle>
            <a:lvl1pPr marL="228600" marR="0" indent="-228600" algn="just" defTabSz="914400" rtl="0" eaLnBrk="1" fontAlgn="auto" latinLnBrk="0" hangingPunct="1">
              <a:lnSpc>
                <a:spcPct val="100000"/>
              </a:lnSpc>
              <a:spcBef>
                <a:spcPts val="1000"/>
              </a:spcBef>
              <a:spcAft>
                <a:spcPts val="0"/>
              </a:spcAft>
              <a:buClrTx/>
              <a:buSzTx/>
              <a:buFont typeface="+mj-lt"/>
              <a:buAutoNum type="arabicPeriod"/>
              <a:tabLst/>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endParaRPr lang="en-US" noProof="0"/>
          </a:p>
        </p:txBody>
      </p:sp>
      <p:sp>
        <p:nvSpPr>
          <p:cNvPr id="101" name="Segnaposto testo 4">
            <a:extLst>
              <a:ext uri="{FF2B5EF4-FFF2-40B4-BE49-F238E27FC236}">
                <a16:creationId xmlns:a16="http://schemas.microsoft.com/office/drawing/2014/main" id="{87865B1F-1851-7E3C-5AB7-74AA068D1E00}"/>
              </a:ext>
            </a:extLst>
          </p:cNvPr>
          <p:cNvSpPr>
            <a:spLocks noGrp="1"/>
          </p:cNvSpPr>
          <p:nvPr>
            <p:ph type="body" sz="quarter" idx="45" hasCustomPrompt="1"/>
          </p:nvPr>
        </p:nvSpPr>
        <p:spPr>
          <a:xfrm>
            <a:off x="5381802" y="5269470"/>
            <a:ext cx="2045122" cy="911748"/>
          </a:xfrm>
        </p:spPr>
        <p:txBody>
          <a:bodyPr numCol="1" spcCol="360000">
            <a:normAutofit/>
          </a:bodyPr>
          <a:lstStyle>
            <a:lvl1pPr marL="228600" marR="0" indent="-228600" algn="just" defTabSz="914400" rtl="0" eaLnBrk="1" fontAlgn="auto" latinLnBrk="0" hangingPunct="1">
              <a:lnSpc>
                <a:spcPct val="100000"/>
              </a:lnSpc>
              <a:spcBef>
                <a:spcPts val="1000"/>
              </a:spcBef>
              <a:spcAft>
                <a:spcPts val="0"/>
              </a:spcAft>
              <a:buClrTx/>
              <a:buSzTx/>
              <a:buFont typeface="+mj-lt"/>
              <a:buAutoNum type="arabicPeriod"/>
              <a:tabLst/>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endParaRPr lang="en-US" noProof="0"/>
          </a:p>
        </p:txBody>
      </p:sp>
      <p:sp>
        <p:nvSpPr>
          <p:cNvPr id="102" name="Segnaposto testo 4">
            <a:extLst>
              <a:ext uri="{FF2B5EF4-FFF2-40B4-BE49-F238E27FC236}">
                <a16:creationId xmlns:a16="http://schemas.microsoft.com/office/drawing/2014/main" id="{9CA6C80F-1784-1981-7BC9-A312FCA7D791}"/>
              </a:ext>
            </a:extLst>
          </p:cNvPr>
          <p:cNvSpPr>
            <a:spLocks noGrp="1"/>
          </p:cNvSpPr>
          <p:nvPr>
            <p:ph type="body" sz="quarter" idx="46" hasCustomPrompt="1"/>
          </p:nvPr>
        </p:nvSpPr>
        <p:spPr>
          <a:xfrm>
            <a:off x="9610321" y="5269470"/>
            <a:ext cx="2045122" cy="911748"/>
          </a:xfrm>
        </p:spPr>
        <p:txBody>
          <a:bodyPr numCol="1" spcCol="360000">
            <a:normAutofit/>
          </a:bodyPr>
          <a:lstStyle>
            <a:lvl1pPr marL="228600" marR="0" indent="-228600" algn="just" defTabSz="914400" rtl="0" eaLnBrk="1" fontAlgn="auto" latinLnBrk="0" hangingPunct="1">
              <a:lnSpc>
                <a:spcPct val="100000"/>
              </a:lnSpc>
              <a:spcBef>
                <a:spcPts val="1000"/>
              </a:spcBef>
              <a:spcAft>
                <a:spcPts val="0"/>
              </a:spcAft>
              <a:buClrTx/>
              <a:buSzTx/>
              <a:buFont typeface="+mj-lt"/>
              <a:buAutoNum type="arabicPeriod"/>
              <a:tabLst/>
              <a:defRPr sz="1000" b="0" i="0">
                <a:solidFill>
                  <a:schemeClr val="tx1"/>
                </a:solidFill>
                <a:latin typeface="Arial" panose="020B0604020202020204" pitchFamily="34" charset="0"/>
                <a:cs typeface="Arial" panose="020B0604020202020204" pitchFamily="34" charset="0"/>
              </a:defRPr>
            </a:lvl1pPr>
          </a:lstStyle>
          <a:p>
            <a:pPr lvl="0"/>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r>
              <a:rPr lang="en-US" noProof="0"/>
              <a:t>Your text here</a:t>
            </a:r>
          </a:p>
          <a:p>
            <a:pPr marL="228600" marR="0" lvl="0" indent="-228600" algn="just" defTabSz="914400" rtl="0" eaLnBrk="1" fontAlgn="auto" latinLnBrk="0" hangingPunct="1">
              <a:lnSpc>
                <a:spcPct val="90000"/>
              </a:lnSpc>
              <a:spcBef>
                <a:spcPts val="1000"/>
              </a:spcBef>
              <a:spcAft>
                <a:spcPts val="0"/>
              </a:spcAft>
              <a:buClrTx/>
              <a:buSzTx/>
              <a:buFont typeface="+mj-lt"/>
              <a:buAutoNum type="arabicPeriod"/>
              <a:tabLst/>
              <a:defRPr/>
            </a:pPr>
            <a:endParaRPr lang="en-US" noProof="0"/>
          </a:p>
        </p:txBody>
      </p:sp>
    </p:spTree>
    <p:extLst>
      <p:ext uri="{BB962C8B-B14F-4D97-AF65-F5344CB8AC3E}">
        <p14:creationId xmlns:p14="http://schemas.microsoft.com/office/powerpoint/2010/main" val="10724097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a:xfrm>
            <a:off x="550864" y="549276"/>
            <a:ext cx="2988306" cy="827087"/>
          </a:xfrm>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5" name="Groep 4">
            <a:extLst>
              <a:ext uri="{FF2B5EF4-FFF2-40B4-BE49-F238E27FC236}">
                <a16:creationId xmlns:a16="http://schemas.microsoft.com/office/drawing/2014/main" id="{3F233563-612B-D8EF-C2AF-8188AF3E1010}"/>
              </a:ext>
            </a:extLst>
          </p:cNvPr>
          <p:cNvGrpSpPr>
            <a:grpSpLocks noChangeAspect="1"/>
          </p:cNvGrpSpPr>
          <p:nvPr userDrawn="1"/>
        </p:nvGrpSpPr>
        <p:grpSpPr>
          <a:xfrm>
            <a:off x="3967804" y="930949"/>
            <a:ext cx="6876418" cy="4642999"/>
            <a:chOff x="6753857" y="1966127"/>
            <a:chExt cx="9663775" cy="6525039"/>
          </a:xfrm>
        </p:grpSpPr>
        <p:sp>
          <p:nvSpPr>
            <p:cNvPr id="6" name="Freeform 16">
              <a:extLst>
                <a:ext uri="{FF2B5EF4-FFF2-40B4-BE49-F238E27FC236}">
                  <a16:creationId xmlns:a16="http://schemas.microsoft.com/office/drawing/2014/main" id="{F2FB75DC-65D3-A41A-DFBD-D591AB8DE9FC}"/>
                </a:ext>
              </a:extLst>
            </p:cNvPr>
            <p:cNvSpPr/>
            <p:nvPr/>
          </p:nvSpPr>
          <p:spPr>
            <a:xfrm>
              <a:off x="9044404" y="5358867"/>
              <a:ext cx="2461755" cy="2461757"/>
            </a:xfrm>
            <a:custGeom>
              <a:avLst/>
              <a:gdLst>
                <a:gd name="connsiteX0" fmla="*/ 0 w 2160000"/>
                <a:gd name="connsiteY0" fmla="*/ 0 h 2160000"/>
                <a:gd name="connsiteX1" fmla="*/ 584061 w 2160000"/>
                <a:gd name="connsiteY1" fmla="*/ 0 h 2160000"/>
                <a:gd name="connsiteX2" fmla="*/ 592197 w 2160000"/>
                <a:gd name="connsiteY2" fmla="*/ 161130 h 2160000"/>
                <a:gd name="connsiteX3" fmla="*/ 2160000 w 2160000"/>
                <a:gd name="connsiteY3" fmla="*/ 1575938 h 2160000"/>
                <a:gd name="connsiteX4" fmla="*/ 2160000 w 2160000"/>
                <a:gd name="connsiteY4" fmla="*/ 2160000 h 2160000"/>
                <a:gd name="connsiteX5" fmla="*/ 0 w 2160000"/>
                <a:gd name="connsiteY5" fmla="*/ 0 h 2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2160000">
                  <a:moveTo>
                    <a:pt x="0" y="0"/>
                  </a:moveTo>
                  <a:lnTo>
                    <a:pt x="584061" y="0"/>
                  </a:lnTo>
                  <a:lnTo>
                    <a:pt x="592197" y="161130"/>
                  </a:lnTo>
                  <a:cubicBezTo>
                    <a:pt x="672901" y="955807"/>
                    <a:pt x="1344031" y="1575938"/>
                    <a:pt x="2160000" y="1575938"/>
                  </a:cubicBezTo>
                  <a:lnTo>
                    <a:pt x="2160000" y="2160000"/>
                  </a:lnTo>
                  <a:cubicBezTo>
                    <a:pt x="967065" y="2160000"/>
                    <a:pt x="0" y="1192935"/>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7" name="Freeform 17">
              <a:extLst>
                <a:ext uri="{FF2B5EF4-FFF2-40B4-BE49-F238E27FC236}">
                  <a16:creationId xmlns:a16="http://schemas.microsoft.com/office/drawing/2014/main" id="{481C0939-215D-39FB-C050-784D118C7F07}"/>
                </a:ext>
              </a:extLst>
            </p:cNvPr>
            <p:cNvSpPr/>
            <p:nvPr/>
          </p:nvSpPr>
          <p:spPr>
            <a:xfrm rot="5400000">
              <a:off x="9044404" y="2897110"/>
              <a:ext cx="2461757" cy="2461755"/>
            </a:xfrm>
            <a:custGeom>
              <a:avLst/>
              <a:gdLst>
                <a:gd name="connsiteX0" fmla="*/ 0 w 2160000"/>
                <a:gd name="connsiteY0" fmla="*/ 0 h 2160000"/>
                <a:gd name="connsiteX1" fmla="*/ 584061 w 2160000"/>
                <a:gd name="connsiteY1" fmla="*/ 0 h 2160000"/>
                <a:gd name="connsiteX2" fmla="*/ 592197 w 2160000"/>
                <a:gd name="connsiteY2" fmla="*/ 161130 h 2160000"/>
                <a:gd name="connsiteX3" fmla="*/ 2160000 w 2160000"/>
                <a:gd name="connsiteY3" fmla="*/ 1575938 h 2160000"/>
                <a:gd name="connsiteX4" fmla="*/ 2160000 w 2160000"/>
                <a:gd name="connsiteY4" fmla="*/ 2160000 h 2160000"/>
                <a:gd name="connsiteX5" fmla="*/ 0 w 2160000"/>
                <a:gd name="connsiteY5" fmla="*/ 0 h 2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2160000">
                  <a:moveTo>
                    <a:pt x="0" y="0"/>
                  </a:moveTo>
                  <a:lnTo>
                    <a:pt x="584061" y="0"/>
                  </a:lnTo>
                  <a:lnTo>
                    <a:pt x="592197" y="161130"/>
                  </a:lnTo>
                  <a:cubicBezTo>
                    <a:pt x="672901" y="955807"/>
                    <a:pt x="1344031" y="1575938"/>
                    <a:pt x="2160000" y="1575938"/>
                  </a:cubicBezTo>
                  <a:lnTo>
                    <a:pt x="2160000" y="2160000"/>
                  </a:lnTo>
                  <a:cubicBezTo>
                    <a:pt x="967065" y="2160000"/>
                    <a:pt x="0" y="1192935"/>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8" name="Freeform 18">
              <a:extLst>
                <a:ext uri="{FF2B5EF4-FFF2-40B4-BE49-F238E27FC236}">
                  <a16:creationId xmlns:a16="http://schemas.microsoft.com/office/drawing/2014/main" id="{FF0C710E-0153-D972-290B-9C8E83D7FF4A}"/>
                </a:ext>
              </a:extLst>
            </p:cNvPr>
            <p:cNvSpPr/>
            <p:nvPr/>
          </p:nvSpPr>
          <p:spPr>
            <a:xfrm rot="10800000">
              <a:off x="11506161" y="2897110"/>
              <a:ext cx="2461755" cy="2461757"/>
            </a:xfrm>
            <a:custGeom>
              <a:avLst/>
              <a:gdLst>
                <a:gd name="connsiteX0" fmla="*/ 0 w 2160000"/>
                <a:gd name="connsiteY0" fmla="*/ 0 h 2160000"/>
                <a:gd name="connsiteX1" fmla="*/ 584061 w 2160000"/>
                <a:gd name="connsiteY1" fmla="*/ 0 h 2160000"/>
                <a:gd name="connsiteX2" fmla="*/ 592197 w 2160000"/>
                <a:gd name="connsiteY2" fmla="*/ 161130 h 2160000"/>
                <a:gd name="connsiteX3" fmla="*/ 2160000 w 2160000"/>
                <a:gd name="connsiteY3" fmla="*/ 1575938 h 2160000"/>
                <a:gd name="connsiteX4" fmla="*/ 2160000 w 2160000"/>
                <a:gd name="connsiteY4" fmla="*/ 2160000 h 2160000"/>
                <a:gd name="connsiteX5" fmla="*/ 0 w 2160000"/>
                <a:gd name="connsiteY5" fmla="*/ 0 h 2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2160000">
                  <a:moveTo>
                    <a:pt x="0" y="0"/>
                  </a:moveTo>
                  <a:lnTo>
                    <a:pt x="584061" y="0"/>
                  </a:lnTo>
                  <a:lnTo>
                    <a:pt x="592197" y="161130"/>
                  </a:lnTo>
                  <a:cubicBezTo>
                    <a:pt x="672901" y="955807"/>
                    <a:pt x="1344031" y="1575938"/>
                    <a:pt x="2160000" y="1575938"/>
                  </a:cubicBezTo>
                  <a:lnTo>
                    <a:pt x="2160000" y="2160000"/>
                  </a:lnTo>
                  <a:cubicBezTo>
                    <a:pt x="967065" y="2160000"/>
                    <a:pt x="0" y="1192935"/>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9" name="Freeform 19">
              <a:extLst>
                <a:ext uri="{FF2B5EF4-FFF2-40B4-BE49-F238E27FC236}">
                  <a16:creationId xmlns:a16="http://schemas.microsoft.com/office/drawing/2014/main" id="{4C07FBA8-739A-CC7C-2350-6DBEF471FEBA}"/>
                </a:ext>
              </a:extLst>
            </p:cNvPr>
            <p:cNvSpPr/>
            <p:nvPr/>
          </p:nvSpPr>
          <p:spPr>
            <a:xfrm rot="16200000">
              <a:off x="11506161" y="5358867"/>
              <a:ext cx="2461757" cy="2461755"/>
            </a:xfrm>
            <a:custGeom>
              <a:avLst/>
              <a:gdLst>
                <a:gd name="connsiteX0" fmla="*/ 0 w 2160000"/>
                <a:gd name="connsiteY0" fmla="*/ 0 h 2160000"/>
                <a:gd name="connsiteX1" fmla="*/ 584061 w 2160000"/>
                <a:gd name="connsiteY1" fmla="*/ 0 h 2160000"/>
                <a:gd name="connsiteX2" fmla="*/ 592197 w 2160000"/>
                <a:gd name="connsiteY2" fmla="*/ 161130 h 2160000"/>
                <a:gd name="connsiteX3" fmla="*/ 2160000 w 2160000"/>
                <a:gd name="connsiteY3" fmla="*/ 1575938 h 2160000"/>
                <a:gd name="connsiteX4" fmla="*/ 2160000 w 2160000"/>
                <a:gd name="connsiteY4" fmla="*/ 2160000 h 2160000"/>
                <a:gd name="connsiteX5" fmla="*/ 0 w 2160000"/>
                <a:gd name="connsiteY5" fmla="*/ 0 h 2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2160000">
                  <a:moveTo>
                    <a:pt x="0" y="0"/>
                  </a:moveTo>
                  <a:lnTo>
                    <a:pt x="584061" y="0"/>
                  </a:lnTo>
                  <a:lnTo>
                    <a:pt x="592197" y="161130"/>
                  </a:lnTo>
                  <a:cubicBezTo>
                    <a:pt x="672901" y="955807"/>
                    <a:pt x="1344031" y="1575938"/>
                    <a:pt x="2160000" y="1575938"/>
                  </a:cubicBezTo>
                  <a:lnTo>
                    <a:pt x="2160000" y="2160000"/>
                  </a:lnTo>
                  <a:cubicBezTo>
                    <a:pt x="967065" y="2160000"/>
                    <a:pt x="0" y="1192935"/>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0" name="Rectangle 9">
              <a:extLst>
                <a:ext uri="{FF2B5EF4-FFF2-40B4-BE49-F238E27FC236}">
                  <a16:creationId xmlns:a16="http://schemas.microsoft.com/office/drawing/2014/main" id="{3ACFC1C7-AED2-1333-D8C6-A0D7AC458E74}"/>
                </a:ext>
              </a:extLst>
            </p:cNvPr>
            <p:cNvSpPr/>
            <p:nvPr/>
          </p:nvSpPr>
          <p:spPr>
            <a:xfrm rot="8100000">
              <a:off x="11078881" y="2714705"/>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1" name="Rectangle 9">
              <a:extLst>
                <a:ext uri="{FF2B5EF4-FFF2-40B4-BE49-F238E27FC236}">
                  <a16:creationId xmlns:a16="http://schemas.microsoft.com/office/drawing/2014/main" id="{1E6D8A40-6DC6-76A2-32A1-E7B40D82ADA0}"/>
                </a:ext>
              </a:extLst>
            </p:cNvPr>
            <p:cNvSpPr/>
            <p:nvPr/>
          </p:nvSpPr>
          <p:spPr>
            <a:xfrm rot="13500000">
              <a:off x="13123175" y="4951775"/>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2" name="Rectangle 9">
              <a:extLst>
                <a:ext uri="{FF2B5EF4-FFF2-40B4-BE49-F238E27FC236}">
                  <a16:creationId xmlns:a16="http://schemas.microsoft.com/office/drawing/2014/main" id="{8FD8D752-D7D5-F740-9315-585B55F82861}"/>
                </a:ext>
              </a:extLst>
            </p:cNvPr>
            <p:cNvSpPr/>
            <p:nvPr/>
          </p:nvSpPr>
          <p:spPr>
            <a:xfrm rot="18900000">
              <a:off x="10895856" y="6956453"/>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3" name="Rectangle 9">
              <a:extLst>
                <a:ext uri="{FF2B5EF4-FFF2-40B4-BE49-F238E27FC236}">
                  <a16:creationId xmlns:a16="http://schemas.microsoft.com/office/drawing/2014/main" id="{27160483-841D-3475-2BF6-33CAB397AEDB}"/>
                </a:ext>
              </a:extLst>
            </p:cNvPr>
            <p:cNvSpPr/>
            <p:nvPr/>
          </p:nvSpPr>
          <p:spPr>
            <a:xfrm rot="2700000">
              <a:off x="8887158" y="4806422"/>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4" name="Freeform 24">
              <a:extLst>
                <a:ext uri="{FF2B5EF4-FFF2-40B4-BE49-F238E27FC236}">
                  <a16:creationId xmlns:a16="http://schemas.microsoft.com/office/drawing/2014/main" id="{44712601-F18C-5F10-111D-D8FE0AACE935}"/>
                </a:ext>
              </a:extLst>
            </p:cNvPr>
            <p:cNvSpPr/>
            <p:nvPr/>
          </p:nvSpPr>
          <p:spPr>
            <a:xfrm>
              <a:off x="7375384" y="2670027"/>
              <a:ext cx="2855039" cy="814174"/>
            </a:xfrm>
            <a:custGeom>
              <a:avLst/>
              <a:gdLst>
                <a:gd name="connsiteX0" fmla="*/ 2505075 w 2505075"/>
                <a:gd name="connsiteY0" fmla="*/ 714375 h 714375"/>
                <a:gd name="connsiteX1" fmla="*/ 1790700 w 2505075"/>
                <a:gd name="connsiteY1" fmla="*/ 0 h 714375"/>
                <a:gd name="connsiteX2" fmla="*/ 0 w 2505075"/>
                <a:gd name="connsiteY2" fmla="*/ 0 h 714375"/>
              </a:gdLst>
              <a:ahLst/>
              <a:cxnLst>
                <a:cxn ang="0">
                  <a:pos x="connsiteX0" y="connsiteY0"/>
                </a:cxn>
                <a:cxn ang="0">
                  <a:pos x="connsiteX1" y="connsiteY1"/>
                </a:cxn>
                <a:cxn ang="0">
                  <a:pos x="connsiteX2" y="connsiteY2"/>
                </a:cxn>
              </a:cxnLst>
              <a:rect l="l" t="t" r="r" b="b"/>
              <a:pathLst>
                <a:path w="2505075" h="714375">
                  <a:moveTo>
                    <a:pt x="2505075" y="714375"/>
                  </a:moveTo>
                  <a:lnTo>
                    <a:pt x="1790700" y="0"/>
                  </a:lnTo>
                  <a:lnTo>
                    <a:pt x="0" y="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5" name="Freeform 25">
              <a:extLst>
                <a:ext uri="{FF2B5EF4-FFF2-40B4-BE49-F238E27FC236}">
                  <a16:creationId xmlns:a16="http://schemas.microsoft.com/office/drawing/2014/main" id="{3981057C-1D8C-9C9D-FECC-2A7E7155605A}"/>
                </a:ext>
              </a:extLst>
            </p:cNvPr>
            <p:cNvSpPr/>
            <p:nvPr/>
          </p:nvSpPr>
          <p:spPr>
            <a:xfrm flipV="1">
              <a:off x="7375383" y="7148508"/>
              <a:ext cx="2855039" cy="814174"/>
            </a:xfrm>
            <a:custGeom>
              <a:avLst/>
              <a:gdLst>
                <a:gd name="connsiteX0" fmla="*/ 2505075 w 2505075"/>
                <a:gd name="connsiteY0" fmla="*/ 714375 h 714375"/>
                <a:gd name="connsiteX1" fmla="*/ 1790700 w 2505075"/>
                <a:gd name="connsiteY1" fmla="*/ 0 h 714375"/>
                <a:gd name="connsiteX2" fmla="*/ 0 w 2505075"/>
                <a:gd name="connsiteY2" fmla="*/ 0 h 714375"/>
              </a:gdLst>
              <a:ahLst/>
              <a:cxnLst>
                <a:cxn ang="0">
                  <a:pos x="connsiteX0" y="connsiteY0"/>
                </a:cxn>
                <a:cxn ang="0">
                  <a:pos x="connsiteX1" y="connsiteY1"/>
                </a:cxn>
                <a:cxn ang="0">
                  <a:pos x="connsiteX2" y="connsiteY2"/>
                </a:cxn>
              </a:cxnLst>
              <a:rect l="l" t="t" r="r" b="b"/>
              <a:pathLst>
                <a:path w="2505075" h="714375">
                  <a:moveTo>
                    <a:pt x="2505075" y="714375"/>
                  </a:moveTo>
                  <a:lnTo>
                    <a:pt x="1790700" y="0"/>
                  </a:lnTo>
                  <a:lnTo>
                    <a:pt x="0" y="0"/>
                  </a:lnTo>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6" name="Freeform 26">
              <a:extLst>
                <a:ext uri="{FF2B5EF4-FFF2-40B4-BE49-F238E27FC236}">
                  <a16:creationId xmlns:a16="http://schemas.microsoft.com/office/drawing/2014/main" id="{5E7392A1-7A57-2863-E069-ECB9895D2B43}"/>
                </a:ext>
              </a:extLst>
            </p:cNvPr>
            <p:cNvSpPr/>
            <p:nvPr/>
          </p:nvSpPr>
          <p:spPr>
            <a:xfrm flipH="1">
              <a:off x="12737038" y="2670027"/>
              <a:ext cx="2855039" cy="814174"/>
            </a:xfrm>
            <a:custGeom>
              <a:avLst/>
              <a:gdLst>
                <a:gd name="connsiteX0" fmla="*/ 2505075 w 2505075"/>
                <a:gd name="connsiteY0" fmla="*/ 714375 h 714375"/>
                <a:gd name="connsiteX1" fmla="*/ 1790700 w 2505075"/>
                <a:gd name="connsiteY1" fmla="*/ 0 h 714375"/>
                <a:gd name="connsiteX2" fmla="*/ 0 w 2505075"/>
                <a:gd name="connsiteY2" fmla="*/ 0 h 714375"/>
              </a:gdLst>
              <a:ahLst/>
              <a:cxnLst>
                <a:cxn ang="0">
                  <a:pos x="connsiteX0" y="connsiteY0"/>
                </a:cxn>
                <a:cxn ang="0">
                  <a:pos x="connsiteX1" y="connsiteY1"/>
                </a:cxn>
                <a:cxn ang="0">
                  <a:pos x="connsiteX2" y="connsiteY2"/>
                </a:cxn>
              </a:cxnLst>
              <a:rect l="l" t="t" r="r" b="b"/>
              <a:pathLst>
                <a:path w="2505075" h="714375">
                  <a:moveTo>
                    <a:pt x="2505075" y="714375"/>
                  </a:moveTo>
                  <a:lnTo>
                    <a:pt x="1790700" y="0"/>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7" name="Freeform 27">
              <a:extLst>
                <a:ext uri="{FF2B5EF4-FFF2-40B4-BE49-F238E27FC236}">
                  <a16:creationId xmlns:a16="http://schemas.microsoft.com/office/drawing/2014/main" id="{23F60E9C-030F-37E6-E725-9087C0BDACEE}"/>
                </a:ext>
              </a:extLst>
            </p:cNvPr>
            <p:cNvSpPr/>
            <p:nvPr/>
          </p:nvSpPr>
          <p:spPr>
            <a:xfrm flipH="1" flipV="1">
              <a:off x="12737038" y="7148508"/>
              <a:ext cx="2855039" cy="814174"/>
            </a:xfrm>
            <a:custGeom>
              <a:avLst/>
              <a:gdLst>
                <a:gd name="connsiteX0" fmla="*/ 2505075 w 2505075"/>
                <a:gd name="connsiteY0" fmla="*/ 714375 h 714375"/>
                <a:gd name="connsiteX1" fmla="*/ 1790700 w 2505075"/>
                <a:gd name="connsiteY1" fmla="*/ 0 h 714375"/>
                <a:gd name="connsiteX2" fmla="*/ 0 w 2505075"/>
                <a:gd name="connsiteY2" fmla="*/ 0 h 714375"/>
              </a:gdLst>
              <a:ahLst/>
              <a:cxnLst>
                <a:cxn ang="0">
                  <a:pos x="connsiteX0" y="connsiteY0"/>
                </a:cxn>
                <a:cxn ang="0">
                  <a:pos x="connsiteX1" y="connsiteY1"/>
                </a:cxn>
                <a:cxn ang="0">
                  <a:pos x="connsiteX2" y="connsiteY2"/>
                </a:cxn>
              </a:cxnLst>
              <a:rect l="l" t="t" r="r" b="b"/>
              <a:pathLst>
                <a:path w="2505075" h="714375">
                  <a:moveTo>
                    <a:pt x="2505075" y="714375"/>
                  </a:moveTo>
                  <a:lnTo>
                    <a:pt x="1790700" y="0"/>
                  </a:lnTo>
                  <a:lnTo>
                    <a:pt x="0" y="0"/>
                  </a:ln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19" name="Rectangle 9">
              <a:extLst>
                <a:ext uri="{FF2B5EF4-FFF2-40B4-BE49-F238E27FC236}">
                  <a16:creationId xmlns:a16="http://schemas.microsoft.com/office/drawing/2014/main" id="{50D77049-4FC2-63C2-9A08-12E796E69F68}"/>
                </a:ext>
              </a:extLst>
            </p:cNvPr>
            <p:cNvSpPr/>
            <p:nvPr/>
          </p:nvSpPr>
          <p:spPr>
            <a:xfrm rot="2700000">
              <a:off x="8887158" y="4925360"/>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0" name="Rectangle 9">
              <a:extLst>
                <a:ext uri="{FF2B5EF4-FFF2-40B4-BE49-F238E27FC236}">
                  <a16:creationId xmlns:a16="http://schemas.microsoft.com/office/drawing/2014/main" id="{8180CEBC-7592-14AD-DBDF-F23B8A02322B}"/>
                </a:ext>
              </a:extLst>
            </p:cNvPr>
            <p:cNvSpPr/>
            <p:nvPr/>
          </p:nvSpPr>
          <p:spPr>
            <a:xfrm rot="13500000">
              <a:off x="13123175" y="4835323"/>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1" name="Rectangle 9">
              <a:extLst>
                <a:ext uri="{FF2B5EF4-FFF2-40B4-BE49-F238E27FC236}">
                  <a16:creationId xmlns:a16="http://schemas.microsoft.com/office/drawing/2014/main" id="{2D533CC9-0041-11DB-9A0F-EC90967C797C}"/>
                </a:ext>
              </a:extLst>
            </p:cNvPr>
            <p:cNvSpPr/>
            <p:nvPr/>
          </p:nvSpPr>
          <p:spPr>
            <a:xfrm rot="18900000">
              <a:off x="11006724" y="6956452"/>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2" name="Rectangle 9">
              <a:extLst>
                <a:ext uri="{FF2B5EF4-FFF2-40B4-BE49-F238E27FC236}">
                  <a16:creationId xmlns:a16="http://schemas.microsoft.com/office/drawing/2014/main" id="{3DE34AD0-DC0D-A621-3B18-CBAE9189C315}"/>
                </a:ext>
              </a:extLst>
            </p:cNvPr>
            <p:cNvSpPr/>
            <p:nvPr/>
          </p:nvSpPr>
          <p:spPr>
            <a:xfrm rot="8100000">
              <a:off x="10964373" y="2712479"/>
              <a:ext cx="1029886" cy="1029886"/>
            </a:xfrm>
            <a:custGeom>
              <a:avLst/>
              <a:gdLst>
                <a:gd name="connsiteX0" fmla="*/ 0 w 1585609"/>
                <a:gd name="connsiteY0" fmla="*/ 0 h 1585609"/>
                <a:gd name="connsiteX1" fmla="*/ 1585609 w 1585609"/>
                <a:gd name="connsiteY1" fmla="*/ 0 h 1585609"/>
                <a:gd name="connsiteX2" fmla="*/ 1585609 w 1585609"/>
                <a:gd name="connsiteY2" fmla="*/ 1585609 h 1585609"/>
                <a:gd name="connsiteX3" fmla="*/ 0 w 1585609"/>
                <a:gd name="connsiteY3" fmla="*/ 1585609 h 1585609"/>
                <a:gd name="connsiteX4" fmla="*/ 0 w 1585609"/>
                <a:gd name="connsiteY4" fmla="*/ 0 h 1585609"/>
                <a:gd name="connsiteX0" fmla="*/ 0 w 1585609"/>
                <a:gd name="connsiteY0" fmla="*/ 0 h 1585609"/>
                <a:gd name="connsiteX1" fmla="*/ 1585609 w 1585609"/>
                <a:gd name="connsiteY1" fmla="*/ 0 h 1585609"/>
                <a:gd name="connsiteX2" fmla="*/ 0 w 1585609"/>
                <a:gd name="connsiteY2" fmla="*/ 1585609 h 1585609"/>
                <a:gd name="connsiteX3" fmla="*/ 0 w 1585609"/>
                <a:gd name="connsiteY3" fmla="*/ 0 h 1585609"/>
              </a:gdLst>
              <a:ahLst/>
              <a:cxnLst>
                <a:cxn ang="0">
                  <a:pos x="connsiteX0" y="connsiteY0"/>
                </a:cxn>
                <a:cxn ang="0">
                  <a:pos x="connsiteX1" y="connsiteY1"/>
                </a:cxn>
                <a:cxn ang="0">
                  <a:pos x="connsiteX2" y="connsiteY2"/>
                </a:cxn>
                <a:cxn ang="0">
                  <a:pos x="connsiteX3" y="connsiteY3"/>
                </a:cxn>
              </a:cxnLst>
              <a:rect l="l" t="t" r="r" b="b"/>
              <a:pathLst>
                <a:path w="1585609" h="1585609">
                  <a:moveTo>
                    <a:pt x="0" y="0"/>
                  </a:moveTo>
                  <a:lnTo>
                    <a:pt x="1585609" y="0"/>
                  </a:lnTo>
                  <a:lnTo>
                    <a:pt x="0" y="1585609"/>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3" name="Oval 33">
              <a:extLst>
                <a:ext uri="{FF2B5EF4-FFF2-40B4-BE49-F238E27FC236}">
                  <a16:creationId xmlns:a16="http://schemas.microsoft.com/office/drawing/2014/main" id="{2C2CF3BB-AEF9-0309-BC0A-47B3AA6188BE}"/>
                </a:ext>
              </a:extLst>
            </p:cNvPr>
            <p:cNvSpPr/>
            <p:nvPr/>
          </p:nvSpPr>
          <p:spPr>
            <a:xfrm>
              <a:off x="12583946" y="6952354"/>
              <a:ext cx="272799" cy="27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4" name="Oval 34">
              <a:extLst>
                <a:ext uri="{FF2B5EF4-FFF2-40B4-BE49-F238E27FC236}">
                  <a16:creationId xmlns:a16="http://schemas.microsoft.com/office/drawing/2014/main" id="{BF353E73-51D8-CA0E-9603-B19B6E25C9BA}"/>
                </a:ext>
              </a:extLst>
            </p:cNvPr>
            <p:cNvSpPr/>
            <p:nvPr/>
          </p:nvSpPr>
          <p:spPr>
            <a:xfrm>
              <a:off x="10130342" y="6952354"/>
              <a:ext cx="272799" cy="27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5" name="Oval 35">
              <a:extLst>
                <a:ext uri="{FF2B5EF4-FFF2-40B4-BE49-F238E27FC236}">
                  <a16:creationId xmlns:a16="http://schemas.microsoft.com/office/drawing/2014/main" id="{C7808C21-E404-B95C-6E1C-AF032C221A0C}"/>
                </a:ext>
              </a:extLst>
            </p:cNvPr>
            <p:cNvSpPr/>
            <p:nvPr/>
          </p:nvSpPr>
          <p:spPr>
            <a:xfrm>
              <a:off x="12569411" y="3400909"/>
              <a:ext cx="272799" cy="272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6" name="Oval 36">
              <a:extLst>
                <a:ext uri="{FF2B5EF4-FFF2-40B4-BE49-F238E27FC236}">
                  <a16:creationId xmlns:a16="http://schemas.microsoft.com/office/drawing/2014/main" id="{AD6F1510-FE36-68BC-0F41-4EAF37194739}"/>
                </a:ext>
              </a:extLst>
            </p:cNvPr>
            <p:cNvSpPr/>
            <p:nvPr/>
          </p:nvSpPr>
          <p:spPr>
            <a:xfrm>
              <a:off x="10160581" y="3407557"/>
              <a:ext cx="272799" cy="27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7" name="Oval 37">
              <a:extLst>
                <a:ext uri="{FF2B5EF4-FFF2-40B4-BE49-F238E27FC236}">
                  <a16:creationId xmlns:a16="http://schemas.microsoft.com/office/drawing/2014/main" id="{2D19F1DD-0C75-4301-0888-99A64B0644D8}"/>
                </a:ext>
              </a:extLst>
            </p:cNvPr>
            <p:cNvSpPr/>
            <p:nvPr/>
          </p:nvSpPr>
          <p:spPr>
            <a:xfrm>
              <a:off x="7270935" y="2531491"/>
              <a:ext cx="272799" cy="272799"/>
            </a:xfrm>
            <a:prstGeom prst="ellipse">
              <a:avLst/>
            </a:prstGeom>
            <a:solidFill>
              <a:srgbClr val="00C7F7"/>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8" name="Oval 38">
              <a:extLst>
                <a:ext uri="{FF2B5EF4-FFF2-40B4-BE49-F238E27FC236}">
                  <a16:creationId xmlns:a16="http://schemas.microsoft.com/office/drawing/2014/main" id="{D380B1E1-DB7A-EFBD-A102-5DA7FCD38FAD}"/>
                </a:ext>
              </a:extLst>
            </p:cNvPr>
            <p:cNvSpPr/>
            <p:nvPr/>
          </p:nvSpPr>
          <p:spPr>
            <a:xfrm>
              <a:off x="7270935" y="7820623"/>
              <a:ext cx="272799" cy="272799"/>
            </a:xfrm>
            <a:prstGeom prst="ellipse">
              <a:avLst/>
            </a:prstGeom>
            <a:solidFill>
              <a:srgbClr val="C17A6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29" name="Oval 39">
              <a:extLst>
                <a:ext uri="{FF2B5EF4-FFF2-40B4-BE49-F238E27FC236}">
                  <a16:creationId xmlns:a16="http://schemas.microsoft.com/office/drawing/2014/main" id="{65F02487-CC67-3153-A276-303878584305}"/>
                </a:ext>
              </a:extLst>
            </p:cNvPr>
            <p:cNvSpPr/>
            <p:nvPr/>
          </p:nvSpPr>
          <p:spPr>
            <a:xfrm>
              <a:off x="15455678" y="7820623"/>
              <a:ext cx="272799" cy="272799"/>
            </a:xfrm>
            <a:prstGeom prst="ellipse">
              <a:avLst/>
            </a:prstGeom>
            <a:solidFill>
              <a:srgbClr val="68877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sp>
          <p:nvSpPr>
            <p:cNvPr id="30" name="Oval 40">
              <a:extLst>
                <a:ext uri="{FF2B5EF4-FFF2-40B4-BE49-F238E27FC236}">
                  <a16:creationId xmlns:a16="http://schemas.microsoft.com/office/drawing/2014/main" id="{E08CBA77-BBFC-334C-035E-7E54320479A2}"/>
                </a:ext>
              </a:extLst>
            </p:cNvPr>
            <p:cNvSpPr/>
            <p:nvPr/>
          </p:nvSpPr>
          <p:spPr>
            <a:xfrm>
              <a:off x="15455678" y="2531491"/>
              <a:ext cx="272799" cy="272799"/>
            </a:xfrm>
            <a:prstGeom prst="ellipse">
              <a:avLst/>
            </a:prstGeom>
            <a:solidFill>
              <a:srgbClr val="3B3B3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graphicFrame>
          <p:nvGraphicFramePr>
            <p:cNvPr id="38" name="Chart 48">
              <a:extLst>
                <a:ext uri="{FF2B5EF4-FFF2-40B4-BE49-F238E27FC236}">
                  <a16:creationId xmlns:a16="http://schemas.microsoft.com/office/drawing/2014/main" id="{29ABFD6E-4D41-0CEA-740A-C73B2F5B2C32}"/>
                </a:ext>
              </a:extLst>
            </p:cNvPr>
            <p:cNvGraphicFramePr/>
            <p:nvPr>
              <p:extLst>
                <p:ext uri="{D42A27DB-BD31-4B8C-83A1-F6EECF244321}">
                  <p14:modId xmlns:p14="http://schemas.microsoft.com/office/powerpoint/2010/main" val="3230892624"/>
                </p:ext>
              </p:extLst>
            </p:nvPr>
          </p:nvGraphicFramePr>
          <p:xfrm>
            <a:off x="6753857" y="1966127"/>
            <a:ext cx="1143691" cy="11480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9" name="Chart 49">
              <a:extLst>
                <a:ext uri="{FF2B5EF4-FFF2-40B4-BE49-F238E27FC236}">
                  <a16:creationId xmlns:a16="http://schemas.microsoft.com/office/drawing/2014/main" id="{87A32FBC-6FA5-445B-DA09-77B6C57DE307}"/>
                </a:ext>
              </a:extLst>
            </p:cNvPr>
            <p:cNvGraphicFramePr/>
            <p:nvPr>
              <p:extLst>
                <p:ext uri="{D42A27DB-BD31-4B8C-83A1-F6EECF244321}">
                  <p14:modId xmlns:p14="http://schemas.microsoft.com/office/powerpoint/2010/main" val="1474884091"/>
                </p:ext>
              </p:extLst>
            </p:nvPr>
          </p:nvGraphicFramePr>
          <p:xfrm>
            <a:off x="15246923" y="1998764"/>
            <a:ext cx="1143691" cy="11480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 name="Chart 50">
              <a:extLst>
                <a:ext uri="{FF2B5EF4-FFF2-40B4-BE49-F238E27FC236}">
                  <a16:creationId xmlns:a16="http://schemas.microsoft.com/office/drawing/2014/main" id="{041E2E25-F0CE-2B52-7727-5665F69EE2AA}"/>
                </a:ext>
              </a:extLst>
            </p:cNvPr>
            <p:cNvGraphicFramePr/>
            <p:nvPr>
              <p:extLst>
                <p:ext uri="{D42A27DB-BD31-4B8C-83A1-F6EECF244321}">
                  <p14:modId xmlns:p14="http://schemas.microsoft.com/office/powerpoint/2010/main" val="1548896284"/>
                </p:ext>
              </p:extLst>
            </p:nvPr>
          </p:nvGraphicFramePr>
          <p:xfrm>
            <a:off x="6791432" y="7343156"/>
            <a:ext cx="1143691" cy="11480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51">
              <a:extLst>
                <a:ext uri="{FF2B5EF4-FFF2-40B4-BE49-F238E27FC236}">
                  <a16:creationId xmlns:a16="http://schemas.microsoft.com/office/drawing/2014/main" id="{0E1B753D-EB86-C2BA-DD62-44F3AFABDE44}"/>
                </a:ext>
              </a:extLst>
            </p:cNvPr>
            <p:cNvGraphicFramePr/>
            <p:nvPr>
              <p:extLst>
                <p:ext uri="{D42A27DB-BD31-4B8C-83A1-F6EECF244321}">
                  <p14:modId xmlns:p14="http://schemas.microsoft.com/office/powerpoint/2010/main" val="2002111334"/>
                </p:ext>
              </p:extLst>
            </p:nvPr>
          </p:nvGraphicFramePr>
          <p:xfrm>
            <a:off x="15273941" y="7340801"/>
            <a:ext cx="1143691" cy="1148010"/>
          </p:xfrm>
          <a:graphic>
            <a:graphicData uri="http://schemas.openxmlformats.org/drawingml/2006/chart">
              <c:chart xmlns:c="http://schemas.openxmlformats.org/drawingml/2006/chart" xmlns:r="http://schemas.openxmlformats.org/officeDocument/2006/relationships" r:id="rId5"/>
            </a:graphicData>
          </a:graphic>
        </p:graphicFrame>
      </p:grpSp>
      <p:sp>
        <p:nvSpPr>
          <p:cNvPr id="42" name="Segnaposto testo 4">
            <a:extLst>
              <a:ext uri="{FF2B5EF4-FFF2-40B4-BE49-F238E27FC236}">
                <a16:creationId xmlns:a16="http://schemas.microsoft.com/office/drawing/2014/main" id="{23F65C68-A596-A372-6188-FA3A0B3D6D98}"/>
              </a:ext>
            </a:extLst>
          </p:cNvPr>
          <p:cNvSpPr>
            <a:spLocks noGrp="1"/>
          </p:cNvSpPr>
          <p:nvPr>
            <p:ph type="body" sz="quarter" idx="15" hasCustomPrompt="1"/>
          </p:nvPr>
        </p:nvSpPr>
        <p:spPr>
          <a:xfrm>
            <a:off x="530696" y="2239442"/>
            <a:ext cx="3029781" cy="3232671"/>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
        <p:nvSpPr>
          <p:cNvPr id="48" name="Tijdelijke aanduiding voor tekst 22">
            <a:extLst>
              <a:ext uri="{FF2B5EF4-FFF2-40B4-BE49-F238E27FC236}">
                <a16:creationId xmlns:a16="http://schemas.microsoft.com/office/drawing/2014/main" id="{CDCFC051-E41D-4245-7C6C-842B856434B5}"/>
              </a:ext>
            </a:extLst>
          </p:cNvPr>
          <p:cNvSpPr>
            <a:spLocks noGrp="1"/>
          </p:cNvSpPr>
          <p:nvPr>
            <p:ph type="body" sz="quarter" idx="16" hasCustomPrompt="1"/>
          </p:nvPr>
        </p:nvSpPr>
        <p:spPr>
          <a:xfrm>
            <a:off x="4527974" y="752577"/>
            <a:ext cx="1733211" cy="751699"/>
          </a:xfrm>
        </p:spPr>
        <p:txBody>
          <a:bodyPr numCol="1" anchor="ctr">
            <a:noAutofit/>
          </a:bodyPr>
          <a:lstStyle>
            <a:lvl1pPr algn="ctr">
              <a:lnSpc>
                <a:spcPct val="100000"/>
              </a:lnSpc>
              <a:defRPr sz="7000">
                <a:solidFill>
                  <a:schemeClr val="accent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50%</a:t>
            </a:r>
            <a:endParaRPr lang="en-GB"/>
          </a:p>
        </p:txBody>
      </p:sp>
      <p:sp>
        <p:nvSpPr>
          <p:cNvPr id="49" name="Tijdelijke aanduiding voor tekst 22">
            <a:extLst>
              <a:ext uri="{FF2B5EF4-FFF2-40B4-BE49-F238E27FC236}">
                <a16:creationId xmlns:a16="http://schemas.microsoft.com/office/drawing/2014/main" id="{289F3322-EACA-D6B5-3441-45B323288D4F}"/>
              </a:ext>
            </a:extLst>
          </p:cNvPr>
          <p:cNvSpPr>
            <a:spLocks noGrp="1"/>
          </p:cNvSpPr>
          <p:nvPr>
            <p:ph type="body" sz="quarter" idx="17" hasCustomPrompt="1"/>
          </p:nvPr>
        </p:nvSpPr>
        <p:spPr>
          <a:xfrm>
            <a:off x="8645273" y="747690"/>
            <a:ext cx="1733211" cy="751699"/>
          </a:xfrm>
        </p:spPr>
        <p:txBody>
          <a:bodyPr numCol="1" anchor="ctr">
            <a:noAutofit/>
          </a:bodyPr>
          <a:lstStyle>
            <a:lvl1pPr algn="ctr">
              <a:lnSpc>
                <a:spcPct val="100000"/>
              </a:lnSpc>
              <a:defRPr sz="7000">
                <a:solidFill>
                  <a:schemeClr val="tx1"/>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50%</a:t>
            </a:r>
            <a:endParaRPr lang="en-GB"/>
          </a:p>
        </p:txBody>
      </p:sp>
      <p:sp>
        <p:nvSpPr>
          <p:cNvPr id="50" name="Tijdelijke aanduiding voor tekst 22">
            <a:extLst>
              <a:ext uri="{FF2B5EF4-FFF2-40B4-BE49-F238E27FC236}">
                <a16:creationId xmlns:a16="http://schemas.microsoft.com/office/drawing/2014/main" id="{8790102C-0C82-1FD7-7E5A-2A097F9205D8}"/>
              </a:ext>
            </a:extLst>
          </p:cNvPr>
          <p:cNvSpPr>
            <a:spLocks noGrp="1"/>
          </p:cNvSpPr>
          <p:nvPr>
            <p:ph type="body" sz="quarter" idx="18" hasCustomPrompt="1"/>
          </p:nvPr>
        </p:nvSpPr>
        <p:spPr>
          <a:xfrm>
            <a:off x="8645272" y="5503196"/>
            <a:ext cx="1733211" cy="751699"/>
          </a:xfrm>
        </p:spPr>
        <p:txBody>
          <a:bodyPr numCol="1" anchor="ctr">
            <a:noAutofit/>
          </a:bodyPr>
          <a:lstStyle>
            <a:lvl1pPr algn="ctr">
              <a:lnSpc>
                <a:spcPct val="100000"/>
              </a:lnSpc>
              <a:defRPr sz="7000">
                <a:solidFill>
                  <a:schemeClr val="accent3"/>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50%</a:t>
            </a:r>
            <a:endParaRPr lang="en-GB"/>
          </a:p>
        </p:txBody>
      </p:sp>
      <p:sp>
        <p:nvSpPr>
          <p:cNvPr id="51" name="Tijdelijke aanduiding voor tekst 22">
            <a:extLst>
              <a:ext uri="{FF2B5EF4-FFF2-40B4-BE49-F238E27FC236}">
                <a16:creationId xmlns:a16="http://schemas.microsoft.com/office/drawing/2014/main" id="{2A4598E6-BB7C-CA67-C270-31E5F22C9D82}"/>
              </a:ext>
            </a:extLst>
          </p:cNvPr>
          <p:cNvSpPr>
            <a:spLocks noGrp="1"/>
          </p:cNvSpPr>
          <p:nvPr>
            <p:ph type="body" sz="quarter" idx="19" hasCustomPrompt="1"/>
          </p:nvPr>
        </p:nvSpPr>
        <p:spPr>
          <a:xfrm>
            <a:off x="4527973" y="5498129"/>
            <a:ext cx="1733211" cy="751699"/>
          </a:xfrm>
        </p:spPr>
        <p:txBody>
          <a:bodyPr numCol="1" anchor="ctr">
            <a:noAutofit/>
          </a:bodyPr>
          <a:lstStyle>
            <a:lvl1pPr algn="ctr">
              <a:lnSpc>
                <a:spcPct val="100000"/>
              </a:lnSpc>
              <a:defRPr sz="7000">
                <a:solidFill>
                  <a:schemeClr val="accent2"/>
                </a:solidFill>
                <a:latin typeface="Fave Script Bold Pro" pitchFamily="2" charset="77"/>
              </a:defRPr>
            </a:lvl1pPr>
            <a:lvl2pPr>
              <a:defRPr sz="3000">
                <a:solidFill>
                  <a:schemeClr val="bg1"/>
                </a:solidFill>
                <a:latin typeface="Fave Script Bold Pro" pitchFamily="2" charset="77"/>
              </a:defRPr>
            </a:lvl2pPr>
            <a:lvl3pPr>
              <a:defRPr sz="3000">
                <a:solidFill>
                  <a:schemeClr val="bg1"/>
                </a:solidFill>
                <a:latin typeface="Fave Script Bold Pro" pitchFamily="2" charset="77"/>
              </a:defRPr>
            </a:lvl3pPr>
            <a:lvl4pPr>
              <a:defRPr sz="3000">
                <a:solidFill>
                  <a:schemeClr val="bg1"/>
                </a:solidFill>
                <a:latin typeface="Fave Script Bold Pro" pitchFamily="2" charset="77"/>
              </a:defRPr>
            </a:lvl4pPr>
            <a:lvl5pPr>
              <a:defRPr sz="3000">
                <a:solidFill>
                  <a:schemeClr val="bg1"/>
                </a:solidFill>
                <a:latin typeface="Fave Script Bold Pro" pitchFamily="2" charset="77"/>
              </a:defRPr>
            </a:lvl5pPr>
          </a:lstStyle>
          <a:p>
            <a:pPr lvl="0"/>
            <a:r>
              <a:rPr lang="nl-NL"/>
              <a:t>50%</a:t>
            </a:r>
            <a:endParaRPr lang="en-GB"/>
          </a:p>
        </p:txBody>
      </p:sp>
      <p:sp>
        <p:nvSpPr>
          <p:cNvPr id="52" name="Segnaposto testo 4">
            <a:extLst>
              <a:ext uri="{FF2B5EF4-FFF2-40B4-BE49-F238E27FC236}">
                <a16:creationId xmlns:a16="http://schemas.microsoft.com/office/drawing/2014/main" id="{87C38C19-CF4C-2096-EEBD-E7A38CEA205B}"/>
              </a:ext>
            </a:extLst>
          </p:cNvPr>
          <p:cNvSpPr>
            <a:spLocks noGrp="1"/>
          </p:cNvSpPr>
          <p:nvPr>
            <p:ph type="body" sz="quarter" idx="20" hasCustomPrompt="1"/>
          </p:nvPr>
        </p:nvSpPr>
        <p:spPr>
          <a:xfrm>
            <a:off x="4156203" y="1840205"/>
            <a:ext cx="1626758" cy="7726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53" name="Segnaposto testo 4">
            <a:extLst>
              <a:ext uri="{FF2B5EF4-FFF2-40B4-BE49-F238E27FC236}">
                <a16:creationId xmlns:a16="http://schemas.microsoft.com/office/drawing/2014/main" id="{85E10435-E7E2-4310-41ED-B9699A27D0B5}"/>
              </a:ext>
            </a:extLst>
          </p:cNvPr>
          <p:cNvSpPr>
            <a:spLocks noGrp="1"/>
          </p:cNvSpPr>
          <p:nvPr>
            <p:ph type="body" sz="quarter" idx="21" hasCustomPrompt="1"/>
          </p:nvPr>
        </p:nvSpPr>
        <p:spPr>
          <a:xfrm>
            <a:off x="4134277" y="4005879"/>
            <a:ext cx="1626758" cy="823943"/>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54" name="Segnaposto testo 4">
            <a:extLst>
              <a:ext uri="{FF2B5EF4-FFF2-40B4-BE49-F238E27FC236}">
                <a16:creationId xmlns:a16="http://schemas.microsoft.com/office/drawing/2014/main" id="{A706BDFF-482B-F880-7549-A3B5A842D87F}"/>
              </a:ext>
            </a:extLst>
          </p:cNvPr>
          <p:cNvSpPr>
            <a:spLocks noGrp="1"/>
          </p:cNvSpPr>
          <p:nvPr>
            <p:ph type="body" sz="quarter" idx="22" hasCustomPrompt="1"/>
          </p:nvPr>
        </p:nvSpPr>
        <p:spPr>
          <a:xfrm>
            <a:off x="9062489" y="1836543"/>
            <a:ext cx="1626758" cy="772676"/>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55" name="Segnaposto testo 4">
            <a:extLst>
              <a:ext uri="{FF2B5EF4-FFF2-40B4-BE49-F238E27FC236}">
                <a16:creationId xmlns:a16="http://schemas.microsoft.com/office/drawing/2014/main" id="{8BC22EAA-6E90-791A-4F88-AEF3C8C214C5}"/>
              </a:ext>
            </a:extLst>
          </p:cNvPr>
          <p:cNvSpPr>
            <a:spLocks noGrp="1"/>
          </p:cNvSpPr>
          <p:nvPr>
            <p:ph type="body" sz="quarter" idx="23" hasCustomPrompt="1"/>
          </p:nvPr>
        </p:nvSpPr>
        <p:spPr>
          <a:xfrm>
            <a:off x="9040563" y="4002217"/>
            <a:ext cx="1626758" cy="823943"/>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27931111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39" name="Groep 38">
            <a:extLst>
              <a:ext uri="{FF2B5EF4-FFF2-40B4-BE49-F238E27FC236}">
                <a16:creationId xmlns:a16="http://schemas.microsoft.com/office/drawing/2014/main" id="{1D56E49F-5186-7F8F-E775-2DF6C03E3814}"/>
              </a:ext>
            </a:extLst>
          </p:cNvPr>
          <p:cNvGrpSpPr>
            <a:grpSpLocks noChangeAspect="1"/>
          </p:cNvGrpSpPr>
          <p:nvPr userDrawn="1"/>
        </p:nvGrpSpPr>
        <p:grpSpPr>
          <a:xfrm>
            <a:off x="0" y="1737904"/>
            <a:ext cx="8498164" cy="4331650"/>
            <a:chOff x="0" y="2664769"/>
            <a:chExt cx="12358251" cy="6299199"/>
          </a:xfrm>
        </p:grpSpPr>
        <p:sp>
          <p:nvSpPr>
            <p:cNvPr id="17" name="Rectangle 15">
              <a:extLst>
                <a:ext uri="{FF2B5EF4-FFF2-40B4-BE49-F238E27FC236}">
                  <a16:creationId xmlns:a16="http://schemas.microsoft.com/office/drawing/2014/main" id="{720154B7-BBD9-D92B-B57C-934BC3CA969C}"/>
                </a:ext>
              </a:extLst>
            </p:cNvPr>
            <p:cNvSpPr/>
            <p:nvPr userDrawn="1"/>
          </p:nvSpPr>
          <p:spPr>
            <a:xfrm>
              <a:off x="8592992" y="2696688"/>
              <a:ext cx="2965366" cy="13383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18" name="Rectangle 16">
              <a:extLst>
                <a:ext uri="{FF2B5EF4-FFF2-40B4-BE49-F238E27FC236}">
                  <a16:creationId xmlns:a16="http://schemas.microsoft.com/office/drawing/2014/main" id="{EA72AC33-89C4-BC2A-6384-1039B9245DB6}"/>
                </a:ext>
              </a:extLst>
            </p:cNvPr>
            <p:cNvSpPr/>
            <p:nvPr userDrawn="1"/>
          </p:nvSpPr>
          <p:spPr>
            <a:xfrm>
              <a:off x="8592992" y="4327734"/>
              <a:ext cx="2965366" cy="13383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19" name="Rectangle 17">
              <a:extLst>
                <a:ext uri="{FF2B5EF4-FFF2-40B4-BE49-F238E27FC236}">
                  <a16:creationId xmlns:a16="http://schemas.microsoft.com/office/drawing/2014/main" id="{85CC541D-9CE2-0F82-AE4E-949FF752BE53}"/>
                </a:ext>
              </a:extLst>
            </p:cNvPr>
            <p:cNvSpPr/>
            <p:nvPr userDrawn="1"/>
          </p:nvSpPr>
          <p:spPr>
            <a:xfrm>
              <a:off x="8592992" y="5958782"/>
              <a:ext cx="2965366" cy="1338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0" name="Rectangle 18">
              <a:extLst>
                <a:ext uri="{FF2B5EF4-FFF2-40B4-BE49-F238E27FC236}">
                  <a16:creationId xmlns:a16="http://schemas.microsoft.com/office/drawing/2014/main" id="{E53A4F13-80A4-E4CD-AAA3-E97AD81E41E8}"/>
                </a:ext>
              </a:extLst>
            </p:cNvPr>
            <p:cNvSpPr/>
            <p:nvPr userDrawn="1"/>
          </p:nvSpPr>
          <p:spPr>
            <a:xfrm>
              <a:off x="8592992" y="7589827"/>
              <a:ext cx="2965366" cy="13383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1" name="Trapezoid 41">
              <a:extLst>
                <a:ext uri="{FF2B5EF4-FFF2-40B4-BE49-F238E27FC236}">
                  <a16:creationId xmlns:a16="http://schemas.microsoft.com/office/drawing/2014/main" id="{2ADDB07E-2B6E-4120-51AB-23E6CE6819A7}"/>
                </a:ext>
              </a:extLst>
            </p:cNvPr>
            <p:cNvSpPr/>
            <p:nvPr userDrawn="1"/>
          </p:nvSpPr>
          <p:spPr>
            <a:xfrm rot="16200000">
              <a:off x="6372164" y="2969511"/>
              <a:ext cx="2493648" cy="1948000"/>
            </a:xfrm>
            <a:custGeom>
              <a:avLst/>
              <a:gdLst>
                <a:gd name="connsiteX0" fmla="*/ 0 w 798173"/>
                <a:gd name="connsiteY0" fmla="*/ 1906047 h 1906047"/>
                <a:gd name="connsiteX1" fmla="*/ 199543 w 798173"/>
                <a:gd name="connsiteY1" fmla="*/ 0 h 1906047"/>
                <a:gd name="connsiteX2" fmla="*/ 598630 w 798173"/>
                <a:gd name="connsiteY2" fmla="*/ 0 h 1906047"/>
                <a:gd name="connsiteX3" fmla="*/ 798173 w 798173"/>
                <a:gd name="connsiteY3" fmla="*/ 1906047 h 1906047"/>
                <a:gd name="connsiteX4" fmla="*/ 0 w 798173"/>
                <a:gd name="connsiteY4" fmla="*/ 1906047 h 1906047"/>
                <a:gd name="connsiteX0" fmla="*/ 568943 w 1367116"/>
                <a:gd name="connsiteY0" fmla="*/ 1906047 h 1906047"/>
                <a:gd name="connsiteX1" fmla="*/ 0 w 1367116"/>
                <a:gd name="connsiteY1" fmla="*/ 0 h 1906047"/>
                <a:gd name="connsiteX2" fmla="*/ 1167573 w 1367116"/>
                <a:gd name="connsiteY2" fmla="*/ 0 h 1906047"/>
                <a:gd name="connsiteX3" fmla="*/ 1367116 w 1367116"/>
                <a:gd name="connsiteY3" fmla="*/ 1906047 h 1906047"/>
                <a:gd name="connsiteX4" fmla="*/ 568943 w 1367116"/>
                <a:gd name="connsiteY4" fmla="*/ 1906047 h 1906047"/>
                <a:gd name="connsiteX0" fmla="*/ 568943 w 1367116"/>
                <a:gd name="connsiteY0" fmla="*/ 1915772 h 1915772"/>
                <a:gd name="connsiteX1" fmla="*/ 0 w 1367116"/>
                <a:gd name="connsiteY1" fmla="*/ 9725 h 1915772"/>
                <a:gd name="connsiteX2" fmla="*/ 233718 w 1367116"/>
                <a:gd name="connsiteY2" fmla="*/ 0 h 1915772"/>
                <a:gd name="connsiteX3" fmla="*/ 1367116 w 1367116"/>
                <a:gd name="connsiteY3" fmla="*/ 1915772 h 1915772"/>
                <a:gd name="connsiteX4" fmla="*/ 568943 w 1367116"/>
                <a:gd name="connsiteY4" fmla="*/ 1915772 h 1915772"/>
                <a:gd name="connsiteX0" fmla="*/ 695404 w 1493577"/>
                <a:gd name="connsiteY0" fmla="*/ 1915772 h 1915772"/>
                <a:gd name="connsiteX1" fmla="*/ 0 w 1493577"/>
                <a:gd name="connsiteY1" fmla="*/ 23569 h 1915772"/>
                <a:gd name="connsiteX2" fmla="*/ 360179 w 1493577"/>
                <a:gd name="connsiteY2" fmla="*/ 0 h 1915772"/>
                <a:gd name="connsiteX3" fmla="*/ 1493577 w 1493577"/>
                <a:gd name="connsiteY3" fmla="*/ 1915772 h 1915772"/>
                <a:gd name="connsiteX4" fmla="*/ 695404 w 1493577"/>
                <a:gd name="connsiteY4" fmla="*/ 1915772 h 1915772"/>
                <a:gd name="connsiteX0" fmla="*/ 695404 w 1493577"/>
                <a:gd name="connsiteY0" fmla="*/ 1892203 h 1892203"/>
                <a:gd name="connsiteX1" fmla="*/ 0 w 1493577"/>
                <a:gd name="connsiteY1" fmla="*/ 0 h 1892203"/>
                <a:gd name="connsiteX2" fmla="*/ 223992 w 1493577"/>
                <a:gd name="connsiteY2" fmla="*/ 59482 h 1892203"/>
                <a:gd name="connsiteX3" fmla="*/ 1493577 w 1493577"/>
                <a:gd name="connsiteY3" fmla="*/ 1892203 h 1892203"/>
                <a:gd name="connsiteX4" fmla="*/ 695404 w 1493577"/>
                <a:gd name="connsiteY4" fmla="*/ 1892203 h 1892203"/>
                <a:gd name="connsiteX0" fmla="*/ 708104 w 1506277"/>
                <a:gd name="connsiteY0" fmla="*/ 1914792 h 1914792"/>
                <a:gd name="connsiteX1" fmla="*/ 0 w 1506277"/>
                <a:gd name="connsiteY1" fmla="*/ 0 h 1914792"/>
                <a:gd name="connsiteX2" fmla="*/ 236692 w 1506277"/>
                <a:gd name="connsiteY2" fmla="*/ 82071 h 1914792"/>
                <a:gd name="connsiteX3" fmla="*/ 1506277 w 1506277"/>
                <a:gd name="connsiteY3" fmla="*/ 1914792 h 1914792"/>
                <a:gd name="connsiteX4" fmla="*/ 708104 w 1506277"/>
                <a:gd name="connsiteY4" fmla="*/ 1914792 h 1914792"/>
                <a:gd name="connsiteX0" fmla="*/ 708104 w 1506277"/>
                <a:gd name="connsiteY0" fmla="*/ 1941145 h 1941145"/>
                <a:gd name="connsiteX1" fmla="*/ 0 w 1506277"/>
                <a:gd name="connsiteY1" fmla="*/ 26353 h 1941145"/>
                <a:gd name="connsiteX2" fmla="*/ 201767 w 1506277"/>
                <a:gd name="connsiteY2" fmla="*/ 1 h 1941145"/>
                <a:gd name="connsiteX3" fmla="*/ 1506277 w 1506277"/>
                <a:gd name="connsiteY3" fmla="*/ 1941145 h 1941145"/>
                <a:gd name="connsiteX4" fmla="*/ 708104 w 1506277"/>
                <a:gd name="connsiteY4" fmla="*/ 1941145 h 1941145"/>
                <a:gd name="connsiteX0" fmla="*/ 708104 w 1506277"/>
                <a:gd name="connsiteY0" fmla="*/ 1914792 h 1914792"/>
                <a:gd name="connsiteX1" fmla="*/ 0 w 1506277"/>
                <a:gd name="connsiteY1" fmla="*/ 0 h 1914792"/>
                <a:gd name="connsiteX2" fmla="*/ 192242 w 1506277"/>
                <a:gd name="connsiteY2" fmla="*/ 759 h 1914792"/>
                <a:gd name="connsiteX3" fmla="*/ 1506277 w 1506277"/>
                <a:gd name="connsiteY3" fmla="*/ 1914792 h 1914792"/>
                <a:gd name="connsiteX4" fmla="*/ 708104 w 1506277"/>
                <a:gd name="connsiteY4" fmla="*/ 1914792 h 1914792"/>
                <a:gd name="connsiteX0" fmla="*/ 708104 w 1506277"/>
                <a:gd name="connsiteY0" fmla="*/ 1914792 h 1914792"/>
                <a:gd name="connsiteX1" fmla="*/ 0 w 1506277"/>
                <a:gd name="connsiteY1" fmla="*/ 0 h 1914792"/>
                <a:gd name="connsiteX2" fmla="*/ 204942 w 1506277"/>
                <a:gd name="connsiteY2" fmla="*/ 762 h 1914792"/>
                <a:gd name="connsiteX3" fmla="*/ 1506277 w 1506277"/>
                <a:gd name="connsiteY3" fmla="*/ 1914792 h 1914792"/>
                <a:gd name="connsiteX4" fmla="*/ 708104 w 1506277"/>
                <a:gd name="connsiteY4" fmla="*/ 1914792 h 1914792"/>
                <a:gd name="connsiteX0" fmla="*/ 708104 w 1506277"/>
                <a:gd name="connsiteY0" fmla="*/ 1914792 h 1914792"/>
                <a:gd name="connsiteX1" fmla="*/ 0 w 1506277"/>
                <a:gd name="connsiteY1" fmla="*/ 0 h 1914792"/>
                <a:gd name="connsiteX2" fmla="*/ 246217 w 1506277"/>
                <a:gd name="connsiteY2" fmla="*/ 5284 h 1914792"/>
                <a:gd name="connsiteX3" fmla="*/ 1506277 w 1506277"/>
                <a:gd name="connsiteY3" fmla="*/ 1914792 h 1914792"/>
                <a:gd name="connsiteX4" fmla="*/ 708104 w 1506277"/>
                <a:gd name="connsiteY4" fmla="*/ 1914792 h 1914792"/>
                <a:gd name="connsiteX0" fmla="*/ 689054 w 1487227"/>
                <a:gd name="connsiteY0" fmla="*/ 1909509 h 1909509"/>
                <a:gd name="connsiteX1" fmla="*/ 0 w 1487227"/>
                <a:gd name="connsiteY1" fmla="*/ 3756 h 1909509"/>
                <a:gd name="connsiteX2" fmla="*/ 227167 w 1487227"/>
                <a:gd name="connsiteY2" fmla="*/ 1 h 1909509"/>
                <a:gd name="connsiteX3" fmla="*/ 1487227 w 1487227"/>
                <a:gd name="connsiteY3" fmla="*/ 1909509 h 1909509"/>
                <a:gd name="connsiteX4" fmla="*/ 689054 w 1487227"/>
                <a:gd name="connsiteY4" fmla="*/ 1909509 h 1909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227" h="1909509">
                  <a:moveTo>
                    <a:pt x="689054" y="1909509"/>
                  </a:moveTo>
                  <a:lnTo>
                    <a:pt x="0" y="3756"/>
                  </a:lnTo>
                  <a:lnTo>
                    <a:pt x="227167" y="1"/>
                  </a:lnTo>
                  <a:lnTo>
                    <a:pt x="1487227" y="1909509"/>
                  </a:lnTo>
                  <a:lnTo>
                    <a:pt x="689054" y="1909509"/>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2" name="Trapezoid 41">
              <a:extLst>
                <a:ext uri="{FF2B5EF4-FFF2-40B4-BE49-F238E27FC236}">
                  <a16:creationId xmlns:a16="http://schemas.microsoft.com/office/drawing/2014/main" id="{9FE3B474-0618-D057-D66B-2A4660EF5B66}"/>
                </a:ext>
              </a:extLst>
            </p:cNvPr>
            <p:cNvSpPr/>
            <p:nvPr userDrawn="1"/>
          </p:nvSpPr>
          <p:spPr>
            <a:xfrm rot="16200000">
              <a:off x="6942828" y="4015876"/>
              <a:ext cx="1338305" cy="1962019"/>
            </a:xfrm>
            <a:custGeom>
              <a:avLst/>
              <a:gdLst>
                <a:gd name="connsiteX0" fmla="*/ 0 w 798173"/>
                <a:gd name="connsiteY0" fmla="*/ 1906047 h 1906047"/>
                <a:gd name="connsiteX1" fmla="*/ 199543 w 798173"/>
                <a:gd name="connsiteY1" fmla="*/ 0 h 1906047"/>
                <a:gd name="connsiteX2" fmla="*/ 598630 w 798173"/>
                <a:gd name="connsiteY2" fmla="*/ 0 h 1906047"/>
                <a:gd name="connsiteX3" fmla="*/ 798173 w 798173"/>
                <a:gd name="connsiteY3" fmla="*/ 1906047 h 1906047"/>
                <a:gd name="connsiteX4" fmla="*/ 0 w 798173"/>
                <a:gd name="connsiteY4" fmla="*/ 1906047 h 1906047"/>
                <a:gd name="connsiteX0" fmla="*/ 568943 w 1367116"/>
                <a:gd name="connsiteY0" fmla="*/ 1906047 h 1906047"/>
                <a:gd name="connsiteX1" fmla="*/ 0 w 1367116"/>
                <a:gd name="connsiteY1" fmla="*/ 0 h 1906047"/>
                <a:gd name="connsiteX2" fmla="*/ 1167573 w 1367116"/>
                <a:gd name="connsiteY2" fmla="*/ 0 h 1906047"/>
                <a:gd name="connsiteX3" fmla="*/ 1367116 w 1367116"/>
                <a:gd name="connsiteY3" fmla="*/ 1906047 h 1906047"/>
                <a:gd name="connsiteX4" fmla="*/ 568943 w 1367116"/>
                <a:gd name="connsiteY4" fmla="*/ 1906047 h 1906047"/>
                <a:gd name="connsiteX0" fmla="*/ 568943 w 1367116"/>
                <a:gd name="connsiteY0" fmla="*/ 1915772 h 1915772"/>
                <a:gd name="connsiteX1" fmla="*/ 0 w 1367116"/>
                <a:gd name="connsiteY1" fmla="*/ 9725 h 1915772"/>
                <a:gd name="connsiteX2" fmla="*/ 233718 w 1367116"/>
                <a:gd name="connsiteY2" fmla="*/ 0 h 1915772"/>
                <a:gd name="connsiteX3" fmla="*/ 1367116 w 1367116"/>
                <a:gd name="connsiteY3" fmla="*/ 1915772 h 1915772"/>
                <a:gd name="connsiteX4" fmla="*/ 568943 w 1367116"/>
                <a:gd name="connsiteY4" fmla="*/ 1915772 h 1915772"/>
                <a:gd name="connsiteX0" fmla="*/ 568943 w 1367116"/>
                <a:gd name="connsiteY0" fmla="*/ 1906048 h 1906048"/>
                <a:gd name="connsiteX1" fmla="*/ 0 w 1367116"/>
                <a:gd name="connsiteY1" fmla="*/ 1 h 1906048"/>
                <a:gd name="connsiteX2" fmla="*/ 973020 w 1367116"/>
                <a:gd name="connsiteY2" fmla="*/ 45646 h 1906048"/>
                <a:gd name="connsiteX3" fmla="*/ 1367116 w 1367116"/>
                <a:gd name="connsiteY3" fmla="*/ 1906048 h 1906048"/>
                <a:gd name="connsiteX4" fmla="*/ 568943 w 1367116"/>
                <a:gd name="connsiteY4" fmla="*/ 1906048 h 1906048"/>
                <a:gd name="connsiteX0" fmla="*/ 0 w 798173"/>
                <a:gd name="connsiteY0" fmla="*/ 1864518 h 1864518"/>
                <a:gd name="connsiteX1" fmla="*/ 228725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306800 w 798173"/>
                <a:gd name="connsiteY2" fmla="*/ 17957 h 1864518"/>
                <a:gd name="connsiteX3" fmla="*/ 798173 w 798173"/>
                <a:gd name="connsiteY3" fmla="*/ 1864518 h 1864518"/>
                <a:gd name="connsiteX4" fmla="*/ 0 w 798173"/>
                <a:gd name="connsiteY4" fmla="*/ 1864518 h 1864518"/>
                <a:gd name="connsiteX0" fmla="*/ 0 w 798173"/>
                <a:gd name="connsiteY0" fmla="*/ 1923249 h 1923249"/>
                <a:gd name="connsiteX1" fmla="*/ 102670 w 798173"/>
                <a:gd name="connsiteY1" fmla="*/ 0 h 1923249"/>
                <a:gd name="connsiteX2" fmla="*/ 306800 w 798173"/>
                <a:gd name="connsiteY2" fmla="*/ 76688 h 1923249"/>
                <a:gd name="connsiteX3" fmla="*/ 798173 w 798173"/>
                <a:gd name="connsiteY3" fmla="*/ 1923249 h 1923249"/>
                <a:gd name="connsiteX4" fmla="*/ 0 w 798173"/>
                <a:gd name="connsiteY4" fmla="*/ 1923249 h 1923249"/>
                <a:gd name="connsiteX0" fmla="*/ 0 w 798173"/>
                <a:gd name="connsiteY0" fmla="*/ 1923359 h 1923359"/>
                <a:gd name="connsiteX1" fmla="*/ 102670 w 798173"/>
                <a:gd name="connsiteY1" fmla="*/ 110 h 1923359"/>
                <a:gd name="connsiteX2" fmla="*/ 262350 w 798173"/>
                <a:gd name="connsiteY2" fmla="*/ 0 h 1923359"/>
                <a:gd name="connsiteX3" fmla="*/ 798173 w 798173"/>
                <a:gd name="connsiteY3" fmla="*/ 1923359 h 1923359"/>
                <a:gd name="connsiteX4" fmla="*/ 0 w 798173"/>
                <a:gd name="connsiteY4" fmla="*/ 1923359 h 1923359"/>
                <a:gd name="connsiteX0" fmla="*/ 0 w 798173"/>
                <a:gd name="connsiteY0" fmla="*/ 1923359 h 1923359"/>
                <a:gd name="connsiteX1" fmla="*/ 83620 w 798173"/>
                <a:gd name="connsiteY1" fmla="*/ 110 h 1923359"/>
                <a:gd name="connsiteX2" fmla="*/ 262350 w 798173"/>
                <a:gd name="connsiteY2" fmla="*/ 0 h 1923359"/>
                <a:gd name="connsiteX3" fmla="*/ 798173 w 798173"/>
                <a:gd name="connsiteY3" fmla="*/ 1923359 h 1923359"/>
                <a:gd name="connsiteX4" fmla="*/ 0 w 798173"/>
                <a:gd name="connsiteY4" fmla="*/ 1923359 h 1923359"/>
                <a:gd name="connsiteX0" fmla="*/ 0 w 798173"/>
                <a:gd name="connsiteY0" fmla="*/ 1923249 h 1923249"/>
                <a:gd name="connsiteX1" fmla="*/ 83620 w 798173"/>
                <a:gd name="connsiteY1" fmla="*/ 0 h 1923249"/>
                <a:gd name="connsiteX2" fmla="*/ 284575 w 798173"/>
                <a:gd name="connsiteY2" fmla="*/ 17961 h 1923249"/>
                <a:gd name="connsiteX3" fmla="*/ 798173 w 798173"/>
                <a:gd name="connsiteY3" fmla="*/ 1923249 h 1923249"/>
                <a:gd name="connsiteX4" fmla="*/ 0 w 798173"/>
                <a:gd name="connsiteY4" fmla="*/ 1923249 h 192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173" h="1923249">
                  <a:moveTo>
                    <a:pt x="0" y="1923249"/>
                  </a:moveTo>
                  <a:lnTo>
                    <a:pt x="83620" y="0"/>
                  </a:lnTo>
                  <a:lnTo>
                    <a:pt x="284575" y="17961"/>
                  </a:lnTo>
                  <a:lnTo>
                    <a:pt x="798173" y="1923249"/>
                  </a:lnTo>
                  <a:lnTo>
                    <a:pt x="0" y="1923249"/>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3" name="Trapezoid 41">
              <a:extLst>
                <a:ext uri="{FF2B5EF4-FFF2-40B4-BE49-F238E27FC236}">
                  <a16:creationId xmlns:a16="http://schemas.microsoft.com/office/drawing/2014/main" id="{DB8DB024-1582-CAD9-A181-72A4211C71B3}"/>
                </a:ext>
              </a:extLst>
            </p:cNvPr>
            <p:cNvSpPr/>
            <p:nvPr userDrawn="1"/>
          </p:nvSpPr>
          <p:spPr>
            <a:xfrm rot="16200000">
              <a:off x="6728842" y="5432414"/>
              <a:ext cx="1770773" cy="1957522"/>
            </a:xfrm>
            <a:custGeom>
              <a:avLst/>
              <a:gdLst>
                <a:gd name="connsiteX0" fmla="*/ 0 w 798173"/>
                <a:gd name="connsiteY0" fmla="*/ 1906047 h 1906047"/>
                <a:gd name="connsiteX1" fmla="*/ 199543 w 798173"/>
                <a:gd name="connsiteY1" fmla="*/ 0 h 1906047"/>
                <a:gd name="connsiteX2" fmla="*/ 598630 w 798173"/>
                <a:gd name="connsiteY2" fmla="*/ 0 h 1906047"/>
                <a:gd name="connsiteX3" fmla="*/ 798173 w 798173"/>
                <a:gd name="connsiteY3" fmla="*/ 1906047 h 1906047"/>
                <a:gd name="connsiteX4" fmla="*/ 0 w 798173"/>
                <a:gd name="connsiteY4" fmla="*/ 1906047 h 1906047"/>
                <a:gd name="connsiteX0" fmla="*/ 568943 w 1367116"/>
                <a:gd name="connsiteY0" fmla="*/ 1906047 h 1906047"/>
                <a:gd name="connsiteX1" fmla="*/ 0 w 1367116"/>
                <a:gd name="connsiteY1" fmla="*/ 0 h 1906047"/>
                <a:gd name="connsiteX2" fmla="*/ 1167573 w 1367116"/>
                <a:gd name="connsiteY2" fmla="*/ 0 h 1906047"/>
                <a:gd name="connsiteX3" fmla="*/ 1367116 w 1367116"/>
                <a:gd name="connsiteY3" fmla="*/ 1906047 h 1906047"/>
                <a:gd name="connsiteX4" fmla="*/ 568943 w 1367116"/>
                <a:gd name="connsiteY4" fmla="*/ 1906047 h 1906047"/>
                <a:gd name="connsiteX0" fmla="*/ 568943 w 1367116"/>
                <a:gd name="connsiteY0" fmla="*/ 1915772 h 1915772"/>
                <a:gd name="connsiteX1" fmla="*/ 0 w 1367116"/>
                <a:gd name="connsiteY1" fmla="*/ 9725 h 1915772"/>
                <a:gd name="connsiteX2" fmla="*/ 233718 w 1367116"/>
                <a:gd name="connsiteY2" fmla="*/ 0 h 1915772"/>
                <a:gd name="connsiteX3" fmla="*/ 1367116 w 1367116"/>
                <a:gd name="connsiteY3" fmla="*/ 1915772 h 1915772"/>
                <a:gd name="connsiteX4" fmla="*/ 568943 w 1367116"/>
                <a:gd name="connsiteY4" fmla="*/ 1915772 h 1915772"/>
                <a:gd name="connsiteX0" fmla="*/ 568943 w 1367116"/>
                <a:gd name="connsiteY0" fmla="*/ 1906048 h 1906048"/>
                <a:gd name="connsiteX1" fmla="*/ 0 w 1367116"/>
                <a:gd name="connsiteY1" fmla="*/ 1 h 1906048"/>
                <a:gd name="connsiteX2" fmla="*/ 973020 w 1367116"/>
                <a:gd name="connsiteY2" fmla="*/ 45646 h 1906048"/>
                <a:gd name="connsiteX3" fmla="*/ 1367116 w 1367116"/>
                <a:gd name="connsiteY3" fmla="*/ 1906048 h 1906048"/>
                <a:gd name="connsiteX4" fmla="*/ 568943 w 1367116"/>
                <a:gd name="connsiteY4" fmla="*/ 1906048 h 1906048"/>
                <a:gd name="connsiteX0" fmla="*/ 0 w 798173"/>
                <a:gd name="connsiteY0" fmla="*/ 1864518 h 1864518"/>
                <a:gd name="connsiteX1" fmla="*/ 228725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306800 w 798173"/>
                <a:gd name="connsiteY2" fmla="*/ 17957 h 1864518"/>
                <a:gd name="connsiteX3" fmla="*/ 798173 w 798173"/>
                <a:gd name="connsiteY3" fmla="*/ 1864518 h 1864518"/>
                <a:gd name="connsiteX4" fmla="*/ 0 w 798173"/>
                <a:gd name="connsiteY4" fmla="*/ 1864518 h 1864518"/>
                <a:gd name="connsiteX0" fmla="*/ 0 w 798173"/>
                <a:gd name="connsiteY0" fmla="*/ 1923249 h 1923249"/>
                <a:gd name="connsiteX1" fmla="*/ 102670 w 798173"/>
                <a:gd name="connsiteY1" fmla="*/ 0 h 1923249"/>
                <a:gd name="connsiteX2" fmla="*/ 306800 w 798173"/>
                <a:gd name="connsiteY2" fmla="*/ 76688 h 1923249"/>
                <a:gd name="connsiteX3" fmla="*/ 798173 w 798173"/>
                <a:gd name="connsiteY3" fmla="*/ 1923249 h 1923249"/>
                <a:gd name="connsiteX4" fmla="*/ 0 w 798173"/>
                <a:gd name="connsiteY4" fmla="*/ 1923249 h 1923249"/>
                <a:gd name="connsiteX0" fmla="*/ 0 w 798173"/>
                <a:gd name="connsiteY0" fmla="*/ 1923359 h 1923359"/>
                <a:gd name="connsiteX1" fmla="*/ 102670 w 798173"/>
                <a:gd name="connsiteY1" fmla="*/ 110 h 1923359"/>
                <a:gd name="connsiteX2" fmla="*/ 262350 w 798173"/>
                <a:gd name="connsiteY2" fmla="*/ 0 h 1923359"/>
                <a:gd name="connsiteX3" fmla="*/ 798173 w 798173"/>
                <a:gd name="connsiteY3" fmla="*/ 1923359 h 1923359"/>
                <a:gd name="connsiteX4" fmla="*/ 0 w 798173"/>
                <a:gd name="connsiteY4" fmla="*/ 1923359 h 1923359"/>
                <a:gd name="connsiteX0" fmla="*/ 0 w 1081500"/>
                <a:gd name="connsiteY0" fmla="*/ 1923249 h 1923249"/>
                <a:gd name="connsiteX1" fmla="*/ 102670 w 1081500"/>
                <a:gd name="connsiteY1" fmla="*/ 0 h 1923249"/>
                <a:gd name="connsiteX2" fmla="*/ 1081500 w 1081500"/>
                <a:gd name="connsiteY2" fmla="*/ 4408 h 1923249"/>
                <a:gd name="connsiteX3" fmla="*/ 798173 w 1081500"/>
                <a:gd name="connsiteY3" fmla="*/ 1923249 h 1923249"/>
                <a:gd name="connsiteX4" fmla="*/ 0 w 1081500"/>
                <a:gd name="connsiteY4" fmla="*/ 1923249 h 1923249"/>
                <a:gd name="connsiteX0" fmla="*/ 0 w 1081500"/>
                <a:gd name="connsiteY0" fmla="*/ 1918841 h 1918841"/>
                <a:gd name="connsiteX1" fmla="*/ 918645 w 1081500"/>
                <a:gd name="connsiteY1" fmla="*/ 4628 h 1918841"/>
                <a:gd name="connsiteX2" fmla="*/ 1081500 w 1081500"/>
                <a:gd name="connsiteY2" fmla="*/ 0 h 1918841"/>
                <a:gd name="connsiteX3" fmla="*/ 798173 w 1081500"/>
                <a:gd name="connsiteY3" fmla="*/ 1918841 h 1918841"/>
                <a:gd name="connsiteX4" fmla="*/ 0 w 1081500"/>
                <a:gd name="connsiteY4" fmla="*/ 1918841 h 1918841"/>
                <a:gd name="connsiteX0" fmla="*/ 0 w 1056100"/>
                <a:gd name="connsiteY0" fmla="*/ 1918841 h 1918841"/>
                <a:gd name="connsiteX1" fmla="*/ 918645 w 1056100"/>
                <a:gd name="connsiteY1" fmla="*/ 4628 h 1918841"/>
                <a:gd name="connsiteX2" fmla="*/ 1056100 w 1056100"/>
                <a:gd name="connsiteY2" fmla="*/ 0 h 1918841"/>
                <a:gd name="connsiteX3" fmla="*/ 798173 w 1056100"/>
                <a:gd name="connsiteY3" fmla="*/ 1918841 h 1918841"/>
                <a:gd name="connsiteX4" fmla="*/ 0 w 1056100"/>
                <a:gd name="connsiteY4" fmla="*/ 1918841 h 1918841"/>
                <a:gd name="connsiteX0" fmla="*/ 0 w 1056100"/>
                <a:gd name="connsiteY0" fmla="*/ 1918841 h 1918841"/>
                <a:gd name="connsiteX1" fmla="*/ 890070 w 1056100"/>
                <a:gd name="connsiteY1" fmla="*/ 110 h 1918841"/>
                <a:gd name="connsiteX2" fmla="*/ 1056100 w 1056100"/>
                <a:gd name="connsiteY2" fmla="*/ 0 h 1918841"/>
                <a:gd name="connsiteX3" fmla="*/ 798173 w 1056100"/>
                <a:gd name="connsiteY3" fmla="*/ 1918841 h 1918841"/>
                <a:gd name="connsiteX4" fmla="*/ 0 w 1056100"/>
                <a:gd name="connsiteY4" fmla="*/ 1918841 h 1918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00" h="1918841">
                  <a:moveTo>
                    <a:pt x="0" y="1918841"/>
                  </a:moveTo>
                  <a:lnTo>
                    <a:pt x="890070" y="110"/>
                  </a:lnTo>
                  <a:lnTo>
                    <a:pt x="1056100" y="0"/>
                  </a:lnTo>
                  <a:lnTo>
                    <a:pt x="798173" y="1918841"/>
                  </a:lnTo>
                  <a:lnTo>
                    <a:pt x="0" y="1918841"/>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4" name="Trapezoid 41">
              <a:extLst>
                <a:ext uri="{FF2B5EF4-FFF2-40B4-BE49-F238E27FC236}">
                  <a16:creationId xmlns:a16="http://schemas.microsoft.com/office/drawing/2014/main" id="{60749CB3-ABAA-DDCD-24E7-8B809EFA0AD1}"/>
                </a:ext>
              </a:extLst>
            </p:cNvPr>
            <p:cNvSpPr/>
            <p:nvPr userDrawn="1"/>
          </p:nvSpPr>
          <p:spPr>
            <a:xfrm rot="16200000">
              <a:off x="6060376" y="6395519"/>
              <a:ext cx="3112309" cy="1952916"/>
            </a:xfrm>
            <a:custGeom>
              <a:avLst/>
              <a:gdLst>
                <a:gd name="connsiteX0" fmla="*/ 0 w 798173"/>
                <a:gd name="connsiteY0" fmla="*/ 1906047 h 1906047"/>
                <a:gd name="connsiteX1" fmla="*/ 199543 w 798173"/>
                <a:gd name="connsiteY1" fmla="*/ 0 h 1906047"/>
                <a:gd name="connsiteX2" fmla="*/ 598630 w 798173"/>
                <a:gd name="connsiteY2" fmla="*/ 0 h 1906047"/>
                <a:gd name="connsiteX3" fmla="*/ 798173 w 798173"/>
                <a:gd name="connsiteY3" fmla="*/ 1906047 h 1906047"/>
                <a:gd name="connsiteX4" fmla="*/ 0 w 798173"/>
                <a:gd name="connsiteY4" fmla="*/ 1906047 h 1906047"/>
                <a:gd name="connsiteX0" fmla="*/ 568943 w 1367116"/>
                <a:gd name="connsiteY0" fmla="*/ 1906047 h 1906047"/>
                <a:gd name="connsiteX1" fmla="*/ 0 w 1367116"/>
                <a:gd name="connsiteY1" fmla="*/ 0 h 1906047"/>
                <a:gd name="connsiteX2" fmla="*/ 1167573 w 1367116"/>
                <a:gd name="connsiteY2" fmla="*/ 0 h 1906047"/>
                <a:gd name="connsiteX3" fmla="*/ 1367116 w 1367116"/>
                <a:gd name="connsiteY3" fmla="*/ 1906047 h 1906047"/>
                <a:gd name="connsiteX4" fmla="*/ 568943 w 1367116"/>
                <a:gd name="connsiteY4" fmla="*/ 1906047 h 1906047"/>
                <a:gd name="connsiteX0" fmla="*/ 568943 w 1367116"/>
                <a:gd name="connsiteY0" fmla="*/ 1915772 h 1915772"/>
                <a:gd name="connsiteX1" fmla="*/ 0 w 1367116"/>
                <a:gd name="connsiteY1" fmla="*/ 9725 h 1915772"/>
                <a:gd name="connsiteX2" fmla="*/ 233718 w 1367116"/>
                <a:gd name="connsiteY2" fmla="*/ 0 h 1915772"/>
                <a:gd name="connsiteX3" fmla="*/ 1367116 w 1367116"/>
                <a:gd name="connsiteY3" fmla="*/ 1915772 h 1915772"/>
                <a:gd name="connsiteX4" fmla="*/ 568943 w 1367116"/>
                <a:gd name="connsiteY4" fmla="*/ 1915772 h 1915772"/>
                <a:gd name="connsiteX0" fmla="*/ 568943 w 1367116"/>
                <a:gd name="connsiteY0" fmla="*/ 1906048 h 1906048"/>
                <a:gd name="connsiteX1" fmla="*/ 0 w 1367116"/>
                <a:gd name="connsiteY1" fmla="*/ 1 h 1906048"/>
                <a:gd name="connsiteX2" fmla="*/ 973020 w 1367116"/>
                <a:gd name="connsiteY2" fmla="*/ 45646 h 1906048"/>
                <a:gd name="connsiteX3" fmla="*/ 1367116 w 1367116"/>
                <a:gd name="connsiteY3" fmla="*/ 1906048 h 1906048"/>
                <a:gd name="connsiteX4" fmla="*/ 568943 w 1367116"/>
                <a:gd name="connsiteY4" fmla="*/ 1906048 h 1906048"/>
                <a:gd name="connsiteX0" fmla="*/ 0 w 798173"/>
                <a:gd name="connsiteY0" fmla="*/ 1864518 h 1864518"/>
                <a:gd name="connsiteX1" fmla="*/ 228725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404077 w 798173"/>
                <a:gd name="connsiteY2" fmla="*/ 4116 h 1864518"/>
                <a:gd name="connsiteX3" fmla="*/ 798173 w 798173"/>
                <a:gd name="connsiteY3" fmla="*/ 1864518 h 1864518"/>
                <a:gd name="connsiteX4" fmla="*/ 0 w 798173"/>
                <a:gd name="connsiteY4" fmla="*/ 1864518 h 1864518"/>
                <a:gd name="connsiteX0" fmla="*/ 0 w 798173"/>
                <a:gd name="connsiteY0" fmla="*/ 1864518 h 1864518"/>
                <a:gd name="connsiteX1" fmla="*/ 121720 w 798173"/>
                <a:gd name="connsiteY1" fmla="*/ 0 h 1864518"/>
                <a:gd name="connsiteX2" fmla="*/ 306800 w 798173"/>
                <a:gd name="connsiteY2" fmla="*/ 17957 h 1864518"/>
                <a:gd name="connsiteX3" fmla="*/ 798173 w 798173"/>
                <a:gd name="connsiteY3" fmla="*/ 1864518 h 1864518"/>
                <a:gd name="connsiteX4" fmla="*/ 0 w 798173"/>
                <a:gd name="connsiteY4" fmla="*/ 1864518 h 1864518"/>
                <a:gd name="connsiteX0" fmla="*/ 0 w 798173"/>
                <a:gd name="connsiteY0" fmla="*/ 1923249 h 1923249"/>
                <a:gd name="connsiteX1" fmla="*/ 102670 w 798173"/>
                <a:gd name="connsiteY1" fmla="*/ 0 h 1923249"/>
                <a:gd name="connsiteX2" fmla="*/ 306800 w 798173"/>
                <a:gd name="connsiteY2" fmla="*/ 76688 h 1923249"/>
                <a:gd name="connsiteX3" fmla="*/ 798173 w 798173"/>
                <a:gd name="connsiteY3" fmla="*/ 1923249 h 1923249"/>
                <a:gd name="connsiteX4" fmla="*/ 0 w 798173"/>
                <a:gd name="connsiteY4" fmla="*/ 1923249 h 1923249"/>
                <a:gd name="connsiteX0" fmla="*/ 0 w 798173"/>
                <a:gd name="connsiteY0" fmla="*/ 1923359 h 1923359"/>
                <a:gd name="connsiteX1" fmla="*/ 102670 w 798173"/>
                <a:gd name="connsiteY1" fmla="*/ 110 h 1923359"/>
                <a:gd name="connsiteX2" fmla="*/ 262350 w 798173"/>
                <a:gd name="connsiteY2" fmla="*/ 0 h 1923359"/>
                <a:gd name="connsiteX3" fmla="*/ 798173 w 798173"/>
                <a:gd name="connsiteY3" fmla="*/ 1923359 h 1923359"/>
                <a:gd name="connsiteX4" fmla="*/ 0 w 798173"/>
                <a:gd name="connsiteY4" fmla="*/ 1923359 h 1923359"/>
                <a:gd name="connsiteX0" fmla="*/ 0 w 1081500"/>
                <a:gd name="connsiteY0" fmla="*/ 1923249 h 1923249"/>
                <a:gd name="connsiteX1" fmla="*/ 102670 w 1081500"/>
                <a:gd name="connsiteY1" fmla="*/ 0 h 1923249"/>
                <a:gd name="connsiteX2" fmla="*/ 1081500 w 1081500"/>
                <a:gd name="connsiteY2" fmla="*/ 4408 h 1923249"/>
                <a:gd name="connsiteX3" fmla="*/ 798173 w 1081500"/>
                <a:gd name="connsiteY3" fmla="*/ 1923249 h 1923249"/>
                <a:gd name="connsiteX4" fmla="*/ 0 w 1081500"/>
                <a:gd name="connsiteY4" fmla="*/ 1923249 h 1923249"/>
                <a:gd name="connsiteX0" fmla="*/ 0 w 1081500"/>
                <a:gd name="connsiteY0" fmla="*/ 1918841 h 1918841"/>
                <a:gd name="connsiteX1" fmla="*/ 918645 w 1081500"/>
                <a:gd name="connsiteY1" fmla="*/ 4628 h 1918841"/>
                <a:gd name="connsiteX2" fmla="*/ 1081500 w 1081500"/>
                <a:gd name="connsiteY2" fmla="*/ 0 h 1918841"/>
                <a:gd name="connsiteX3" fmla="*/ 798173 w 1081500"/>
                <a:gd name="connsiteY3" fmla="*/ 1918841 h 1918841"/>
                <a:gd name="connsiteX4" fmla="*/ 0 w 1081500"/>
                <a:gd name="connsiteY4" fmla="*/ 1918841 h 1918841"/>
                <a:gd name="connsiteX0" fmla="*/ 0 w 1897475"/>
                <a:gd name="connsiteY0" fmla="*/ 1918841 h 1918841"/>
                <a:gd name="connsiteX1" fmla="*/ 918645 w 1897475"/>
                <a:gd name="connsiteY1" fmla="*/ 4628 h 1918841"/>
                <a:gd name="connsiteX2" fmla="*/ 1897475 w 1897475"/>
                <a:gd name="connsiteY2" fmla="*/ 0 h 1918841"/>
                <a:gd name="connsiteX3" fmla="*/ 798173 w 1897475"/>
                <a:gd name="connsiteY3" fmla="*/ 1918841 h 1918841"/>
                <a:gd name="connsiteX4" fmla="*/ 0 w 1897475"/>
                <a:gd name="connsiteY4" fmla="*/ 1918841 h 1918841"/>
                <a:gd name="connsiteX0" fmla="*/ 0 w 1897475"/>
                <a:gd name="connsiteY0" fmla="*/ 1918841 h 1918841"/>
                <a:gd name="connsiteX1" fmla="*/ 1709220 w 1897475"/>
                <a:gd name="connsiteY1" fmla="*/ 109 h 1918841"/>
                <a:gd name="connsiteX2" fmla="*/ 1897475 w 1897475"/>
                <a:gd name="connsiteY2" fmla="*/ 0 h 1918841"/>
                <a:gd name="connsiteX3" fmla="*/ 798173 w 1897475"/>
                <a:gd name="connsiteY3" fmla="*/ 1918841 h 1918841"/>
                <a:gd name="connsiteX4" fmla="*/ 0 w 1897475"/>
                <a:gd name="connsiteY4" fmla="*/ 1918841 h 1918841"/>
                <a:gd name="connsiteX0" fmla="*/ 0 w 1897475"/>
                <a:gd name="connsiteY0" fmla="*/ 1918841 h 1918841"/>
                <a:gd name="connsiteX1" fmla="*/ 1696520 w 1897475"/>
                <a:gd name="connsiteY1" fmla="*/ 72394 h 1918841"/>
                <a:gd name="connsiteX2" fmla="*/ 1897475 w 1897475"/>
                <a:gd name="connsiteY2" fmla="*/ 0 h 1918841"/>
                <a:gd name="connsiteX3" fmla="*/ 798173 w 1897475"/>
                <a:gd name="connsiteY3" fmla="*/ 1918841 h 1918841"/>
                <a:gd name="connsiteX4" fmla="*/ 0 w 1897475"/>
                <a:gd name="connsiteY4" fmla="*/ 1918841 h 1918841"/>
                <a:gd name="connsiteX0" fmla="*/ 0 w 1897475"/>
                <a:gd name="connsiteY0" fmla="*/ 1918841 h 1918841"/>
                <a:gd name="connsiteX1" fmla="*/ 1699695 w 1897475"/>
                <a:gd name="connsiteY1" fmla="*/ 9144 h 1918841"/>
                <a:gd name="connsiteX2" fmla="*/ 1897475 w 1897475"/>
                <a:gd name="connsiteY2" fmla="*/ 0 h 1918841"/>
                <a:gd name="connsiteX3" fmla="*/ 798173 w 1897475"/>
                <a:gd name="connsiteY3" fmla="*/ 1918841 h 1918841"/>
                <a:gd name="connsiteX4" fmla="*/ 0 w 1897475"/>
                <a:gd name="connsiteY4" fmla="*/ 1918841 h 1918841"/>
                <a:gd name="connsiteX0" fmla="*/ 0 w 1897475"/>
                <a:gd name="connsiteY0" fmla="*/ 1918841 h 1918841"/>
                <a:gd name="connsiteX1" fmla="*/ 1655245 w 1897475"/>
                <a:gd name="connsiteY1" fmla="*/ 9143 h 1918841"/>
                <a:gd name="connsiteX2" fmla="*/ 1897475 w 1897475"/>
                <a:gd name="connsiteY2" fmla="*/ 0 h 1918841"/>
                <a:gd name="connsiteX3" fmla="*/ 798173 w 1897475"/>
                <a:gd name="connsiteY3" fmla="*/ 1918841 h 1918841"/>
                <a:gd name="connsiteX4" fmla="*/ 0 w 1897475"/>
                <a:gd name="connsiteY4" fmla="*/ 1918841 h 1918841"/>
                <a:gd name="connsiteX0" fmla="*/ 0 w 1881600"/>
                <a:gd name="connsiteY0" fmla="*/ 1918842 h 1918842"/>
                <a:gd name="connsiteX1" fmla="*/ 1655245 w 1881600"/>
                <a:gd name="connsiteY1" fmla="*/ 9144 h 1918842"/>
                <a:gd name="connsiteX2" fmla="*/ 1881600 w 1881600"/>
                <a:gd name="connsiteY2" fmla="*/ 0 h 1918842"/>
                <a:gd name="connsiteX3" fmla="*/ 798173 w 1881600"/>
                <a:gd name="connsiteY3" fmla="*/ 1918842 h 1918842"/>
                <a:gd name="connsiteX4" fmla="*/ 0 w 1881600"/>
                <a:gd name="connsiteY4" fmla="*/ 1918842 h 1918842"/>
                <a:gd name="connsiteX0" fmla="*/ 0 w 1856200"/>
                <a:gd name="connsiteY0" fmla="*/ 1914326 h 1914326"/>
                <a:gd name="connsiteX1" fmla="*/ 1655245 w 1856200"/>
                <a:gd name="connsiteY1" fmla="*/ 4628 h 1914326"/>
                <a:gd name="connsiteX2" fmla="*/ 1856200 w 1856200"/>
                <a:gd name="connsiteY2" fmla="*/ 1 h 1914326"/>
                <a:gd name="connsiteX3" fmla="*/ 798173 w 1856200"/>
                <a:gd name="connsiteY3" fmla="*/ 1914326 h 1914326"/>
                <a:gd name="connsiteX4" fmla="*/ 0 w 1856200"/>
                <a:gd name="connsiteY4" fmla="*/ 1914326 h 1914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200" h="1914326">
                  <a:moveTo>
                    <a:pt x="0" y="1914326"/>
                  </a:moveTo>
                  <a:lnTo>
                    <a:pt x="1655245" y="4628"/>
                  </a:lnTo>
                  <a:lnTo>
                    <a:pt x="1856200" y="1"/>
                  </a:lnTo>
                  <a:lnTo>
                    <a:pt x="798173" y="1914326"/>
                  </a:lnTo>
                  <a:lnTo>
                    <a:pt x="0" y="191432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5" name="Oval 23">
              <a:extLst>
                <a:ext uri="{FF2B5EF4-FFF2-40B4-BE49-F238E27FC236}">
                  <a16:creationId xmlns:a16="http://schemas.microsoft.com/office/drawing/2014/main" id="{1D0BAB60-4C7E-2D38-7862-FD011227BC9E}"/>
                </a:ext>
              </a:extLst>
            </p:cNvPr>
            <p:cNvSpPr/>
            <p:nvPr userDrawn="1"/>
          </p:nvSpPr>
          <p:spPr>
            <a:xfrm>
              <a:off x="10899597" y="2664769"/>
              <a:ext cx="1409389" cy="1409389"/>
            </a:xfrm>
            <a:prstGeom prst="ellipse">
              <a:avLst/>
            </a:prstGeom>
            <a:solidFill>
              <a:schemeClr val="bg1">
                <a:lumMod val="8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6" name="AutoShape 134">
              <a:extLst>
                <a:ext uri="{FF2B5EF4-FFF2-40B4-BE49-F238E27FC236}">
                  <a16:creationId xmlns:a16="http://schemas.microsoft.com/office/drawing/2014/main" id="{1F0EC361-C7AB-01DD-E02C-8164478089A5}"/>
                </a:ext>
              </a:extLst>
            </p:cNvPr>
            <p:cNvSpPr>
              <a:spLocks/>
            </p:cNvSpPr>
            <p:nvPr userDrawn="1"/>
          </p:nvSpPr>
          <p:spPr bwMode="auto">
            <a:xfrm>
              <a:off x="11340240" y="3116463"/>
              <a:ext cx="513536" cy="498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7152"/>
                  </a:moveTo>
                  <a:cubicBezTo>
                    <a:pt x="21509" y="7979"/>
                    <a:pt x="21282" y="8750"/>
                    <a:pt x="20914" y="9461"/>
                  </a:cubicBezTo>
                  <a:cubicBezTo>
                    <a:pt x="20549" y="10173"/>
                    <a:pt x="20079" y="10791"/>
                    <a:pt x="19504" y="11311"/>
                  </a:cubicBezTo>
                  <a:cubicBezTo>
                    <a:pt x="18932" y="11836"/>
                    <a:pt x="18276" y="12245"/>
                    <a:pt x="17542" y="12545"/>
                  </a:cubicBezTo>
                  <a:cubicBezTo>
                    <a:pt x="16803" y="12838"/>
                    <a:pt x="16016" y="12988"/>
                    <a:pt x="15175" y="12988"/>
                  </a:cubicBezTo>
                  <a:cubicBezTo>
                    <a:pt x="14626" y="12988"/>
                    <a:pt x="14048" y="12914"/>
                    <a:pt x="13457" y="12759"/>
                  </a:cubicBezTo>
                  <a:lnTo>
                    <a:pt x="5243" y="20964"/>
                  </a:lnTo>
                  <a:cubicBezTo>
                    <a:pt x="4818" y="21385"/>
                    <a:pt x="4312" y="21599"/>
                    <a:pt x="3725" y="21599"/>
                  </a:cubicBezTo>
                  <a:cubicBezTo>
                    <a:pt x="3111" y="21599"/>
                    <a:pt x="2593" y="21388"/>
                    <a:pt x="2165" y="20964"/>
                  </a:cubicBezTo>
                  <a:cubicBezTo>
                    <a:pt x="1959" y="20758"/>
                    <a:pt x="1729" y="20544"/>
                    <a:pt x="1483" y="20320"/>
                  </a:cubicBezTo>
                  <a:cubicBezTo>
                    <a:pt x="1234" y="20100"/>
                    <a:pt x="999" y="19866"/>
                    <a:pt x="778" y="19617"/>
                  </a:cubicBezTo>
                  <a:cubicBezTo>
                    <a:pt x="557" y="19369"/>
                    <a:pt x="370" y="19106"/>
                    <a:pt x="223" y="18827"/>
                  </a:cubicBezTo>
                  <a:cubicBezTo>
                    <a:pt x="73" y="18547"/>
                    <a:pt x="0" y="18242"/>
                    <a:pt x="0" y="17909"/>
                  </a:cubicBezTo>
                  <a:cubicBezTo>
                    <a:pt x="0" y="17613"/>
                    <a:pt x="56" y="17330"/>
                    <a:pt x="169" y="17062"/>
                  </a:cubicBezTo>
                  <a:cubicBezTo>
                    <a:pt x="283" y="16797"/>
                    <a:pt x="438" y="16565"/>
                    <a:pt x="637" y="16367"/>
                  </a:cubicBezTo>
                  <a:lnTo>
                    <a:pt x="8893" y="8134"/>
                  </a:lnTo>
                  <a:cubicBezTo>
                    <a:pt x="8743" y="7541"/>
                    <a:pt x="8669" y="6993"/>
                    <a:pt x="8660" y="6485"/>
                  </a:cubicBezTo>
                  <a:cubicBezTo>
                    <a:pt x="8660" y="5604"/>
                    <a:pt x="8833" y="4766"/>
                    <a:pt x="9176" y="3964"/>
                  </a:cubicBezTo>
                  <a:cubicBezTo>
                    <a:pt x="9521" y="3168"/>
                    <a:pt x="9983" y="2479"/>
                    <a:pt x="10566" y="1897"/>
                  </a:cubicBezTo>
                  <a:cubicBezTo>
                    <a:pt x="11149" y="1315"/>
                    <a:pt x="11831" y="855"/>
                    <a:pt x="12621" y="513"/>
                  </a:cubicBezTo>
                  <a:cubicBezTo>
                    <a:pt x="13406" y="172"/>
                    <a:pt x="14241" y="0"/>
                    <a:pt x="15130" y="0"/>
                  </a:cubicBezTo>
                  <a:cubicBezTo>
                    <a:pt x="15979" y="0"/>
                    <a:pt x="16798" y="160"/>
                    <a:pt x="17588" y="485"/>
                  </a:cubicBezTo>
                  <a:cubicBezTo>
                    <a:pt x="18377" y="813"/>
                    <a:pt x="19077" y="1264"/>
                    <a:pt x="19683" y="1849"/>
                  </a:cubicBezTo>
                  <a:lnTo>
                    <a:pt x="13692" y="4037"/>
                  </a:lnTo>
                  <a:lnTo>
                    <a:pt x="13108" y="7228"/>
                  </a:lnTo>
                  <a:lnTo>
                    <a:pt x="15603" y="9295"/>
                  </a:lnTo>
                  <a:lnTo>
                    <a:pt x="21599" y="7152"/>
                  </a:lnTo>
                  <a:close/>
                  <a:moveTo>
                    <a:pt x="3720" y="18991"/>
                  </a:moveTo>
                  <a:cubicBezTo>
                    <a:pt x="4017" y="18991"/>
                    <a:pt x="4269" y="18886"/>
                    <a:pt x="4479" y="18674"/>
                  </a:cubicBezTo>
                  <a:cubicBezTo>
                    <a:pt x="4688" y="18462"/>
                    <a:pt x="4790" y="18208"/>
                    <a:pt x="4790" y="17909"/>
                  </a:cubicBezTo>
                  <a:cubicBezTo>
                    <a:pt x="4790" y="17593"/>
                    <a:pt x="4685" y="17333"/>
                    <a:pt x="4473" y="17133"/>
                  </a:cubicBezTo>
                  <a:cubicBezTo>
                    <a:pt x="4261" y="16929"/>
                    <a:pt x="4009" y="16830"/>
                    <a:pt x="3720" y="16830"/>
                  </a:cubicBezTo>
                  <a:cubicBezTo>
                    <a:pt x="3403" y="16830"/>
                    <a:pt x="3145" y="16935"/>
                    <a:pt x="2941" y="17138"/>
                  </a:cubicBezTo>
                  <a:cubicBezTo>
                    <a:pt x="2737" y="17347"/>
                    <a:pt x="2638" y="17604"/>
                    <a:pt x="2638" y="17909"/>
                  </a:cubicBezTo>
                  <a:cubicBezTo>
                    <a:pt x="2638" y="18206"/>
                    <a:pt x="2737" y="18460"/>
                    <a:pt x="2941" y="18674"/>
                  </a:cubicBezTo>
                  <a:cubicBezTo>
                    <a:pt x="3145" y="18889"/>
                    <a:pt x="3403" y="18991"/>
                    <a:pt x="3720" y="18991"/>
                  </a:cubicBezTo>
                </a:path>
              </a:pathLst>
            </a:custGeom>
            <a:solidFill>
              <a:schemeClr val="tx1"/>
            </a:solidFill>
            <a:ln>
              <a:noFill/>
            </a:ln>
            <a:effectLst/>
          </p:spPr>
          <p:txBody>
            <a:bodyPr lIns="38100" tIns="38100" rIns="38100" bIns="38100" numCol="1" anchor="ctr"/>
            <a:lstStyle/>
            <a:p>
              <a:pPr defTabSz="342528">
                <a:lnSpc>
                  <a:spcPct val="100000"/>
                </a:lnSpc>
                <a:defRPr/>
              </a:pPr>
              <a:endParaRPr lang="es-ES" sz="21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27" name="Oval 25">
              <a:extLst>
                <a:ext uri="{FF2B5EF4-FFF2-40B4-BE49-F238E27FC236}">
                  <a16:creationId xmlns:a16="http://schemas.microsoft.com/office/drawing/2014/main" id="{4AC7C4F5-50D1-9295-6A23-2D14681ADA56}"/>
                </a:ext>
              </a:extLst>
            </p:cNvPr>
            <p:cNvSpPr/>
            <p:nvPr userDrawn="1"/>
          </p:nvSpPr>
          <p:spPr>
            <a:xfrm>
              <a:off x="10899597" y="4291901"/>
              <a:ext cx="1409389" cy="1409389"/>
            </a:xfrm>
            <a:prstGeom prst="ellipse">
              <a:avLst/>
            </a:prstGeom>
            <a:solidFill>
              <a:schemeClr val="bg1">
                <a:lumMod val="8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8" name="Oval 26">
              <a:extLst>
                <a:ext uri="{FF2B5EF4-FFF2-40B4-BE49-F238E27FC236}">
                  <a16:creationId xmlns:a16="http://schemas.microsoft.com/office/drawing/2014/main" id="{C0FCD5F3-15C5-5EBC-80AB-9F2980A35216}"/>
                </a:ext>
              </a:extLst>
            </p:cNvPr>
            <p:cNvSpPr/>
            <p:nvPr userDrawn="1"/>
          </p:nvSpPr>
          <p:spPr>
            <a:xfrm>
              <a:off x="10899597" y="5908768"/>
              <a:ext cx="1409389" cy="1409389"/>
            </a:xfrm>
            <a:prstGeom prst="ellipse">
              <a:avLst/>
            </a:prstGeom>
            <a:solidFill>
              <a:schemeClr val="bg1">
                <a:lumMod val="8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29" name="Oval 27">
              <a:extLst>
                <a:ext uri="{FF2B5EF4-FFF2-40B4-BE49-F238E27FC236}">
                  <a16:creationId xmlns:a16="http://schemas.microsoft.com/office/drawing/2014/main" id="{589F2D3A-B38C-15A9-FE12-0280CD0ADBB0}"/>
                </a:ext>
              </a:extLst>
            </p:cNvPr>
            <p:cNvSpPr/>
            <p:nvPr userDrawn="1"/>
          </p:nvSpPr>
          <p:spPr>
            <a:xfrm>
              <a:off x="10948862" y="7554579"/>
              <a:ext cx="1409389" cy="1409389"/>
            </a:xfrm>
            <a:prstGeom prst="ellipse">
              <a:avLst/>
            </a:prstGeom>
            <a:solidFill>
              <a:schemeClr val="bg1">
                <a:lumMod val="8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GB"/>
            </a:p>
          </p:txBody>
        </p:sp>
        <p:sp>
          <p:nvSpPr>
            <p:cNvPr id="30" name="AutoShape 33">
              <a:extLst>
                <a:ext uri="{FF2B5EF4-FFF2-40B4-BE49-F238E27FC236}">
                  <a16:creationId xmlns:a16="http://schemas.microsoft.com/office/drawing/2014/main" id="{1F5FB9B0-C010-A80F-D927-56613BB8D78D}"/>
                </a:ext>
              </a:extLst>
            </p:cNvPr>
            <p:cNvSpPr>
              <a:spLocks/>
            </p:cNvSpPr>
            <p:nvPr userDrawn="1"/>
          </p:nvSpPr>
          <p:spPr bwMode="auto">
            <a:xfrm>
              <a:off x="11394387" y="4832138"/>
              <a:ext cx="411312" cy="402685"/>
            </a:xfrm>
            <a:custGeom>
              <a:avLst/>
              <a:gdLst>
                <a:gd name="T0" fmla="+- 0 10800 88"/>
                <a:gd name="T1" fmla="*/ T0 w 21424"/>
                <a:gd name="T2" fmla="*/ 10800 h 21600"/>
                <a:gd name="T3" fmla="+- 0 10800 88"/>
                <a:gd name="T4" fmla="*/ T3 w 21424"/>
                <a:gd name="T5" fmla="*/ 10800 h 21600"/>
                <a:gd name="T6" fmla="+- 0 10800 88"/>
                <a:gd name="T7" fmla="*/ T6 w 21424"/>
                <a:gd name="T8" fmla="*/ 10800 h 21600"/>
                <a:gd name="T9" fmla="+- 0 10800 88"/>
                <a:gd name="T10" fmla="*/ T9 w 21424"/>
                <a:gd name="T11" fmla="*/ 10800 h 21600"/>
              </a:gdLst>
              <a:ahLst/>
              <a:cxnLst>
                <a:cxn ang="0">
                  <a:pos x="T1" y="T2"/>
                </a:cxn>
                <a:cxn ang="0">
                  <a:pos x="T4" y="T5"/>
                </a:cxn>
                <a:cxn ang="0">
                  <a:pos x="T7" y="T8"/>
                </a:cxn>
                <a:cxn ang="0">
                  <a:pos x="T10" y="T11"/>
                </a:cxn>
              </a:cxnLst>
              <a:rect l="0" t="0" r="r" b="b"/>
              <a:pathLst>
                <a:path w="21424" h="21600">
                  <a:moveTo>
                    <a:pt x="12593" y="10421"/>
                  </a:moveTo>
                  <a:lnTo>
                    <a:pt x="12593" y="19432"/>
                  </a:lnTo>
                  <a:lnTo>
                    <a:pt x="16047" y="19432"/>
                  </a:lnTo>
                  <a:cubicBezTo>
                    <a:pt x="16352" y="19432"/>
                    <a:pt x="16611" y="19538"/>
                    <a:pt x="16821" y="19749"/>
                  </a:cubicBezTo>
                  <a:cubicBezTo>
                    <a:pt x="17027" y="19961"/>
                    <a:pt x="17135" y="20210"/>
                    <a:pt x="17135" y="20504"/>
                  </a:cubicBezTo>
                  <a:cubicBezTo>
                    <a:pt x="17135" y="20809"/>
                    <a:pt x="17027" y="21071"/>
                    <a:pt x="16821" y="21282"/>
                  </a:cubicBezTo>
                  <a:cubicBezTo>
                    <a:pt x="16611" y="21494"/>
                    <a:pt x="16352" y="21599"/>
                    <a:pt x="16047" y="21599"/>
                  </a:cubicBezTo>
                  <a:lnTo>
                    <a:pt x="5350" y="21599"/>
                  </a:lnTo>
                  <a:cubicBezTo>
                    <a:pt x="5062" y="21599"/>
                    <a:pt x="4812" y="21494"/>
                    <a:pt x="4602" y="21282"/>
                  </a:cubicBezTo>
                  <a:cubicBezTo>
                    <a:pt x="4396" y="21071"/>
                    <a:pt x="4288" y="20809"/>
                    <a:pt x="4288" y="20504"/>
                  </a:cubicBezTo>
                  <a:cubicBezTo>
                    <a:pt x="4288" y="20210"/>
                    <a:pt x="4396" y="19961"/>
                    <a:pt x="4602" y="19749"/>
                  </a:cubicBezTo>
                  <a:cubicBezTo>
                    <a:pt x="4812" y="19538"/>
                    <a:pt x="5062" y="19432"/>
                    <a:pt x="5350" y="19432"/>
                  </a:cubicBezTo>
                  <a:lnTo>
                    <a:pt x="8833" y="19432"/>
                  </a:lnTo>
                  <a:lnTo>
                    <a:pt x="8833" y="10421"/>
                  </a:lnTo>
                  <a:lnTo>
                    <a:pt x="333" y="1841"/>
                  </a:lnTo>
                  <a:cubicBezTo>
                    <a:pt x="-10" y="1497"/>
                    <a:pt x="-88" y="1101"/>
                    <a:pt x="98" y="660"/>
                  </a:cubicBezTo>
                  <a:cubicBezTo>
                    <a:pt x="284" y="220"/>
                    <a:pt x="607" y="0"/>
                    <a:pt x="1073" y="0"/>
                  </a:cubicBezTo>
                  <a:lnTo>
                    <a:pt x="20324" y="0"/>
                  </a:lnTo>
                  <a:cubicBezTo>
                    <a:pt x="20799" y="0"/>
                    <a:pt x="21133" y="220"/>
                    <a:pt x="21325" y="660"/>
                  </a:cubicBezTo>
                  <a:cubicBezTo>
                    <a:pt x="21512" y="1101"/>
                    <a:pt x="21433" y="1497"/>
                    <a:pt x="21090" y="1841"/>
                  </a:cubicBezTo>
                  <a:lnTo>
                    <a:pt x="12593" y="10421"/>
                  </a:lnTo>
                  <a:close/>
                </a:path>
              </a:pathLst>
            </a:custGeom>
            <a:solidFill>
              <a:schemeClr val="tx1"/>
            </a:solidFill>
            <a:ln>
              <a:noFill/>
            </a:ln>
            <a:effectLst/>
          </p:spPr>
          <p:txBody>
            <a:bodyPr lIns="38100" tIns="38100" rIns="38100" bIns="38100" numCol="1" anchor="ctr"/>
            <a:lstStyle/>
            <a:p>
              <a:pPr defTabSz="342528">
                <a:lnSpc>
                  <a:spcPct val="100000"/>
                </a:lnSpc>
                <a:defRPr/>
              </a:pPr>
              <a:endParaRPr lang="es-ES" sz="21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31" name="AutoShape 123">
              <a:extLst>
                <a:ext uri="{FF2B5EF4-FFF2-40B4-BE49-F238E27FC236}">
                  <a16:creationId xmlns:a16="http://schemas.microsoft.com/office/drawing/2014/main" id="{33E52ABC-B768-6739-04C6-ADA24DA0F05B}"/>
                </a:ext>
              </a:extLst>
            </p:cNvPr>
            <p:cNvSpPr>
              <a:spLocks/>
            </p:cNvSpPr>
            <p:nvPr userDrawn="1"/>
          </p:nvSpPr>
          <p:spPr bwMode="auto">
            <a:xfrm>
              <a:off x="11387852" y="6419350"/>
              <a:ext cx="439541" cy="41926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tx1"/>
            </a:solidFill>
            <a:ln>
              <a:noFill/>
            </a:ln>
            <a:effectLst/>
          </p:spPr>
          <p:txBody>
            <a:bodyPr lIns="38100" tIns="38100" rIns="38100" bIns="38100" numCol="1" anchor="ctr"/>
            <a:lstStyle/>
            <a:p>
              <a:pPr defTabSz="342528">
                <a:lnSpc>
                  <a:spcPct val="100000"/>
                </a:lnSpc>
                <a:defRPr/>
              </a:pPr>
              <a:endParaRPr lang="es-ES" sz="21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32" name="AutoShape 52">
              <a:extLst>
                <a:ext uri="{FF2B5EF4-FFF2-40B4-BE49-F238E27FC236}">
                  <a16:creationId xmlns:a16="http://schemas.microsoft.com/office/drawing/2014/main" id="{4C50F81E-F55E-68BA-F1E6-91701C6E7D1A}"/>
                </a:ext>
              </a:extLst>
            </p:cNvPr>
            <p:cNvSpPr>
              <a:spLocks/>
            </p:cNvSpPr>
            <p:nvPr userDrawn="1"/>
          </p:nvSpPr>
          <p:spPr bwMode="auto">
            <a:xfrm>
              <a:off x="11375220" y="8007269"/>
              <a:ext cx="464803" cy="45142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708" y="14020"/>
                  </a:moveTo>
                  <a:cubicBezTo>
                    <a:pt x="20951" y="14020"/>
                    <a:pt x="21161" y="14125"/>
                    <a:pt x="21335" y="14334"/>
                  </a:cubicBezTo>
                  <a:cubicBezTo>
                    <a:pt x="21511" y="14548"/>
                    <a:pt x="21599" y="14810"/>
                    <a:pt x="21599" y="15115"/>
                  </a:cubicBezTo>
                  <a:lnTo>
                    <a:pt x="21599" y="20504"/>
                  </a:lnTo>
                  <a:cubicBezTo>
                    <a:pt x="21599" y="20815"/>
                    <a:pt x="21511" y="21071"/>
                    <a:pt x="21335" y="21285"/>
                  </a:cubicBezTo>
                  <a:cubicBezTo>
                    <a:pt x="21161" y="21494"/>
                    <a:pt x="20951" y="21599"/>
                    <a:pt x="20708" y="21599"/>
                  </a:cubicBezTo>
                  <a:lnTo>
                    <a:pt x="16197" y="21599"/>
                  </a:lnTo>
                  <a:cubicBezTo>
                    <a:pt x="15940" y="21599"/>
                    <a:pt x="15729" y="21494"/>
                    <a:pt x="15563" y="21285"/>
                  </a:cubicBezTo>
                  <a:cubicBezTo>
                    <a:pt x="15399" y="21071"/>
                    <a:pt x="15316" y="20815"/>
                    <a:pt x="15316" y="20504"/>
                  </a:cubicBezTo>
                  <a:lnTo>
                    <a:pt x="15316" y="15115"/>
                  </a:lnTo>
                  <a:cubicBezTo>
                    <a:pt x="15316" y="14810"/>
                    <a:pt x="15399" y="14548"/>
                    <a:pt x="15570" y="14334"/>
                  </a:cubicBezTo>
                  <a:cubicBezTo>
                    <a:pt x="15737" y="14125"/>
                    <a:pt x="15945" y="14020"/>
                    <a:pt x="16197" y="14020"/>
                  </a:cubicBezTo>
                  <a:lnTo>
                    <a:pt x="17788" y="14020"/>
                  </a:lnTo>
                  <a:lnTo>
                    <a:pt x="17788" y="11869"/>
                  </a:lnTo>
                  <a:cubicBezTo>
                    <a:pt x="17788" y="11699"/>
                    <a:pt x="17707" y="11610"/>
                    <a:pt x="17543" y="11602"/>
                  </a:cubicBezTo>
                  <a:lnTo>
                    <a:pt x="11473" y="11602"/>
                  </a:lnTo>
                  <a:lnTo>
                    <a:pt x="11473" y="14019"/>
                  </a:lnTo>
                  <a:lnTo>
                    <a:pt x="13054" y="14019"/>
                  </a:lnTo>
                  <a:cubicBezTo>
                    <a:pt x="13296" y="14019"/>
                    <a:pt x="13507" y="14125"/>
                    <a:pt x="13681" y="14334"/>
                  </a:cubicBezTo>
                  <a:cubicBezTo>
                    <a:pt x="13857" y="14548"/>
                    <a:pt x="13945" y="14810"/>
                    <a:pt x="13945" y="15115"/>
                  </a:cubicBezTo>
                  <a:lnTo>
                    <a:pt x="13945" y="20504"/>
                  </a:lnTo>
                  <a:cubicBezTo>
                    <a:pt x="13945" y="20815"/>
                    <a:pt x="13857" y="21071"/>
                    <a:pt x="13681" y="21285"/>
                  </a:cubicBezTo>
                  <a:cubicBezTo>
                    <a:pt x="13507" y="21494"/>
                    <a:pt x="13296" y="21599"/>
                    <a:pt x="13054" y="21599"/>
                  </a:cubicBezTo>
                  <a:lnTo>
                    <a:pt x="8543" y="21599"/>
                  </a:lnTo>
                  <a:cubicBezTo>
                    <a:pt x="8298" y="21599"/>
                    <a:pt x="8090" y="21494"/>
                    <a:pt x="7913" y="21285"/>
                  </a:cubicBezTo>
                  <a:cubicBezTo>
                    <a:pt x="7740" y="21071"/>
                    <a:pt x="7651" y="20815"/>
                    <a:pt x="7651" y="20504"/>
                  </a:cubicBezTo>
                  <a:lnTo>
                    <a:pt x="7651" y="15115"/>
                  </a:lnTo>
                  <a:cubicBezTo>
                    <a:pt x="7651" y="14810"/>
                    <a:pt x="7740" y="14548"/>
                    <a:pt x="7913" y="14334"/>
                  </a:cubicBezTo>
                  <a:cubicBezTo>
                    <a:pt x="8090" y="14125"/>
                    <a:pt x="8298" y="14019"/>
                    <a:pt x="8543" y="14019"/>
                  </a:cubicBezTo>
                  <a:lnTo>
                    <a:pt x="10124" y="14019"/>
                  </a:lnTo>
                  <a:lnTo>
                    <a:pt x="10124" y="11602"/>
                  </a:lnTo>
                  <a:lnTo>
                    <a:pt x="4056" y="11602"/>
                  </a:lnTo>
                  <a:cubicBezTo>
                    <a:pt x="3901" y="11602"/>
                    <a:pt x="3821" y="11690"/>
                    <a:pt x="3821" y="11869"/>
                  </a:cubicBezTo>
                  <a:lnTo>
                    <a:pt x="3821" y="14020"/>
                  </a:lnTo>
                  <a:lnTo>
                    <a:pt x="5402" y="14020"/>
                  </a:lnTo>
                  <a:cubicBezTo>
                    <a:pt x="5661" y="14020"/>
                    <a:pt x="5874" y="14125"/>
                    <a:pt x="6053" y="14334"/>
                  </a:cubicBezTo>
                  <a:cubicBezTo>
                    <a:pt x="6229" y="14548"/>
                    <a:pt x="6315" y="14810"/>
                    <a:pt x="6315" y="15115"/>
                  </a:cubicBezTo>
                  <a:lnTo>
                    <a:pt x="6315" y="20504"/>
                  </a:lnTo>
                  <a:cubicBezTo>
                    <a:pt x="6315" y="20815"/>
                    <a:pt x="6229" y="21071"/>
                    <a:pt x="6053" y="21285"/>
                  </a:cubicBezTo>
                  <a:cubicBezTo>
                    <a:pt x="5877" y="21494"/>
                    <a:pt x="5664" y="21599"/>
                    <a:pt x="5402" y="21599"/>
                  </a:cubicBezTo>
                  <a:lnTo>
                    <a:pt x="913" y="21599"/>
                  </a:lnTo>
                  <a:cubicBezTo>
                    <a:pt x="658" y="21599"/>
                    <a:pt x="440" y="21494"/>
                    <a:pt x="261" y="21285"/>
                  </a:cubicBezTo>
                  <a:cubicBezTo>
                    <a:pt x="88" y="21071"/>
                    <a:pt x="0" y="20815"/>
                    <a:pt x="0" y="20504"/>
                  </a:cubicBezTo>
                  <a:lnTo>
                    <a:pt x="0" y="15115"/>
                  </a:lnTo>
                  <a:cubicBezTo>
                    <a:pt x="0" y="14810"/>
                    <a:pt x="88" y="14548"/>
                    <a:pt x="261" y="14334"/>
                  </a:cubicBezTo>
                  <a:cubicBezTo>
                    <a:pt x="438" y="14125"/>
                    <a:pt x="656" y="14020"/>
                    <a:pt x="913" y="14020"/>
                  </a:cubicBezTo>
                  <a:lnTo>
                    <a:pt x="2472" y="14020"/>
                  </a:lnTo>
                  <a:lnTo>
                    <a:pt x="2472" y="11869"/>
                  </a:lnTo>
                  <a:cubicBezTo>
                    <a:pt x="2472" y="11352"/>
                    <a:pt x="2629" y="10911"/>
                    <a:pt x="2942" y="10544"/>
                  </a:cubicBezTo>
                  <a:cubicBezTo>
                    <a:pt x="3253" y="10180"/>
                    <a:pt x="3622" y="9997"/>
                    <a:pt x="4053" y="9997"/>
                  </a:cubicBezTo>
                  <a:lnTo>
                    <a:pt x="10121" y="9997"/>
                  </a:lnTo>
                  <a:lnTo>
                    <a:pt x="10121" y="7550"/>
                  </a:lnTo>
                  <a:lnTo>
                    <a:pt x="8540" y="7550"/>
                  </a:lnTo>
                  <a:cubicBezTo>
                    <a:pt x="8295" y="7550"/>
                    <a:pt x="8087" y="7450"/>
                    <a:pt x="7911" y="7248"/>
                  </a:cubicBezTo>
                  <a:cubicBezTo>
                    <a:pt x="7737" y="7045"/>
                    <a:pt x="7649" y="6789"/>
                    <a:pt x="7649" y="6484"/>
                  </a:cubicBezTo>
                  <a:lnTo>
                    <a:pt x="7649" y="1066"/>
                  </a:lnTo>
                  <a:cubicBezTo>
                    <a:pt x="7649" y="775"/>
                    <a:pt x="7737" y="522"/>
                    <a:pt x="7911" y="314"/>
                  </a:cubicBezTo>
                  <a:cubicBezTo>
                    <a:pt x="8087" y="102"/>
                    <a:pt x="8295" y="0"/>
                    <a:pt x="8540" y="0"/>
                  </a:cubicBezTo>
                  <a:lnTo>
                    <a:pt x="13052" y="0"/>
                  </a:lnTo>
                  <a:cubicBezTo>
                    <a:pt x="13294" y="0"/>
                    <a:pt x="13504" y="102"/>
                    <a:pt x="13678" y="314"/>
                  </a:cubicBezTo>
                  <a:cubicBezTo>
                    <a:pt x="13854" y="522"/>
                    <a:pt x="13943" y="775"/>
                    <a:pt x="13943" y="1066"/>
                  </a:cubicBezTo>
                  <a:lnTo>
                    <a:pt x="13943" y="6484"/>
                  </a:lnTo>
                  <a:cubicBezTo>
                    <a:pt x="13943" y="6789"/>
                    <a:pt x="13854" y="7045"/>
                    <a:pt x="13678" y="7248"/>
                  </a:cubicBezTo>
                  <a:cubicBezTo>
                    <a:pt x="13504" y="7450"/>
                    <a:pt x="13294" y="7550"/>
                    <a:pt x="13052" y="7550"/>
                  </a:cubicBezTo>
                  <a:lnTo>
                    <a:pt x="11470" y="7550"/>
                  </a:lnTo>
                  <a:lnTo>
                    <a:pt x="11470" y="9997"/>
                  </a:lnTo>
                  <a:lnTo>
                    <a:pt x="17541" y="9997"/>
                  </a:lnTo>
                  <a:cubicBezTo>
                    <a:pt x="17969" y="9997"/>
                    <a:pt x="18339" y="10177"/>
                    <a:pt x="18652" y="10538"/>
                  </a:cubicBezTo>
                  <a:cubicBezTo>
                    <a:pt x="18966" y="10899"/>
                    <a:pt x="19122" y="11343"/>
                    <a:pt x="19122" y="11869"/>
                  </a:cubicBezTo>
                  <a:lnTo>
                    <a:pt x="19122" y="14020"/>
                  </a:lnTo>
                  <a:lnTo>
                    <a:pt x="20708" y="14020"/>
                  </a:lnTo>
                  <a:close/>
                </a:path>
              </a:pathLst>
            </a:custGeom>
            <a:solidFill>
              <a:schemeClr val="tx1"/>
            </a:solidFill>
            <a:ln>
              <a:noFill/>
            </a:ln>
            <a:effectLst/>
          </p:spPr>
          <p:txBody>
            <a:bodyPr lIns="38100" tIns="38100" rIns="38100" bIns="38100" numCol="1" anchor="ctr"/>
            <a:lstStyle/>
            <a:p>
              <a:pPr defTabSz="342528">
                <a:lnSpc>
                  <a:spcPct val="100000"/>
                </a:lnSpc>
                <a:defRPr/>
              </a:pPr>
              <a:endParaRPr lang="es-ES" sz="21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37" name="Rectangle 36">
              <a:extLst>
                <a:ext uri="{FF2B5EF4-FFF2-40B4-BE49-F238E27FC236}">
                  <a16:creationId xmlns:a16="http://schemas.microsoft.com/office/drawing/2014/main" id="{9198AEE5-D8E1-2C46-34D3-262D1875F28A}"/>
                </a:ext>
              </a:extLst>
            </p:cNvPr>
            <p:cNvSpPr/>
            <p:nvPr userDrawn="1"/>
          </p:nvSpPr>
          <p:spPr>
            <a:xfrm>
              <a:off x="0" y="4743594"/>
              <a:ext cx="6698130" cy="14926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grpSp>
      <p:sp>
        <p:nvSpPr>
          <p:cNvPr id="40" name="Segnaposto testo 4">
            <a:extLst>
              <a:ext uri="{FF2B5EF4-FFF2-40B4-BE49-F238E27FC236}">
                <a16:creationId xmlns:a16="http://schemas.microsoft.com/office/drawing/2014/main" id="{808CF90F-AFA8-6315-6EE6-D88DBC9DECCE}"/>
              </a:ext>
            </a:extLst>
          </p:cNvPr>
          <p:cNvSpPr>
            <a:spLocks noGrp="1"/>
          </p:cNvSpPr>
          <p:nvPr>
            <p:ph type="body" sz="quarter" idx="45" hasCustomPrompt="1"/>
          </p:nvPr>
        </p:nvSpPr>
        <p:spPr>
          <a:xfrm>
            <a:off x="850248" y="3428999"/>
            <a:ext cx="3320882" cy="475729"/>
          </a:xfrm>
        </p:spPr>
        <p:txBody>
          <a:bodyPr numCol="1" spcCol="360000">
            <a:normAutofit/>
          </a:bodyPr>
          <a:lstStyle>
            <a:lvl1pPr marL="0" indent="0" algn="just">
              <a:lnSpc>
                <a:spcPct val="100000"/>
              </a:lnSpc>
              <a:buNone/>
              <a:defRPr sz="1200" b="1" i="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2" name="Segnaposto testo 4">
            <a:extLst>
              <a:ext uri="{FF2B5EF4-FFF2-40B4-BE49-F238E27FC236}">
                <a16:creationId xmlns:a16="http://schemas.microsoft.com/office/drawing/2014/main" id="{3C89E72F-2A35-5101-576B-C348224469E0}"/>
              </a:ext>
            </a:extLst>
          </p:cNvPr>
          <p:cNvSpPr>
            <a:spLocks noGrp="1"/>
          </p:cNvSpPr>
          <p:nvPr>
            <p:ph type="body" sz="quarter" idx="46" hasCustomPrompt="1"/>
          </p:nvPr>
        </p:nvSpPr>
        <p:spPr>
          <a:xfrm>
            <a:off x="8702962" y="1893581"/>
            <a:ext cx="2938177" cy="253971"/>
          </a:xfrm>
        </p:spPr>
        <p:txBody>
          <a:bodyPr numCol="1" spcCol="360000">
            <a:normAutofit/>
          </a:bodyPr>
          <a:lstStyle>
            <a:lvl1pPr marL="0" indent="0" algn="just">
              <a:lnSpc>
                <a:spcPct val="100000"/>
              </a:lnSpc>
              <a:buNone/>
              <a:defRPr sz="1200" b="1" i="0" spc="300" baseline="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3" name="Segnaposto testo 4">
            <a:extLst>
              <a:ext uri="{FF2B5EF4-FFF2-40B4-BE49-F238E27FC236}">
                <a16:creationId xmlns:a16="http://schemas.microsoft.com/office/drawing/2014/main" id="{4F9F3961-ACEF-F9EA-5578-4472C05A9108}"/>
              </a:ext>
            </a:extLst>
          </p:cNvPr>
          <p:cNvSpPr>
            <a:spLocks noGrp="1"/>
          </p:cNvSpPr>
          <p:nvPr>
            <p:ph type="body" sz="quarter" idx="47" hasCustomPrompt="1"/>
          </p:nvPr>
        </p:nvSpPr>
        <p:spPr>
          <a:xfrm>
            <a:off x="8702962" y="2965899"/>
            <a:ext cx="2938177" cy="253971"/>
          </a:xfrm>
        </p:spPr>
        <p:txBody>
          <a:bodyPr numCol="1" spcCol="360000">
            <a:normAutofit/>
          </a:bodyPr>
          <a:lstStyle>
            <a:lvl1pPr marL="0" indent="0" algn="just">
              <a:lnSpc>
                <a:spcPct val="100000"/>
              </a:lnSpc>
              <a:buNone/>
              <a:defRPr sz="1200" b="1" i="0" spc="300" baseline="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4" name="Segnaposto testo 4">
            <a:extLst>
              <a:ext uri="{FF2B5EF4-FFF2-40B4-BE49-F238E27FC236}">
                <a16:creationId xmlns:a16="http://schemas.microsoft.com/office/drawing/2014/main" id="{81FEE6A9-1997-5EC6-CFDC-F9751717D4F8}"/>
              </a:ext>
            </a:extLst>
          </p:cNvPr>
          <p:cNvSpPr>
            <a:spLocks noGrp="1"/>
          </p:cNvSpPr>
          <p:nvPr>
            <p:ph type="body" sz="quarter" idx="48" hasCustomPrompt="1"/>
          </p:nvPr>
        </p:nvSpPr>
        <p:spPr>
          <a:xfrm>
            <a:off x="8702961" y="4032290"/>
            <a:ext cx="2938177" cy="253971"/>
          </a:xfrm>
        </p:spPr>
        <p:txBody>
          <a:bodyPr numCol="1" spcCol="360000">
            <a:normAutofit/>
          </a:bodyPr>
          <a:lstStyle>
            <a:lvl1pPr marL="0" indent="0" algn="just">
              <a:lnSpc>
                <a:spcPct val="100000"/>
              </a:lnSpc>
              <a:buNone/>
              <a:defRPr sz="1200" b="1" i="0" spc="300" baseline="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5" name="Segnaposto testo 4">
            <a:extLst>
              <a:ext uri="{FF2B5EF4-FFF2-40B4-BE49-F238E27FC236}">
                <a16:creationId xmlns:a16="http://schemas.microsoft.com/office/drawing/2014/main" id="{41CDD474-DB9E-EB81-4FB1-F5D832EEC306}"/>
              </a:ext>
            </a:extLst>
          </p:cNvPr>
          <p:cNvSpPr>
            <a:spLocks noGrp="1"/>
          </p:cNvSpPr>
          <p:nvPr>
            <p:ph type="body" sz="quarter" idx="49" hasCustomPrompt="1"/>
          </p:nvPr>
        </p:nvSpPr>
        <p:spPr>
          <a:xfrm>
            <a:off x="8702960" y="5099298"/>
            <a:ext cx="2938177" cy="253971"/>
          </a:xfrm>
        </p:spPr>
        <p:txBody>
          <a:bodyPr numCol="1" spcCol="360000">
            <a:normAutofit/>
          </a:bodyPr>
          <a:lstStyle>
            <a:lvl1pPr marL="0" indent="0" algn="just">
              <a:lnSpc>
                <a:spcPct val="100000"/>
              </a:lnSpc>
              <a:buNone/>
              <a:defRPr sz="1200" b="1" i="0" spc="300" baseline="0">
                <a:solidFill>
                  <a:schemeClr val="tx1"/>
                </a:solidFill>
                <a:latin typeface="Arial" panose="020B0604020202020204" pitchFamily="34" charset="0"/>
                <a:cs typeface="Arial" panose="020B0604020202020204" pitchFamily="34" charset="0"/>
              </a:defRPr>
            </a:lvl1pPr>
          </a:lstStyle>
          <a:p>
            <a:pPr lvl="0"/>
            <a:r>
              <a:rPr lang="en-US" noProof="0"/>
              <a:t>YOUR TEXT HERE</a:t>
            </a:r>
          </a:p>
        </p:txBody>
      </p:sp>
      <p:sp>
        <p:nvSpPr>
          <p:cNvPr id="46" name="Segnaposto testo 4">
            <a:extLst>
              <a:ext uri="{FF2B5EF4-FFF2-40B4-BE49-F238E27FC236}">
                <a16:creationId xmlns:a16="http://schemas.microsoft.com/office/drawing/2014/main" id="{810D283C-9490-642E-ED6B-92589D8DD245}"/>
              </a:ext>
            </a:extLst>
          </p:cNvPr>
          <p:cNvSpPr>
            <a:spLocks noGrp="1"/>
          </p:cNvSpPr>
          <p:nvPr>
            <p:ph type="body" sz="quarter" idx="20" hasCustomPrompt="1"/>
          </p:nvPr>
        </p:nvSpPr>
        <p:spPr>
          <a:xfrm>
            <a:off x="8685043" y="2218074"/>
            <a:ext cx="2956093" cy="476178"/>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47" name="Segnaposto testo 4">
            <a:extLst>
              <a:ext uri="{FF2B5EF4-FFF2-40B4-BE49-F238E27FC236}">
                <a16:creationId xmlns:a16="http://schemas.microsoft.com/office/drawing/2014/main" id="{FF830E36-55F9-40CC-9D42-0D21BBC1DDE3}"/>
              </a:ext>
            </a:extLst>
          </p:cNvPr>
          <p:cNvSpPr>
            <a:spLocks noGrp="1"/>
          </p:cNvSpPr>
          <p:nvPr>
            <p:ph type="body" sz="quarter" idx="50" hasCustomPrompt="1"/>
          </p:nvPr>
        </p:nvSpPr>
        <p:spPr>
          <a:xfrm>
            <a:off x="8685044" y="3276987"/>
            <a:ext cx="2956093" cy="476178"/>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48" name="Segnaposto testo 4">
            <a:extLst>
              <a:ext uri="{FF2B5EF4-FFF2-40B4-BE49-F238E27FC236}">
                <a16:creationId xmlns:a16="http://schemas.microsoft.com/office/drawing/2014/main" id="{73F916BE-BDFC-7AA8-9721-74395957E95D}"/>
              </a:ext>
            </a:extLst>
          </p:cNvPr>
          <p:cNvSpPr>
            <a:spLocks noGrp="1"/>
          </p:cNvSpPr>
          <p:nvPr>
            <p:ph type="body" sz="quarter" idx="51" hasCustomPrompt="1"/>
          </p:nvPr>
        </p:nvSpPr>
        <p:spPr>
          <a:xfrm>
            <a:off x="8694001" y="4353377"/>
            <a:ext cx="2956093" cy="476178"/>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49" name="Segnaposto testo 4">
            <a:extLst>
              <a:ext uri="{FF2B5EF4-FFF2-40B4-BE49-F238E27FC236}">
                <a16:creationId xmlns:a16="http://schemas.microsoft.com/office/drawing/2014/main" id="{9EE7B0EB-AFF3-BFD4-AD55-1E3EAB3A3201}"/>
              </a:ext>
            </a:extLst>
          </p:cNvPr>
          <p:cNvSpPr>
            <a:spLocks noGrp="1"/>
          </p:cNvSpPr>
          <p:nvPr>
            <p:ph type="body" sz="quarter" idx="52" hasCustomPrompt="1"/>
          </p:nvPr>
        </p:nvSpPr>
        <p:spPr>
          <a:xfrm>
            <a:off x="8685044" y="5378095"/>
            <a:ext cx="2956093" cy="476178"/>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51" name="Segnaposto testo 4">
            <a:extLst>
              <a:ext uri="{FF2B5EF4-FFF2-40B4-BE49-F238E27FC236}">
                <a16:creationId xmlns:a16="http://schemas.microsoft.com/office/drawing/2014/main" id="{F9EBD0DE-6634-C713-962C-6BCA4B62CE35}"/>
              </a:ext>
            </a:extLst>
          </p:cNvPr>
          <p:cNvSpPr>
            <a:spLocks noGrp="1"/>
          </p:cNvSpPr>
          <p:nvPr>
            <p:ph type="body" sz="quarter" idx="33" hasCustomPrompt="1"/>
          </p:nvPr>
        </p:nvSpPr>
        <p:spPr>
          <a:xfrm>
            <a:off x="5957767" y="2038600"/>
            <a:ext cx="1488561" cy="432523"/>
          </a:xfrm>
        </p:spPr>
        <p:txBody>
          <a:bodyPr numCol="1" spcCol="360000" anchor="ctr">
            <a:noAutofit/>
          </a:bodyPr>
          <a:lstStyle>
            <a:lvl1pPr marL="0" indent="0" algn="r">
              <a:lnSpc>
                <a:spcPct val="100000"/>
              </a:lnSpc>
              <a:buNone/>
              <a:defRPr sz="2000" b="1" i="0">
                <a:solidFill>
                  <a:schemeClr val="bg1"/>
                </a:solidFill>
                <a:latin typeface="Prometo" panose="020B0604030203060203" pitchFamily="34" charset="77"/>
                <a:cs typeface="Arial" panose="020B0604020202020204" pitchFamily="34" charset="0"/>
              </a:defRPr>
            </a:lvl1pPr>
          </a:lstStyle>
          <a:p>
            <a:pPr lvl="0"/>
            <a:r>
              <a:rPr lang="en-US" noProof="0"/>
              <a:t>YOUR TEXT</a:t>
            </a:r>
          </a:p>
        </p:txBody>
      </p:sp>
      <p:sp>
        <p:nvSpPr>
          <p:cNvPr id="52" name="Segnaposto testo 4">
            <a:extLst>
              <a:ext uri="{FF2B5EF4-FFF2-40B4-BE49-F238E27FC236}">
                <a16:creationId xmlns:a16="http://schemas.microsoft.com/office/drawing/2014/main" id="{EDBCAA5B-0784-1A08-2EBD-7FA2D390F30F}"/>
              </a:ext>
            </a:extLst>
          </p:cNvPr>
          <p:cNvSpPr>
            <a:spLocks noGrp="1"/>
          </p:cNvSpPr>
          <p:nvPr>
            <p:ph type="body" sz="quarter" idx="53" hasCustomPrompt="1"/>
          </p:nvPr>
        </p:nvSpPr>
        <p:spPr>
          <a:xfrm>
            <a:off x="5970402" y="3162809"/>
            <a:ext cx="1488561" cy="432523"/>
          </a:xfrm>
        </p:spPr>
        <p:txBody>
          <a:bodyPr numCol="1" spcCol="360000" anchor="ctr">
            <a:noAutofit/>
          </a:bodyPr>
          <a:lstStyle>
            <a:lvl1pPr marL="0" indent="0" algn="r">
              <a:lnSpc>
                <a:spcPct val="100000"/>
              </a:lnSpc>
              <a:buNone/>
              <a:defRPr sz="2000" b="1" i="0">
                <a:solidFill>
                  <a:schemeClr val="bg1"/>
                </a:solidFill>
                <a:latin typeface="Prometo" panose="020B0604030203060203" pitchFamily="34" charset="77"/>
                <a:cs typeface="Arial" panose="020B0604020202020204" pitchFamily="34" charset="0"/>
              </a:defRPr>
            </a:lvl1pPr>
          </a:lstStyle>
          <a:p>
            <a:pPr lvl="0"/>
            <a:r>
              <a:rPr lang="en-US" noProof="0"/>
              <a:t>YOUR TEXT</a:t>
            </a:r>
          </a:p>
        </p:txBody>
      </p:sp>
      <p:sp>
        <p:nvSpPr>
          <p:cNvPr id="53" name="Segnaposto testo 4">
            <a:extLst>
              <a:ext uri="{FF2B5EF4-FFF2-40B4-BE49-F238E27FC236}">
                <a16:creationId xmlns:a16="http://schemas.microsoft.com/office/drawing/2014/main" id="{8E893433-6C1D-434C-BCCB-B00F7079E72B}"/>
              </a:ext>
            </a:extLst>
          </p:cNvPr>
          <p:cNvSpPr>
            <a:spLocks noGrp="1"/>
          </p:cNvSpPr>
          <p:nvPr>
            <p:ph type="body" sz="quarter" idx="54" hasCustomPrompt="1"/>
          </p:nvPr>
        </p:nvSpPr>
        <p:spPr>
          <a:xfrm>
            <a:off x="5970401" y="4246916"/>
            <a:ext cx="1488561" cy="432523"/>
          </a:xfrm>
        </p:spPr>
        <p:txBody>
          <a:bodyPr numCol="1" spcCol="360000" anchor="ctr">
            <a:noAutofit/>
          </a:bodyPr>
          <a:lstStyle>
            <a:lvl1pPr marL="0" indent="0" algn="r">
              <a:lnSpc>
                <a:spcPct val="100000"/>
              </a:lnSpc>
              <a:buNone/>
              <a:defRPr sz="2000" b="1" i="0">
                <a:solidFill>
                  <a:schemeClr val="bg1"/>
                </a:solidFill>
                <a:latin typeface="Prometo" panose="020B0604030203060203" pitchFamily="34" charset="77"/>
                <a:cs typeface="Arial" panose="020B0604020202020204" pitchFamily="34" charset="0"/>
              </a:defRPr>
            </a:lvl1pPr>
          </a:lstStyle>
          <a:p>
            <a:pPr lvl="0"/>
            <a:r>
              <a:rPr lang="en-US" noProof="0"/>
              <a:t>YOUR TEXT</a:t>
            </a:r>
          </a:p>
        </p:txBody>
      </p:sp>
      <p:sp>
        <p:nvSpPr>
          <p:cNvPr id="54" name="Segnaposto testo 4">
            <a:extLst>
              <a:ext uri="{FF2B5EF4-FFF2-40B4-BE49-F238E27FC236}">
                <a16:creationId xmlns:a16="http://schemas.microsoft.com/office/drawing/2014/main" id="{7BE4F3DF-FDA6-18CE-A5C3-C2E98E67AB45}"/>
              </a:ext>
            </a:extLst>
          </p:cNvPr>
          <p:cNvSpPr>
            <a:spLocks noGrp="1"/>
          </p:cNvSpPr>
          <p:nvPr>
            <p:ph type="body" sz="quarter" idx="55" hasCustomPrompt="1"/>
          </p:nvPr>
        </p:nvSpPr>
        <p:spPr>
          <a:xfrm>
            <a:off x="5990299" y="5368506"/>
            <a:ext cx="1488561" cy="432523"/>
          </a:xfrm>
        </p:spPr>
        <p:txBody>
          <a:bodyPr numCol="1" spcCol="360000" anchor="ctr">
            <a:noAutofit/>
          </a:bodyPr>
          <a:lstStyle>
            <a:lvl1pPr marL="0" indent="0" algn="r">
              <a:lnSpc>
                <a:spcPct val="100000"/>
              </a:lnSpc>
              <a:buNone/>
              <a:defRPr sz="2000" b="1" i="0">
                <a:solidFill>
                  <a:schemeClr val="bg1"/>
                </a:solidFill>
                <a:latin typeface="Prometo" panose="020B0604030203060203" pitchFamily="34" charset="77"/>
                <a:cs typeface="Arial" panose="020B0604020202020204" pitchFamily="34" charset="0"/>
              </a:defRPr>
            </a:lvl1pPr>
          </a:lstStyle>
          <a:p>
            <a:pPr lvl="0"/>
            <a:r>
              <a:rPr lang="en-US" noProof="0"/>
              <a:t>YOUR TEXT</a:t>
            </a:r>
          </a:p>
        </p:txBody>
      </p:sp>
    </p:spTree>
    <p:extLst>
      <p:ext uri="{BB962C8B-B14F-4D97-AF65-F5344CB8AC3E}">
        <p14:creationId xmlns:p14="http://schemas.microsoft.com/office/powerpoint/2010/main" val="9353607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p:txBody>
          <a:bodyPr numCol="1"/>
          <a:lstStyle>
            <a:lvl1pPr>
              <a:lnSpc>
                <a:spcPct val="100000"/>
              </a:lnSpc>
              <a:defRPr/>
            </a:lvl1p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numCol="1"/>
          <a:lstStyle>
            <a:lvl1pPr>
              <a:lnSpc>
                <a:spcPct val="100000"/>
              </a:lnSpc>
              <a:defRPr/>
            </a:lvl1p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numCol="1"/>
          <a:lstStyle>
            <a:lvl1pPr>
              <a:lnSpc>
                <a:spcPct val="100000"/>
              </a:lnSpc>
              <a:defRPr/>
            </a:lvl1pPr>
          </a:lstStyle>
          <a:p>
            <a:r>
              <a:rPr lang="en-US" sz="800">
                <a:solidFill>
                  <a:schemeClr val="tx2"/>
                </a:solidFill>
                <a:ea typeface="Helvetica Neue Light" panose="02000403000000020004" pitchFamily="2" charset="0"/>
              </a:rPr>
              <a:t>©Selecta</a:t>
            </a:r>
          </a:p>
        </p:txBody>
      </p:sp>
      <p:grpSp>
        <p:nvGrpSpPr>
          <p:cNvPr id="57" name="Groep 56">
            <a:extLst>
              <a:ext uri="{FF2B5EF4-FFF2-40B4-BE49-F238E27FC236}">
                <a16:creationId xmlns:a16="http://schemas.microsoft.com/office/drawing/2014/main" id="{EFB838BE-102F-EFBD-F4A5-80F7E7F1F328}"/>
              </a:ext>
            </a:extLst>
          </p:cNvPr>
          <p:cNvGrpSpPr>
            <a:grpSpLocks noChangeAspect="1"/>
          </p:cNvGrpSpPr>
          <p:nvPr userDrawn="1"/>
        </p:nvGrpSpPr>
        <p:grpSpPr>
          <a:xfrm>
            <a:off x="2891460" y="1511459"/>
            <a:ext cx="8749679" cy="4784540"/>
            <a:chOff x="6303138" y="2166287"/>
            <a:chExt cx="10588547" cy="5790078"/>
          </a:xfrm>
        </p:grpSpPr>
        <p:grpSp>
          <p:nvGrpSpPr>
            <p:cNvPr id="31" name="Group 43">
              <a:extLst>
                <a:ext uri="{FF2B5EF4-FFF2-40B4-BE49-F238E27FC236}">
                  <a16:creationId xmlns:a16="http://schemas.microsoft.com/office/drawing/2014/main" id="{DBAB756A-F2F6-29CB-93EA-ECC0122B5560}"/>
                </a:ext>
              </a:extLst>
            </p:cNvPr>
            <p:cNvGrpSpPr/>
            <p:nvPr userDrawn="1"/>
          </p:nvGrpSpPr>
          <p:grpSpPr>
            <a:xfrm>
              <a:off x="6303138" y="2166287"/>
              <a:ext cx="5785874" cy="5790078"/>
              <a:chOff x="10628395" y="2062150"/>
              <a:chExt cx="5785874" cy="5790078"/>
            </a:xfrm>
          </p:grpSpPr>
          <p:sp>
            <p:nvSpPr>
              <p:cNvPr id="32" name="Oval 2">
                <a:extLst>
                  <a:ext uri="{FF2B5EF4-FFF2-40B4-BE49-F238E27FC236}">
                    <a16:creationId xmlns:a16="http://schemas.microsoft.com/office/drawing/2014/main" id="{9DE3FC9F-6AA3-5CBB-3808-DFF9CF5A4250}"/>
                  </a:ext>
                </a:extLst>
              </p:cNvPr>
              <p:cNvSpPr/>
              <p:nvPr/>
            </p:nvSpPr>
            <p:spPr>
              <a:xfrm>
                <a:off x="10628395" y="2066354"/>
                <a:ext cx="5785874" cy="5785874"/>
              </a:xfrm>
              <a:prstGeom prst="ellipse">
                <a:avLst/>
              </a:prstGeom>
              <a:solidFill>
                <a:schemeClr val="accent1">
                  <a:lumMod val="75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33" name="Oval 3">
                <a:extLst>
                  <a:ext uri="{FF2B5EF4-FFF2-40B4-BE49-F238E27FC236}">
                    <a16:creationId xmlns:a16="http://schemas.microsoft.com/office/drawing/2014/main" id="{8912E337-C041-BDD1-B163-22A15960DA5A}"/>
                  </a:ext>
                </a:extLst>
              </p:cNvPr>
              <p:cNvSpPr/>
              <p:nvPr/>
            </p:nvSpPr>
            <p:spPr>
              <a:xfrm>
                <a:off x="11226335" y="2062150"/>
                <a:ext cx="4589996" cy="4589995"/>
              </a:xfrm>
              <a:prstGeom prst="ellipse">
                <a:avLst/>
              </a:prstGeom>
              <a:solidFill>
                <a:schemeClr val="accent1"/>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34" name="Oval 4">
                <a:extLst>
                  <a:ext uri="{FF2B5EF4-FFF2-40B4-BE49-F238E27FC236}">
                    <a16:creationId xmlns:a16="http://schemas.microsoft.com/office/drawing/2014/main" id="{7532D506-CFB4-6ACE-41EA-0C2FD219A40E}"/>
                  </a:ext>
                </a:extLst>
              </p:cNvPr>
              <p:cNvSpPr/>
              <p:nvPr/>
            </p:nvSpPr>
            <p:spPr>
              <a:xfrm>
                <a:off x="11828476" y="2062150"/>
                <a:ext cx="3385712" cy="3385712"/>
              </a:xfrm>
              <a:prstGeom prst="ellipse">
                <a:avLst/>
              </a:prstGeom>
              <a:solidFill>
                <a:schemeClr val="accent1">
                  <a:lumMod val="60000"/>
                  <a:lumOff val="40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sp>
            <p:nvSpPr>
              <p:cNvPr id="35" name="Oval 5">
                <a:extLst>
                  <a:ext uri="{FF2B5EF4-FFF2-40B4-BE49-F238E27FC236}">
                    <a16:creationId xmlns:a16="http://schemas.microsoft.com/office/drawing/2014/main" id="{21BACC84-BB2E-6B0C-620F-8B57E138D90B}"/>
                  </a:ext>
                </a:extLst>
              </p:cNvPr>
              <p:cNvSpPr/>
              <p:nvPr/>
            </p:nvSpPr>
            <p:spPr>
              <a:xfrm>
                <a:off x="12429167" y="2062150"/>
                <a:ext cx="2184330" cy="2184329"/>
              </a:xfrm>
              <a:prstGeom prst="ellipse">
                <a:avLst/>
              </a:prstGeom>
              <a:solidFill>
                <a:schemeClr val="accent1">
                  <a:lumMod val="20000"/>
                  <a:lumOff val="80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p>
            </p:txBody>
          </p:sp>
        </p:grpSp>
        <p:grpSp>
          <p:nvGrpSpPr>
            <p:cNvPr id="40" name="Group 44">
              <a:extLst>
                <a:ext uri="{FF2B5EF4-FFF2-40B4-BE49-F238E27FC236}">
                  <a16:creationId xmlns:a16="http://schemas.microsoft.com/office/drawing/2014/main" id="{AD45EB08-3125-0310-91EA-C09CA82CAB46}"/>
                </a:ext>
              </a:extLst>
            </p:cNvPr>
            <p:cNvGrpSpPr/>
            <p:nvPr userDrawn="1"/>
          </p:nvGrpSpPr>
          <p:grpSpPr>
            <a:xfrm rot="10800000">
              <a:off x="9081890" y="3790713"/>
              <a:ext cx="7522453" cy="3959212"/>
              <a:chOff x="14134735" y="2979249"/>
              <a:chExt cx="7522453" cy="3959212"/>
            </a:xfrm>
          </p:grpSpPr>
          <p:sp>
            <p:nvSpPr>
              <p:cNvPr id="41" name="Oval 20">
                <a:extLst>
                  <a:ext uri="{FF2B5EF4-FFF2-40B4-BE49-F238E27FC236}">
                    <a16:creationId xmlns:a16="http://schemas.microsoft.com/office/drawing/2014/main" id="{6CF8199F-05DA-D050-E3F3-AE9FBFC844EA}"/>
                  </a:ext>
                </a:extLst>
              </p:cNvPr>
              <p:cNvSpPr/>
              <p:nvPr/>
            </p:nvSpPr>
            <p:spPr>
              <a:xfrm>
                <a:off x="21322013" y="2979249"/>
                <a:ext cx="223450" cy="2234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cxnSp>
            <p:nvCxnSpPr>
              <p:cNvPr id="42" name="Straight Connector 22">
                <a:extLst>
                  <a:ext uri="{FF2B5EF4-FFF2-40B4-BE49-F238E27FC236}">
                    <a16:creationId xmlns:a16="http://schemas.microsoft.com/office/drawing/2014/main" id="{4E03431B-2EB6-C9E1-1F70-126FC9656031}"/>
                  </a:ext>
                </a:extLst>
              </p:cNvPr>
              <p:cNvCxnSpPr>
                <a:stCxn id="41" idx="2"/>
              </p:cNvCxnSpPr>
              <p:nvPr/>
            </p:nvCxnSpPr>
            <p:spPr>
              <a:xfrm rot="10800000">
                <a:off x="14134735" y="3090974"/>
                <a:ext cx="71872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25">
                <a:extLst>
                  <a:ext uri="{FF2B5EF4-FFF2-40B4-BE49-F238E27FC236}">
                    <a16:creationId xmlns:a16="http://schemas.microsoft.com/office/drawing/2014/main" id="{64E7A69D-8551-3735-037A-9D8BAF20AB0D}"/>
                  </a:ext>
                </a:extLst>
              </p:cNvPr>
              <p:cNvSpPr/>
              <p:nvPr/>
            </p:nvSpPr>
            <p:spPr>
              <a:xfrm>
                <a:off x="21433738" y="4354153"/>
                <a:ext cx="223450" cy="2234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cxnSp>
            <p:nvCxnSpPr>
              <p:cNvPr id="44" name="Straight Connector 26">
                <a:extLst>
                  <a:ext uri="{FF2B5EF4-FFF2-40B4-BE49-F238E27FC236}">
                    <a16:creationId xmlns:a16="http://schemas.microsoft.com/office/drawing/2014/main" id="{1EBA0791-EEFC-F1BF-F4E9-660628100513}"/>
                  </a:ext>
                </a:extLst>
              </p:cNvPr>
              <p:cNvCxnSpPr>
                <a:stCxn id="43" idx="2"/>
              </p:cNvCxnSpPr>
              <p:nvPr/>
            </p:nvCxnSpPr>
            <p:spPr>
              <a:xfrm rot="10800000">
                <a:off x="14134735" y="4465878"/>
                <a:ext cx="72990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Oval 27">
                <a:extLst>
                  <a:ext uri="{FF2B5EF4-FFF2-40B4-BE49-F238E27FC236}">
                    <a16:creationId xmlns:a16="http://schemas.microsoft.com/office/drawing/2014/main" id="{21653447-CC23-10DC-CB38-71AD0CE51A8B}"/>
                  </a:ext>
                </a:extLst>
              </p:cNvPr>
              <p:cNvSpPr/>
              <p:nvPr/>
            </p:nvSpPr>
            <p:spPr>
              <a:xfrm>
                <a:off x="21433738" y="5512071"/>
                <a:ext cx="223450" cy="2234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cxnSp>
            <p:nvCxnSpPr>
              <p:cNvPr id="46" name="Straight Connector 28">
                <a:extLst>
                  <a:ext uri="{FF2B5EF4-FFF2-40B4-BE49-F238E27FC236}">
                    <a16:creationId xmlns:a16="http://schemas.microsoft.com/office/drawing/2014/main" id="{8339EF4C-CA9C-64F4-B498-73A8F15B388A}"/>
                  </a:ext>
                </a:extLst>
              </p:cNvPr>
              <p:cNvCxnSpPr>
                <a:stCxn id="45" idx="2"/>
              </p:cNvCxnSpPr>
              <p:nvPr/>
            </p:nvCxnSpPr>
            <p:spPr>
              <a:xfrm rot="10800000">
                <a:off x="14134735" y="5623796"/>
                <a:ext cx="72990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Oval 29">
                <a:extLst>
                  <a:ext uri="{FF2B5EF4-FFF2-40B4-BE49-F238E27FC236}">
                    <a16:creationId xmlns:a16="http://schemas.microsoft.com/office/drawing/2014/main" id="{877B047F-3DD6-4CCE-D485-EC27729F73AB}"/>
                  </a:ext>
                </a:extLst>
              </p:cNvPr>
              <p:cNvSpPr/>
              <p:nvPr/>
            </p:nvSpPr>
            <p:spPr>
              <a:xfrm>
                <a:off x="21433738" y="6715011"/>
                <a:ext cx="223450" cy="2234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GB"/>
              </a:p>
            </p:txBody>
          </p:sp>
          <p:cxnSp>
            <p:nvCxnSpPr>
              <p:cNvPr id="48" name="Straight Connector 30">
                <a:extLst>
                  <a:ext uri="{FF2B5EF4-FFF2-40B4-BE49-F238E27FC236}">
                    <a16:creationId xmlns:a16="http://schemas.microsoft.com/office/drawing/2014/main" id="{0A7CAC7A-317B-993B-0234-C5817A27E76F}"/>
                  </a:ext>
                </a:extLst>
              </p:cNvPr>
              <p:cNvCxnSpPr>
                <a:stCxn id="47" idx="2"/>
              </p:cNvCxnSpPr>
              <p:nvPr/>
            </p:nvCxnSpPr>
            <p:spPr>
              <a:xfrm rot="10800000">
                <a:off x="14134735" y="6826736"/>
                <a:ext cx="72990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Rounded Rectangle 31">
              <a:extLst>
                <a:ext uri="{FF2B5EF4-FFF2-40B4-BE49-F238E27FC236}">
                  <a16:creationId xmlns:a16="http://schemas.microsoft.com/office/drawing/2014/main" id="{0C681025-9685-72F1-9365-DC72BF000102}"/>
                </a:ext>
              </a:extLst>
            </p:cNvPr>
            <p:cNvSpPr/>
            <p:nvPr userDrawn="1"/>
          </p:nvSpPr>
          <p:spPr>
            <a:xfrm rot="18900000">
              <a:off x="16653643" y="3783335"/>
              <a:ext cx="238042" cy="238042"/>
            </a:xfrm>
            <a:prstGeom prst="roundRect">
              <a:avLst>
                <a:gd name="adj" fmla="val 2678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latin typeface="Arial" panose="020B0604020202020204" pitchFamily="34" charset="0"/>
                <a:cs typeface="Arial" panose="020B0604020202020204" pitchFamily="34" charset="0"/>
              </a:endParaRPr>
            </a:p>
          </p:txBody>
        </p:sp>
        <p:sp>
          <p:nvSpPr>
            <p:cNvPr id="54" name="Rounded Rectangle 33">
              <a:extLst>
                <a:ext uri="{FF2B5EF4-FFF2-40B4-BE49-F238E27FC236}">
                  <a16:creationId xmlns:a16="http://schemas.microsoft.com/office/drawing/2014/main" id="{76D2A643-A10E-3112-F12E-507A623E6788}"/>
                </a:ext>
              </a:extLst>
            </p:cNvPr>
            <p:cNvSpPr/>
            <p:nvPr userDrawn="1"/>
          </p:nvSpPr>
          <p:spPr>
            <a:xfrm rot="18900000">
              <a:off x="16653643" y="5001896"/>
              <a:ext cx="238042" cy="238042"/>
            </a:xfrm>
            <a:prstGeom prst="roundRect">
              <a:avLst>
                <a:gd name="adj" fmla="val 2678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latin typeface="Arial" panose="020B0604020202020204" pitchFamily="34" charset="0"/>
                <a:cs typeface="Arial" panose="020B0604020202020204" pitchFamily="34" charset="0"/>
              </a:endParaRPr>
            </a:p>
          </p:txBody>
        </p:sp>
        <p:sp>
          <p:nvSpPr>
            <p:cNvPr id="55" name="Rounded Rectangle 34">
              <a:extLst>
                <a:ext uri="{FF2B5EF4-FFF2-40B4-BE49-F238E27FC236}">
                  <a16:creationId xmlns:a16="http://schemas.microsoft.com/office/drawing/2014/main" id="{A1EF69E1-9933-D98B-8ACC-DBED70DCFE14}"/>
                </a:ext>
              </a:extLst>
            </p:cNvPr>
            <p:cNvSpPr/>
            <p:nvPr userDrawn="1"/>
          </p:nvSpPr>
          <p:spPr>
            <a:xfrm rot="18900000">
              <a:off x="16653643" y="6148265"/>
              <a:ext cx="238042" cy="238042"/>
            </a:xfrm>
            <a:prstGeom prst="roundRect">
              <a:avLst>
                <a:gd name="adj" fmla="val 2678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latin typeface="Arial" panose="020B0604020202020204" pitchFamily="34" charset="0"/>
                <a:cs typeface="Arial" panose="020B0604020202020204" pitchFamily="34" charset="0"/>
              </a:endParaRPr>
            </a:p>
          </p:txBody>
        </p:sp>
        <p:sp>
          <p:nvSpPr>
            <p:cNvPr id="56" name="Rounded Rectangle 35">
              <a:extLst>
                <a:ext uri="{FF2B5EF4-FFF2-40B4-BE49-F238E27FC236}">
                  <a16:creationId xmlns:a16="http://schemas.microsoft.com/office/drawing/2014/main" id="{B0764D60-EB9F-D4A8-C08D-E74C95DF926F}"/>
                </a:ext>
              </a:extLst>
            </p:cNvPr>
            <p:cNvSpPr/>
            <p:nvPr userDrawn="1"/>
          </p:nvSpPr>
          <p:spPr>
            <a:xfrm rot="18900000">
              <a:off x="16653643" y="7519180"/>
              <a:ext cx="238042" cy="238042"/>
            </a:xfrm>
            <a:prstGeom prst="roundRect">
              <a:avLst>
                <a:gd name="adj" fmla="val 2678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lnSpc>
                  <a:spcPct val="100000"/>
                </a:lnSpc>
              </a:pPr>
              <a:endParaRPr lang="en-US">
                <a:latin typeface="Arial" panose="020B0604020202020204" pitchFamily="34" charset="0"/>
                <a:cs typeface="Arial" panose="020B0604020202020204" pitchFamily="34" charset="0"/>
              </a:endParaRPr>
            </a:p>
          </p:txBody>
        </p:sp>
      </p:grpSp>
      <p:sp>
        <p:nvSpPr>
          <p:cNvPr id="58" name="Segnaposto testo 4">
            <a:extLst>
              <a:ext uri="{FF2B5EF4-FFF2-40B4-BE49-F238E27FC236}">
                <a16:creationId xmlns:a16="http://schemas.microsoft.com/office/drawing/2014/main" id="{A42E40D9-6886-518F-9199-B7B0CEBF1EE7}"/>
              </a:ext>
            </a:extLst>
          </p:cNvPr>
          <p:cNvSpPr>
            <a:spLocks noGrp="1"/>
          </p:cNvSpPr>
          <p:nvPr>
            <p:ph type="body" sz="quarter" idx="33" hasCustomPrompt="1"/>
          </p:nvPr>
        </p:nvSpPr>
        <p:spPr>
          <a:xfrm>
            <a:off x="4535678" y="2008796"/>
            <a:ext cx="1488561" cy="432523"/>
          </a:xfrm>
        </p:spPr>
        <p:txBody>
          <a:bodyPr numCol="1" spcCol="360000" anchor="ctr">
            <a:noAutofit/>
          </a:bodyPr>
          <a:lstStyle>
            <a:lvl1pPr marL="0" indent="0" algn="ctr">
              <a:lnSpc>
                <a:spcPct val="100000"/>
              </a:lnSpc>
              <a:buNone/>
              <a:defRPr sz="1600" b="1" i="0">
                <a:solidFill>
                  <a:schemeClr val="tx1"/>
                </a:solidFill>
                <a:latin typeface="Prometo" panose="020B0604030203060203" pitchFamily="34" charset="77"/>
                <a:cs typeface="Arial" panose="020B0604020202020204" pitchFamily="34" charset="0"/>
              </a:defRPr>
            </a:lvl1pPr>
          </a:lstStyle>
          <a:p>
            <a:pPr lvl="0"/>
            <a:r>
              <a:rPr lang="en-US" noProof="0"/>
              <a:t>YOUR TEXT</a:t>
            </a:r>
          </a:p>
        </p:txBody>
      </p:sp>
      <p:sp>
        <p:nvSpPr>
          <p:cNvPr id="59" name="Segnaposto testo 4">
            <a:extLst>
              <a:ext uri="{FF2B5EF4-FFF2-40B4-BE49-F238E27FC236}">
                <a16:creationId xmlns:a16="http://schemas.microsoft.com/office/drawing/2014/main" id="{B9850E10-9F63-5461-B6F4-68F4D738A794}"/>
              </a:ext>
            </a:extLst>
          </p:cNvPr>
          <p:cNvSpPr>
            <a:spLocks noGrp="1"/>
          </p:cNvSpPr>
          <p:nvPr>
            <p:ph type="body" sz="quarter" idx="34" hasCustomPrompt="1"/>
          </p:nvPr>
        </p:nvSpPr>
        <p:spPr>
          <a:xfrm>
            <a:off x="4535678" y="3347907"/>
            <a:ext cx="1488561" cy="432523"/>
          </a:xfrm>
        </p:spPr>
        <p:txBody>
          <a:bodyPr numCol="1" spcCol="360000" anchor="ctr">
            <a:noAutofit/>
          </a:bodyPr>
          <a:lstStyle>
            <a:lvl1pPr marL="0" indent="0" algn="ctr">
              <a:lnSpc>
                <a:spcPct val="100000"/>
              </a:lnSpc>
              <a:buNone/>
              <a:defRPr sz="1600" b="1" i="0">
                <a:solidFill>
                  <a:schemeClr val="tx1"/>
                </a:solidFill>
                <a:latin typeface="Prometo" panose="020B0604030203060203" pitchFamily="34" charset="77"/>
                <a:cs typeface="Arial" panose="020B0604020202020204" pitchFamily="34" charset="0"/>
              </a:defRPr>
            </a:lvl1pPr>
          </a:lstStyle>
          <a:p>
            <a:pPr lvl="0"/>
            <a:r>
              <a:rPr lang="en-US" noProof="0"/>
              <a:t>YOUR TEXT</a:t>
            </a:r>
          </a:p>
        </p:txBody>
      </p:sp>
      <p:sp>
        <p:nvSpPr>
          <p:cNvPr id="60" name="Segnaposto testo 4">
            <a:extLst>
              <a:ext uri="{FF2B5EF4-FFF2-40B4-BE49-F238E27FC236}">
                <a16:creationId xmlns:a16="http://schemas.microsoft.com/office/drawing/2014/main" id="{4D1CC33E-6CAF-9ABA-6A75-F5917C86F533}"/>
              </a:ext>
            </a:extLst>
          </p:cNvPr>
          <p:cNvSpPr>
            <a:spLocks noGrp="1"/>
          </p:cNvSpPr>
          <p:nvPr>
            <p:ph type="body" sz="quarter" idx="35" hasCustomPrompt="1"/>
          </p:nvPr>
        </p:nvSpPr>
        <p:spPr>
          <a:xfrm>
            <a:off x="4535678" y="4341273"/>
            <a:ext cx="1488561" cy="432523"/>
          </a:xfrm>
        </p:spPr>
        <p:txBody>
          <a:bodyPr numCol="1" spcCol="360000" anchor="ctr">
            <a:noAutofit/>
          </a:bodyPr>
          <a:lstStyle>
            <a:lvl1pPr marL="0" indent="0" algn="ctr">
              <a:lnSpc>
                <a:spcPct val="100000"/>
              </a:lnSpc>
              <a:buNone/>
              <a:defRPr sz="1600" b="1" i="0">
                <a:solidFill>
                  <a:schemeClr val="tx1"/>
                </a:solidFill>
                <a:latin typeface="Prometo" panose="020B0604030203060203" pitchFamily="34" charset="77"/>
                <a:cs typeface="Arial" panose="020B0604020202020204" pitchFamily="34" charset="0"/>
              </a:defRPr>
            </a:lvl1pPr>
          </a:lstStyle>
          <a:p>
            <a:pPr lvl="0"/>
            <a:r>
              <a:rPr lang="en-US" noProof="0"/>
              <a:t>YOUR TEXT</a:t>
            </a:r>
          </a:p>
        </p:txBody>
      </p:sp>
      <p:sp>
        <p:nvSpPr>
          <p:cNvPr id="61" name="Segnaposto testo 4">
            <a:extLst>
              <a:ext uri="{FF2B5EF4-FFF2-40B4-BE49-F238E27FC236}">
                <a16:creationId xmlns:a16="http://schemas.microsoft.com/office/drawing/2014/main" id="{CC171010-3927-72E7-D2A0-DD9A1D6F08A1}"/>
              </a:ext>
            </a:extLst>
          </p:cNvPr>
          <p:cNvSpPr>
            <a:spLocks noGrp="1"/>
          </p:cNvSpPr>
          <p:nvPr>
            <p:ph type="body" sz="quarter" idx="36" hasCustomPrompt="1"/>
          </p:nvPr>
        </p:nvSpPr>
        <p:spPr>
          <a:xfrm>
            <a:off x="4535678" y="5377170"/>
            <a:ext cx="1488561" cy="432523"/>
          </a:xfrm>
        </p:spPr>
        <p:txBody>
          <a:bodyPr numCol="1" spcCol="360000" anchor="ctr">
            <a:noAutofit/>
          </a:bodyPr>
          <a:lstStyle>
            <a:lvl1pPr marL="0" indent="0" algn="ctr">
              <a:lnSpc>
                <a:spcPct val="100000"/>
              </a:lnSpc>
              <a:buNone/>
              <a:defRPr sz="1600" b="1" i="0">
                <a:solidFill>
                  <a:schemeClr val="tx1"/>
                </a:solidFill>
                <a:latin typeface="Prometo" panose="020B0604030203060203" pitchFamily="34" charset="77"/>
                <a:cs typeface="Arial" panose="020B0604020202020204" pitchFamily="34" charset="0"/>
              </a:defRPr>
            </a:lvl1pPr>
          </a:lstStyle>
          <a:p>
            <a:pPr lvl="0"/>
            <a:r>
              <a:rPr lang="en-US" noProof="0"/>
              <a:t>YOUR TEXT</a:t>
            </a:r>
          </a:p>
        </p:txBody>
      </p:sp>
      <p:sp>
        <p:nvSpPr>
          <p:cNvPr id="62" name="Segnaposto testo 4">
            <a:extLst>
              <a:ext uri="{FF2B5EF4-FFF2-40B4-BE49-F238E27FC236}">
                <a16:creationId xmlns:a16="http://schemas.microsoft.com/office/drawing/2014/main" id="{A3F4AC6C-03E3-5D53-B041-03D77F306CEF}"/>
              </a:ext>
            </a:extLst>
          </p:cNvPr>
          <p:cNvSpPr>
            <a:spLocks noGrp="1"/>
          </p:cNvSpPr>
          <p:nvPr>
            <p:ph type="body" sz="quarter" idx="20" hasCustomPrompt="1"/>
          </p:nvPr>
        </p:nvSpPr>
        <p:spPr>
          <a:xfrm>
            <a:off x="8072125" y="2032775"/>
            <a:ext cx="3569014" cy="78406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63" name="Segnaposto testo 4">
            <a:extLst>
              <a:ext uri="{FF2B5EF4-FFF2-40B4-BE49-F238E27FC236}">
                <a16:creationId xmlns:a16="http://schemas.microsoft.com/office/drawing/2014/main" id="{E98B33F8-C49A-F2EF-D70F-CA290817524B}"/>
              </a:ext>
            </a:extLst>
          </p:cNvPr>
          <p:cNvSpPr>
            <a:spLocks noGrp="1"/>
          </p:cNvSpPr>
          <p:nvPr>
            <p:ph type="body" sz="quarter" idx="37" hasCustomPrompt="1"/>
          </p:nvPr>
        </p:nvSpPr>
        <p:spPr>
          <a:xfrm>
            <a:off x="8072125" y="3027642"/>
            <a:ext cx="3569014" cy="78406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64" name="Segnaposto testo 4">
            <a:extLst>
              <a:ext uri="{FF2B5EF4-FFF2-40B4-BE49-F238E27FC236}">
                <a16:creationId xmlns:a16="http://schemas.microsoft.com/office/drawing/2014/main" id="{91A54B42-63E1-0710-5620-8C3EFC4F25CF}"/>
              </a:ext>
            </a:extLst>
          </p:cNvPr>
          <p:cNvSpPr>
            <a:spLocks noGrp="1"/>
          </p:cNvSpPr>
          <p:nvPr>
            <p:ph type="body" sz="quarter" idx="38" hasCustomPrompt="1"/>
          </p:nvPr>
        </p:nvSpPr>
        <p:spPr>
          <a:xfrm>
            <a:off x="8072125" y="4022509"/>
            <a:ext cx="3569014" cy="78406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65" name="Segnaposto testo 4">
            <a:extLst>
              <a:ext uri="{FF2B5EF4-FFF2-40B4-BE49-F238E27FC236}">
                <a16:creationId xmlns:a16="http://schemas.microsoft.com/office/drawing/2014/main" id="{C8D70429-A753-2D03-4284-48DC3F9FB457}"/>
              </a:ext>
            </a:extLst>
          </p:cNvPr>
          <p:cNvSpPr>
            <a:spLocks noGrp="1"/>
          </p:cNvSpPr>
          <p:nvPr>
            <p:ph type="body" sz="quarter" idx="39" hasCustomPrompt="1"/>
          </p:nvPr>
        </p:nvSpPr>
        <p:spPr>
          <a:xfrm>
            <a:off x="8072125" y="5048887"/>
            <a:ext cx="3569014" cy="784065"/>
          </a:xfrm>
        </p:spPr>
        <p:txBody>
          <a:bodyPr numCol="1" spcCol="360000">
            <a:normAutofit/>
          </a:bodyPr>
          <a:lstStyle>
            <a:lvl1pPr marL="0" indent="0" algn="just">
              <a:lnSpc>
                <a:spcPct val="100000"/>
              </a:lnSpc>
              <a:buNone/>
              <a:defRPr sz="1000" b="0" i="0">
                <a:latin typeface="Arial" panose="020B0604020202020204" pitchFamily="34" charset="0"/>
                <a:cs typeface="Arial" panose="020B0604020202020204" pitchFamily="34" charset="0"/>
              </a:defRPr>
            </a:lvl1pPr>
          </a:lstStyle>
          <a:p>
            <a:pPr lvl="0"/>
            <a:r>
              <a:rPr lang="en-US" noProof="0"/>
              <a:t>Copy</a:t>
            </a:r>
          </a:p>
        </p:txBody>
      </p:sp>
      <p:sp>
        <p:nvSpPr>
          <p:cNvPr id="66" name="Segnaposto testo 4">
            <a:extLst>
              <a:ext uri="{FF2B5EF4-FFF2-40B4-BE49-F238E27FC236}">
                <a16:creationId xmlns:a16="http://schemas.microsoft.com/office/drawing/2014/main" id="{5538CF63-10C4-3461-D207-D3B46296BB37}"/>
              </a:ext>
            </a:extLst>
          </p:cNvPr>
          <p:cNvSpPr>
            <a:spLocks noGrp="1"/>
          </p:cNvSpPr>
          <p:nvPr>
            <p:ph type="body" sz="quarter" idx="40" hasCustomPrompt="1"/>
          </p:nvPr>
        </p:nvSpPr>
        <p:spPr>
          <a:xfrm>
            <a:off x="610686" y="3172135"/>
            <a:ext cx="2118251" cy="251429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29253395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Text slide_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1E328A-AF24-FF6B-FDC3-E7797B4E1E72}"/>
              </a:ext>
            </a:extLst>
          </p:cNvPr>
          <p:cNvSpPr>
            <a:spLocks noGrp="1"/>
          </p:cNvSpPr>
          <p:nvPr>
            <p:ph type="title"/>
          </p:nvPr>
        </p:nvSpPr>
        <p:spPr>
          <a:xfrm>
            <a:off x="550863" y="549276"/>
            <a:ext cx="6213919" cy="827087"/>
          </a:xfrm>
        </p:spPr>
        <p:txBody>
          <a:bodyPr/>
          <a:lstStyle/>
          <a:p>
            <a:r>
              <a:rPr lang="nl-NL"/>
              <a:t>Klik om stijl te bewerken</a:t>
            </a:r>
            <a:endParaRPr lang="en-GB"/>
          </a:p>
        </p:txBody>
      </p:sp>
      <p:sp>
        <p:nvSpPr>
          <p:cNvPr id="3" name="Tijdelijke aanduiding voor dianummer 2">
            <a:extLst>
              <a:ext uri="{FF2B5EF4-FFF2-40B4-BE49-F238E27FC236}">
                <a16:creationId xmlns:a16="http://schemas.microsoft.com/office/drawing/2014/main" id="{450C01E3-2402-06B3-F15B-30907B077CD7}"/>
              </a:ext>
            </a:extLst>
          </p:cNvPr>
          <p:cNvSpPr>
            <a:spLocks noGrp="1"/>
          </p:cNvSpPr>
          <p:nvPr>
            <p:ph type="sldNum" sz="quarter" idx="10"/>
          </p:nvPr>
        </p:nvSpPr>
        <p:spPr/>
        <p:txBody>
          <a:bodyPr/>
          <a:lstStyle/>
          <a:p>
            <a:fld id="{015F0CDB-A812-4850-A270-8696C5F0BFD2}" type="slidenum">
              <a:rPr lang="en-GB" smtClean="0"/>
              <a:pPr/>
              <a:t>‹#›</a:t>
            </a:fld>
            <a:endParaRPr lang="en-GB"/>
          </a:p>
        </p:txBody>
      </p:sp>
      <p:sp>
        <p:nvSpPr>
          <p:cNvPr id="4" name="Tijdelijke aanduiding voor voettekst 3">
            <a:extLst>
              <a:ext uri="{FF2B5EF4-FFF2-40B4-BE49-F238E27FC236}">
                <a16:creationId xmlns:a16="http://schemas.microsoft.com/office/drawing/2014/main" id="{005D49F0-2FDB-8825-E3C1-526F130423FE}"/>
              </a:ext>
            </a:extLst>
          </p:cNvPr>
          <p:cNvSpPr>
            <a:spLocks noGrp="1"/>
          </p:cNvSpPr>
          <p:nvPr>
            <p:ph type="ftr" sz="quarter" idx="11"/>
          </p:nvPr>
        </p:nvSpPr>
        <p:spPr/>
        <p:txBody>
          <a:bodyPr/>
          <a:lstStyle/>
          <a:p>
            <a:r>
              <a:rPr lang="en-US" sz="800">
                <a:solidFill>
                  <a:schemeClr val="tx2"/>
                </a:solidFill>
                <a:ea typeface="Helvetica Neue Light" panose="02000403000000020004" pitchFamily="2" charset="0"/>
              </a:rPr>
              <a:t>©Selecta</a:t>
            </a:r>
          </a:p>
        </p:txBody>
      </p:sp>
      <p:grpSp>
        <p:nvGrpSpPr>
          <p:cNvPr id="5" name="Group 362">
            <a:extLst>
              <a:ext uri="{FF2B5EF4-FFF2-40B4-BE49-F238E27FC236}">
                <a16:creationId xmlns:a16="http://schemas.microsoft.com/office/drawing/2014/main" id="{97772A54-B00F-FF58-AB5E-FA54FF4122D6}"/>
              </a:ext>
            </a:extLst>
          </p:cNvPr>
          <p:cNvGrpSpPr>
            <a:grpSpLocks noChangeAspect="1"/>
          </p:cNvGrpSpPr>
          <p:nvPr userDrawn="1"/>
        </p:nvGrpSpPr>
        <p:grpSpPr bwMode="gray">
          <a:xfrm rot="1061277">
            <a:off x="4994867" y="-623760"/>
            <a:ext cx="6407437" cy="7489046"/>
            <a:chOff x="4580731" y="1911697"/>
            <a:chExt cx="879476" cy="1109663"/>
          </a:xfrm>
          <a:solidFill>
            <a:schemeClr val="bg1">
              <a:lumMod val="50000"/>
            </a:schemeClr>
          </a:solidFill>
          <a:effectLst/>
        </p:grpSpPr>
        <p:sp>
          <p:nvSpPr>
            <p:cNvPr id="6" name="Freeform 175">
              <a:extLst>
                <a:ext uri="{FF2B5EF4-FFF2-40B4-BE49-F238E27FC236}">
                  <a16:creationId xmlns:a16="http://schemas.microsoft.com/office/drawing/2014/main" id="{104A362E-E067-0315-CB1A-A1929DFB64B8}"/>
                </a:ext>
              </a:extLst>
            </p:cNvPr>
            <p:cNvSpPr>
              <a:spLocks noChangeAspect="1"/>
            </p:cNvSpPr>
            <p:nvPr/>
          </p:nvSpPr>
          <p:spPr bwMode="gray">
            <a:xfrm>
              <a:off x="4923631" y="2716560"/>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7" name="Freeform 176">
              <a:extLst>
                <a:ext uri="{FF2B5EF4-FFF2-40B4-BE49-F238E27FC236}">
                  <a16:creationId xmlns:a16="http://schemas.microsoft.com/office/drawing/2014/main" id="{203D4829-8119-A1B4-2E87-0C496D2AC72C}"/>
                </a:ext>
              </a:extLst>
            </p:cNvPr>
            <p:cNvSpPr>
              <a:spLocks noChangeAspect="1"/>
            </p:cNvSpPr>
            <p:nvPr/>
          </p:nvSpPr>
          <p:spPr bwMode="gray">
            <a:xfrm>
              <a:off x="4783931" y="2875310"/>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8" name="Freeform 177">
              <a:extLst>
                <a:ext uri="{FF2B5EF4-FFF2-40B4-BE49-F238E27FC236}">
                  <a16:creationId xmlns:a16="http://schemas.microsoft.com/office/drawing/2014/main" id="{CB10C922-B78C-7710-88B1-2E65EE7C7E7E}"/>
                </a:ext>
              </a:extLst>
            </p:cNvPr>
            <p:cNvSpPr>
              <a:spLocks noChangeAspect="1"/>
            </p:cNvSpPr>
            <p:nvPr/>
          </p:nvSpPr>
          <p:spPr bwMode="gray">
            <a:xfrm>
              <a:off x="4925219" y="2757835"/>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accent3"/>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nvGrpSpPr>
            <p:cNvPr id="9" name="Group 178">
              <a:extLst>
                <a:ext uri="{FF2B5EF4-FFF2-40B4-BE49-F238E27FC236}">
                  <a16:creationId xmlns:a16="http://schemas.microsoft.com/office/drawing/2014/main" id="{5C8D77E2-644D-5088-8934-3D9AAC009952}"/>
                </a:ext>
              </a:extLst>
            </p:cNvPr>
            <p:cNvGrpSpPr>
              <a:grpSpLocks noChangeAspect="1"/>
            </p:cNvGrpSpPr>
            <p:nvPr/>
          </p:nvGrpSpPr>
          <p:grpSpPr bwMode="gray">
            <a:xfrm>
              <a:off x="4876006" y="2765772"/>
              <a:ext cx="204788" cy="242888"/>
              <a:chOff x="2589" y="1903"/>
              <a:chExt cx="129" cy="153"/>
            </a:xfrm>
            <a:grpFill/>
          </p:grpSpPr>
          <p:sp>
            <p:nvSpPr>
              <p:cNvPr id="52" name="Freeform 179">
                <a:extLst>
                  <a:ext uri="{FF2B5EF4-FFF2-40B4-BE49-F238E27FC236}">
                    <a16:creationId xmlns:a16="http://schemas.microsoft.com/office/drawing/2014/main" id="{9BDA7E96-D682-5F36-738E-548C6CB24FE7}"/>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53" name="Freeform 180">
                <a:extLst>
                  <a:ext uri="{FF2B5EF4-FFF2-40B4-BE49-F238E27FC236}">
                    <a16:creationId xmlns:a16="http://schemas.microsoft.com/office/drawing/2014/main" id="{5C4D9102-077B-C79A-45FF-030FBF32151B}"/>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54" name="Freeform 181">
                <a:extLst>
                  <a:ext uri="{FF2B5EF4-FFF2-40B4-BE49-F238E27FC236}">
                    <a16:creationId xmlns:a16="http://schemas.microsoft.com/office/drawing/2014/main" id="{E74D5EFA-F109-F6C1-A2DD-3DAA814EC3D2}"/>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accent3"/>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sp>
          <p:nvSpPr>
            <p:cNvPr id="10" name="Freeform 182">
              <a:extLst>
                <a:ext uri="{FF2B5EF4-FFF2-40B4-BE49-F238E27FC236}">
                  <a16:creationId xmlns:a16="http://schemas.microsoft.com/office/drawing/2014/main" id="{7B5E3123-9285-F2E9-E6E4-9F1BF0072629}"/>
                </a:ext>
              </a:extLst>
            </p:cNvPr>
            <p:cNvSpPr>
              <a:spLocks noChangeAspect="1"/>
            </p:cNvSpPr>
            <p:nvPr/>
          </p:nvSpPr>
          <p:spPr bwMode="gray">
            <a:xfrm>
              <a:off x="4858544" y="2684810"/>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1" name="Freeform 183">
              <a:extLst>
                <a:ext uri="{FF2B5EF4-FFF2-40B4-BE49-F238E27FC236}">
                  <a16:creationId xmlns:a16="http://schemas.microsoft.com/office/drawing/2014/main" id="{A403ABEF-4035-26D7-0562-7B4672797874}"/>
                </a:ext>
              </a:extLst>
            </p:cNvPr>
            <p:cNvSpPr>
              <a:spLocks noChangeAspect="1"/>
            </p:cNvSpPr>
            <p:nvPr/>
          </p:nvSpPr>
          <p:spPr bwMode="gray">
            <a:xfrm>
              <a:off x="4863306" y="2751485"/>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2" name="Freeform 184">
              <a:extLst>
                <a:ext uri="{FF2B5EF4-FFF2-40B4-BE49-F238E27FC236}">
                  <a16:creationId xmlns:a16="http://schemas.microsoft.com/office/drawing/2014/main" id="{C4544918-6BC8-0EAA-B197-F5E1697D8C68}"/>
                </a:ext>
              </a:extLst>
            </p:cNvPr>
            <p:cNvSpPr>
              <a:spLocks noChangeAspect="1"/>
            </p:cNvSpPr>
            <p:nvPr/>
          </p:nvSpPr>
          <p:spPr bwMode="gray">
            <a:xfrm>
              <a:off x="4809331" y="2649885"/>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accent3"/>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3" name="Freeform 185">
              <a:extLst>
                <a:ext uri="{FF2B5EF4-FFF2-40B4-BE49-F238E27FC236}">
                  <a16:creationId xmlns:a16="http://schemas.microsoft.com/office/drawing/2014/main" id="{7DC90B35-2D56-9517-E93D-AB3A73956B6A}"/>
                </a:ext>
              </a:extLst>
            </p:cNvPr>
            <p:cNvSpPr>
              <a:spLocks noChangeAspect="1"/>
            </p:cNvSpPr>
            <p:nvPr/>
          </p:nvSpPr>
          <p:spPr bwMode="gray">
            <a:xfrm>
              <a:off x="4601369" y="2848322"/>
              <a:ext cx="217488" cy="173038"/>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4" name="Freeform 186">
              <a:extLst>
                <a:ext uri="{FF2B5EF4-FFF2-40B4-BE49-F238E27FC236}">
                  <a16:creationId xmlns:a16="http://schemas.microsoft.com/office/drawing/2014/main" id="{94CAC2E8-8ABA-1A82-E7CB-D3D39756F903}"/>
                </a:ext>
              </a:extLst>
            </p:cNvPr>
            <p:cNvSpPr>
              <a:spLocks noChangeAspect="1"/>
            </p:cNvSpPr>
            <p:nvPr/>
          </p:nvSpPr>
          <p:spPr bwMode="gray">
            <a:xfrm>
              <a:off x="4820444" y="2592735"/>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accent4">
                <a:lumMod val="60000"/>
                <a:lumOff val="40000"/>
              </a:schemeClr>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5" name="Freeform 187">
              <a:extLst>
                <a:ext uri="{FF2B5EF4-FFF2-40B4-BE49-F238E27FC236}">
                  <a16:creationId xmlns:a16="http://schemas.microsoft.com/office/drawing/2014/main" id="{7C7630C8-9B6B-5A28-495A-358CDF30E281}"/>
                </a:ext>
              </a:extLst>
            </p:cNvPr>
            <p:cNvSpPr>
              <a:spLocks noChangeAspect="1"/>
            </p:cNvSpPr>
            <p:nvPr/>
          </p:nvSpPr>
          <p:spPr bwMode="gray">
            <a:xfrm>
              <a:off x="4598194" y="2888010"/>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16" name="Freeform 188">
              <a:extLst>
                <a:ext uri="{FF2B5EF4-FFF2-40B4-BE49-F238E27FC236}">
                  <a16:creationId xmlns:a16="http://schemas.microsoft.com/office/drawing/2014/main" id="{6FD266CD-710A-B906-B278-CB004E8F0CA3}"/>
                </a:ext>
              </a:extLst>
            </p:cNvPr>
            <p:cNvSpPr>
              <a:spLocks noChangeAspect="1"/>
            </p:cNvSpPr>
            <p:nvPr/>
          </p:nvSpPr>
          <p:spPr bwMode="gray">
            <a:xfrm>
              <a:off x="4863306" y="2549872"/>
              <a:ext cx="155575"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nvGrpSpPr>
            <p:cNvPr id="17" name="Group 189">
              <a:extLst>
                <a:ext uri="{FF2B5EF4-FFF2-40B4-BE49-F238E27FC236}">
                  <a16:creationId xmlns:a16="http://schemas.microsoft.com/office/drawing/2014/main" id="{9878F9AA-F2B3-D4D6-9782-51001194F45B}"/>
                </a:ext>
              </a:extLst>
            </p:cNvPr>
            <p:cNvGrpSpPr>
              <a:grpSpLocks noChangeAspect="1"/>
            </p:cNvGrpSpPr>
            <p:nvPr/>
          </p:nvGrpSpPr>
          <p:grpSpPr bwMode="gray">
            <a:xfrm>
              <a:off x="4679156" y="2659410"/>
              <a:ext cx="247650" cy="244475"/>
              <a:chOff x="2465" y="1836"/>
              <a:chExt cx="156" cy="154"/>
            </a:xfrm>
            <a:grpFill/>
          </p:grpSpPr>
          <p:sp>
            <p:nvSpPr>
              <p:cNvPr id="50" name="Freeform 190">
                <a:extLst>
                  <a:ext uri="{FF2B5EF4-FFF2-40B4-BE49-F238E27FC236}">
                    <a16:creationId xmlns:a16="http://schemas.microsoft.com/office/drawing/2014/main" id="{2B8D652B-DA51-3076-4B8F-BB4F1331E48F}"/>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51" name="Freeform 191">
                <a:extLst>
                  <a:ext uri="{FF2B5EF4-FFF2-40B4-BE49-F238E27FC236}">
                    <a16:creationId xmlns:a16="http://schemas.microsoft.com/office/drawing/2014/main" id="{B37EE107-7586-831B-23A1-72A577A9EA08}"/>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grpSp>
          <p:nvGrpSpPr>
            <p:cNvPr id="18" name="Group 192">
              <a:extLst>
                <a:ext uri="{FF2B5EF4-FFF2-40B4-BE49-F238E27FC236}">
                  <a16:creationId xmlns:a16="http://schemas.microsoft.com/office/drawing/2014/main" id="{47351CC1-FB68-B30D-9374-57EC94EA3654}"/>
                </a:ext>
              </a:extLst>
            </p:cNvPr>
            <p:cNvGrpSpPr>
              <a:grpSpLocks noChangeAspect="1"/>
            </p:cNvGrpSpPr>
            <p:nvPr/>
          </p:nvGrpSpPr>
          <p:grpSpPr bwMode="gray">
            <a:xfrm>
              <a:off x="4620419" y="2430810"/>
              <a:ext cx="171450" cy="258763"/>
              <a:chOff x="2428" y="1692"/>
              <a:chExt cx="108" cy="163"/>
            </a:xfrm>
            <a:grpFill/>
          </p:grpSpPr>
          <p:sp>
            <p:nvSpPr>
              <p:cNvPr id="48" name="Freeform 193">
                <a:extLst>
                  <a:ext uri="{FF2B5EF4-FFF2-40B4-BE49-F238E27FC236}">
                    <a16:creationId xmlns:a16="http://schemas.microsoft.com/office/drawing/2014/main" id="{8EDADC63-3BE2-82BF-1934-E3FA8902B4F6}"/>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9" name="Freeform 194">
                <a:extLst>
                  <a:ext uri="{FF2B5EF4-FFF2-40B4-BE49-F238E27FC236}">
                    <a16:creationId xmlns:a16="http://schemas.microsoft.com/office/drawing/2014/main" id="{463BBD8B-6971-0785-B449-1C7310B7953B}"/>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sp>
          <p:nvSpPr>
            <p:cNvPr id="19" name="Freeform 195">
              <a:extLst>
                <a:ext uri="{FF2B5EF4-FFF2-40B4-BE49-F238E27FC236}">
                  <a16:creationId xmlns:a16="http://schemas.microsoft.com/office/drawing/2014/main" id="{DEF0F927-19CE-D15C-820E-677B1A8F72AB}"/>
                </a:ext>
              </a:extLst>
            </p:cNvPr>
            <p:cNvSpPr>
              <a:spLocks noChangeAspect="1"/>
            </p:cNvSpPr>
            <p:nvPr/>
          </p:nvSpPr>
          <p:spPr bwMode="gray">
            <a:xfrm>
              <a:off x="4580731" y="2540347"/>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accent3"/>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0" name="Freeform 196">
              <a:extLst>
                <a:ext uri="{FF2B5EF4-FFF2-40B4-BE49-F238E27FC236}">
                  <a16:creationId xmlns:a16="http://schemas.microsoft.com/office/drawing/2014/main" id="{706B34D2-F5AC-C443-9F8F-3074B69283A4}"/>
                </a:ext>
              </a:extLst>
            </p:cNvPr>
            <p:cNvSpPr>
              <a:spLocks noChangeAspect="1"/>
            </p:cNvSpPr>
            <p:nvPr/>
          </p:nvSpPr>
          <p:spPr bwMode="gray">
            <a:xfrm>
              <a:off x="5144294" y="2622897"/>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1" name="Freeform 197">
              <a:extLst>
                <a:ext uri="{FF2B5EF4-FFF2-40B4-BE49-F238E27FC236}">
                  <a16:creationId xmlns:a16="http://schemas.microsoft.com/office/drawing/2014/main" id="{187A10AB-01DF-3931-0CBF-EDCA6578B9EC}"/>
                </a:ext>
              </a:extLst>
            </p:cNvPr>
            <p:cNvSpPr>
              <a:spLocks noChangeAspect="1"/>
            </p:cNvSpPr>
            <p:nvPr/>
          </p:nvSpPr>
          <p:spPr bwMode="gray">
            <a:xfrm>
              <a:off x="5222081" y="2729260"/>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2" name="Freeform 198">
              <a:extLst>
                <a:ext uri="{FF2B5EF4-FFF2-40B4-BE49-F238E27FC236}">
                  <a16:creationId xmlns:a16="http://schemas.microsoft.com/office/drawing/2014/main" id="{0335C313-4024-A168-FE8F-72D8290FAB31}"/>
                </a:ext>
              </a:extLst>
            </p:cNvPr>
            <p:cNvSpPr>
              <a:spLocks noChangeAspect="1"/>
            </p:cNvSpPr>
            <p:nvPr/>
          </p:nvSpPr>
          <p:spPr bwMode="gray">
            <a:xfrm>
              <a:off x="5161756" y="2510185"/>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nvGrpSpPr>
            <p:cNvPr id="23" name="Group 199">
              <a:extLst>
                <a:ext uri="{FF2B5EF4-FFF2-40B4-BE49-F238E27FC236}">
                  <a16:creationId xmlns:a16="http://schemas.microsoft.com/office/drawing/2014/main" id="{23EE4D81-1AC2-BC0E-5D2B-D2FF75BBDFC2}"/>
                </a:ext>
              </a:extLst>
            </p:cNvPr>
            <p:cNvGrpSpPr>
              <a:grpSpLocks noChangeAspect="1"/>
            </p:cNvGrpSpPr>
            <p:nvPr/>
          </p:nvGrpSpPr>
          <p:grpSpPr bwMode="gray">
            <a:xfrm>
              <a:off x="5033169" y="2808635"/>
              <a:ext cx="68263" cy="68263"/>
              <a:chOff x="2688" y="1930"/>
              <a:chExt cx="43" cy="43"/>
            </a:xfrm>
            <a:grpFill/>
          </p:grpSpPr>
          <p:sp>
            <p:nvSpPr>
              <p:cNvPr id="46" name="Freeform 200">
                <a:extLst>
                  <a:ext uri="{FF2B5EF4-FFF2-40B4-BE49-F238E27FC236}">
                    <a16:creationId xmlns:a16="http://schemas.microsoft.com/office/drawing/2014/main" id="{F328B568-E591-480A-0EEF-2F37DECCED07}"/>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7" name="Freeform 201">
                <a:extLst>
                  <a:ext uri="{FF2B5EF4-FFF2-40B4-BE49-F238E27FC236}">
                    <a16:creationId xmlns:a16="http://schemas.microsoft.com/office/drawing/2014/main" id="{85F0E614-199F-689C-CB38-3AF3637E707F}"/>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sp>
          <p:nvSpPr>
            <p:cNvPr id="24" name="Freeform 202">
              <a:extLst>
                <a:ext uri="{FF2B5EF4-FFF2-40B4-BE49-F238E27FC236}">
                  <a16:creationId xmlns:a16="http://schemas.microsoft.com/office/drawing/2014/main" id="{F9D9BD1F-19D7-4C67-62EF-413CA3CE69C6}"/>
                </a:ext>
              </a:extLst>
            </p:cNvPr>
            <p:cNvSpPr>
              <a:spLocks noChangeAspect="1"/>
            </p:cNvSpPr>
            <p:nvPr/>
          </p:nvSpPr>
          <p:spPr bwMode="gray">
            <a:xfrm>
              <a:off x="5128419" y="2973735"/>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5" name="Freeform 203">
              <a:extLst>
                <a:ext uri="{FF2B5EF4-FFF2-40B4-BE49-F238E27FC236}">
                  <a16:creationId xmlns:a16="http://schemas.microsoft.com/office/drawing/2014/main" id="{5C90CD0F-26D7-5F22-3147-E472D4C55CE4}"/>
                </a:ext>
              </a:extLst>
            </p:cNvPr>
            <p:cNvSpPr>
              <a:spLocks noChangeAspect="1"/>
            </p:cNvSpPr>
            <p:nvPr/>
          </p:nvSpPr>
          <p:spPr bwMode="gray">
            <a:xfrm>
              <a:off x="5110956" y="2894360"/>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6" name="Freeform 204">
              <a:extLst>
                <a:ext uri="{FF2B5EF4-FFF2-40B4-BE49-F238E27FC236}">
                  <a16:creationId xmlns:a16="http://schemas.microsoft.com/office/drawing/2014/main" id="{47D27217-0EDB-B1F2-859C-AAB914058C95}"/>
                </a:ext>
              </a:extLst>
            </p:cNvPr>
            <p:cNvSpPr>
              <a:spLocks noChangeAspect="1"/>
            </p:cNvSpPr>
            <p:nvPr/>
          </p:nvSpPr>
          <p:spPr bwMode="gray">
            <a:xfrm>
              <a:off x="5039519" y="2727672"/>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7" name="Freeform 205">
              <a:extLst>
                <a:ext uri="{FF2B5EF4-FFF2-40B4-BE49-F238E27FC236}">
                  <a16:creationId xmlns:a16="http://schemas.microsoft.com/office/drawing/2014/main" id="{DDA3308F-5430-819C-502A-C28338BB2A50}"/>
                </a:ext>
              </a:extLst>
            </p:cNvPr>
            <p:cNvSpPr>
              <a:spLocks noChangeAspect="1"/>
            </p:cNvSpPr>
            <p:nvPr/>
          </p:nvSpPr>
          <p:spPr bwMode="gray">
            <a:xfrm>
              <a:off x="5004594" y="2549872"/>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50000"/>
              </a:schemeClr>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8" name="Freeform 206">
              <a:extLst>
                <a:ext uri="{FF2B5EF4-FFF2-40B4-BE49-F238E27FC236}">
                  <a16:creationId xmlns:a16="http://schemas.microsoft.com/office/drawing/2014/main" id="{DBDBFBA5-BD09-381E-FB53-C47BEE1544D1}"/>
                </a:ext>
              </a:extLst>
            </p:cNvPr>
            <p:cNvSpPr>
              <a:spLocks noChangeAspect="1"/>
            </p:cNvSpPr>
            <p:nvPr/>
          </p:nvSpPr>
          <p:spPr bwMode="gray">
            <a:xfrm>
              <a:off x="5123656" y="2449860"/>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29" name="Freeform 207">
              <a:extLst>
                <a:ext uri="{FF2B5EF4-FFF2-40B4-BE49-F238E27FC236}">
                  <a16:creationId xmlns:a16="http://schemas.microsoft.com/office/drawing/2014/main" id="{E9EA7022-05DC-3F4C-9AF1-846F57477894}"/>
                </a:ext>
              </a:extLst>
            </p:cNvPr>
            <p:cNvSpPr>
              <a:spLocks noChangeAspect="1"/>
            </p:cNvSpPr>
            <p:nvPr/>
          </p:nvSpPr>
          <p:spPr bwMode="gray">
            <a:xfrm>
              <a:off x="4966494" y="2657822"/>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0" name="Freeform 208">
              <a:extLst>
                <a:ext uri="{FF2B5EF4-FFF2-40B4-BE49-F238E27FC236}">
                  <a16:creationId xmlns:a16="http://schemas.microsoft.com/office/drawing/2014/main" id="{A12548AC-C681-0A23-9C9A-E47A49AE6D91}"/>
                </a:ext>
              </a:extLst>
            </p:cNvPr>
            <p:cNvSpPr>
              <a:spLocks noChangeAspect="1"/>
            </p:cNvSpPr>
            <p:nvPr/>
          </p:nvSpPr>
          <p:spPr bwMode="gray">
            <a:xfrm>
              <a:off x="5149056" y="2837210"/>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1" name="Freeform 209">
              <a:extLst>
                <a:ext uri="{FF2B5EF4-FFF2-40B4-BE49-F238E27FC236}">
                  <a16:creationId xmlns:a16="http://schemas.microsoft.com/office/drawing/2014/main" id="{6C7CDCCC-18C3-BCCC-C47D-01B3C446D835}"/>
                </a:ext>
              </a:extLst>
            </p:cNvPr>
            <p:cNvSpPr>
              <a:spLocks noChangeAspect="1"/>
            </p:cNvSpPr>
            <p:nvPr/>
          </p:nvSpPr>
          <p:spPr bwMode="gray">
            <a:xfrm>
              <a:off x="4995069" y="2778472"/>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2" name="Freeform 210">
              <a:extLst>
                <a:ext uri="{FF2B5EF4-FFF2-40B4-BE49-F238E27FC236}">
                  <a16:creationId xmlns:a16="http://schemas.microsoft.com/office/drawing/2014/main" id="{2869DBFF-0FC7-D9BB-E912-A550BFAE1189}"/>
                </a:ext>
              </a:extLst>
            </p:cNvPr>
            <p:cNvSpPr>
              <a:spLocks noChangeAspect="1"/>
            </p:cNvSpPr>
            <p:nvPr/>
          </p:nvSpPr>
          <p:spPr bwMode="gray">
            <a:xfrm>
              <a:off x="5095081" y="2873722"/>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3" name="Freeform 211">
              <a:extLst>
                <a:ext uri="{FF2B5EF4-FFF2-40B4-BE49-F238E27FC236}">
                  <a16:creationId xmlns:a16="http://schemas.microsoft.com/office/drawing/2014/main" id="{48204354-05E1-C695-E53C-FA8E2FCD3E11}"/>
                </a:ext>
              </a:extLst>
            </p:cNvPr>
            <p:cNvSpPr>
              <a:spLocks noChangeAspect="1"/>
            </p:cNvSpPr>
            <p:nvPr/>
          </p:nvSpPr>
          <p:spPr bwMode="gray">
            <a:xfrm>
              <a:off x="5125244" y="2500660"/>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4" name="Freeform 213">
              <a:extLst>
                <a:ext uri="{FF2B5EF4-FFF2-40B4-BE49-F238E27FC236}">
                  <a16:creationId xmlns:a16="http://schemas.microsoft.com/office/drawing/2014/main" id="{21E93B91-F43A-A359-B163-35617E7314B6}"/>
                </a:ext>
              </a:extLst>
            </p:cNvPr>
            <p:cNvSpPr>
              <a:spLocks noChangeAspect="1"/>
            </p:cNvSpPr>
            <p:nvPr/>
          </p:nvSpPr>
          <p:spPr bwMode="gray">
            <a:xfrm>
              <a:off x="5053806" y="2700685"/>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5" name="Freeform 214">
              <a:extLst>
                <a:ext uri="{FF2B5EF4-FFF2-40B4-BE49-F238E27FC236}">
                  <a16:creationId xmlns:a16="http://schemas.microsoft.com/office/drawing/2014/main" id="{293E4DBF-5424-AD62-C10A-A33BE8D92F00}"/>
                </a:ext>
              </a:extLst>
            </p:cNvPr>
            <p:cNvSpPr>
              <a:spLocks noChangeAspect="1"/>
            </p:cNvSpPr>
            <p:nvPr/>
          </p:nvSpPr>
          <p:spPr bwMode="gray">
            <a:xfrm>
              <a:off x="4993481" y="2770535"/>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6" name="Freeform 215">
              <a:extLst>
                <a:ext uri="{FF2B5EF4-FFF2-40B4-BE49-F238E27FC236}">
                  <a16:creationId xmlns:a16="http://schemas.microsoft.com/office/drawing/2014/main" id="{1C1D0421-E04F-895E-B0AF-5481E5CB6518}"/>
                </a:ext>
              </a:extLst>
            </p:cNvPr>
            <p:cNvSpPr>
              <a:spLocks noChangeAspect="1"/>
            </p:cNvSpPr>
            <p:nvPr/>
          </p:nvSpPr>
          <p:spPr bwMode="gray">
            <a:xfrm>
              <a:off x="5117306" y="2881660"/>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7" name="Freeform 216">
              <a:extLst>
                <a:ext uri="{FF2B5EF4-FFF2-40B4-BE49-F238E27FC236}">
                  <a16:creationId xmlns:a16="http://schemas.microsoft.com/office/drawing/2014/main" id="{B801D74E-60CA-0675-745A-95F547848ACC}"/>
                </a:ext>
              </a:extLst>
            </p:cNvPr>
            <p:cNvSpPr>
              <a:spLocks noChangeAspect="1"/>
            </p:cNvSpPr>
            <p:nvPr/>
          </p:nvSpPr>
          <p:spPr bwMode="gray">
            <a:xfrm>
              <a:off x="5110956" y="2734022"/>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8" name="Freeform 217">
              <a:extLst>
                <a:ext uri="{FF2B5EF4-FFF2-40B4-BE49-F238E27FC236}">
                  <a16:creationId xmlns:a16="http://schemas.microsoft.com/office/drawing/2014/main" id="{82F11A40-E21C-A74E-A766-E8769F27C226}"/>
                </a:ext>
              </a:extLst>
            </p:cNvPr>
            <p:cNvSpPr>
              <a:spLocks noChangeAspect="1"/>
            </p:cNvSpPr>
            <p:nvPr/>
          </p:nvSpPr>
          <p:spPr bwMode="gray">
            <a:xfrm>
              <a:off x="5166519" y="2397472"/>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39" name="Freeform 218">
              <a:extLst>
                <a:ext uri="{FF2B5EF4-FFF2-40B4-BE49-F238E27FC236}">
                  <a16:creationId xmlns:a16="http://schemas.microsoft.com/office/drawing/2014/main" id="{74A4DCBF-0DF5-B657-B52E-82E033FA33A4}"/>
                </a:ext>
              </a:extLst>
            </p:cNvPr>
            <p:cNvSpPr>
              <a:spLocks noChangeAspect="1"/>
            </p:cNvSpPr>
            <p:nvPr/>
          </p:nvSpPr>
          <p:spPr bwMode="gray">
            <a:xfrm>
              <a:off x="5117306" y="1964085"/>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0" name="Freeform 219">
              <a:extLst>
                <a:ext uri="{FF2B5EF4-FFF2-40B4-BE49-F238E27FC236}">
                  <a16:creationId xmlns:a16="http://schemas.microsoft.com/office/drawing/2014/main" id="{AB5D7CD1-5DCD-9A06-16C3-2B270C2319BE}"/>
                </a:ext>
              </a:extLst>
            </p:cNvPr>
            <p:cNvSpPr>
              <a:spLocks noChangeAspect="1"/>
            </p:cNvSpPr>
            <p:nvPr/>
          </p:nvSpPr>
          <p:spPr bwMode="gray">
            <a:xfrm>
              <a:off x="4899819" y="2460972"/>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accent3"/>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1" name="Freeform 220">
              <a:extLst>
                <a:ext uri="{FF2B5EF4-FFF2-40B4-BE49-F238E27FC236}">
                  <a16:creationId xmlns:a16="http://schemas.microsoft.com/office/drawing/2014/main" id="{78596FC1-2B86-89A1-C38E-B7A6EB803DC0}"/>
                </a:ext>
              </a:extLst>
            </p:cNvPr>
            <p:cNvSpPr>
              <a:spLocks noChangeAspect="1"/>
            </p:cNvSpPr>
            <p:nvPr/>
          </p:nvSpPr>
          <p:spPr bwMode="gray">
            <a:xfrm>
              <a:off x="4847431" y="1911697"/>
              <a:ext cx="452438" cy="53975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2" name="Freeform 221">
              <a:extLst>
                <a:ext uri="{FF2B5EF4-FFF2-40B4-BE49-F238E27FC236}">
                  <a16:creationId xmlns:a16="http://schemas.microsoft.com/office/drawing/2014/main" id="{ED289B61-0789-7DAF-3EEF-021DA8487D55}"/>
                </a:ext>
              </a:extLst>
            </p:cNvPr>
            <p:cNvSpPr>
              <a:spLocks noChangeAspect="1"/>
            </p:cNvSpPr>
            <p:nvPr/>
          </p:nvSpPr>
          <p:spPr bwMode="gray">
            <a:xfrm>
              <a:off x="4952206" y="2013297"/>
              <a:ext cx="227013"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nvGrpSpPr>
            <p:cNvPr id="43" name="Group 359">
              <a:extLst>
                <a:ext uri="{FF2B5EF4-FFF2-40B4-BE49-F238E27FC236}">
                  <a16:creationId xmlns:a16="http://schemas.microsoft.com/office/drawing/2014/main" id="{45466670-B3CA-589D-52C8-CE79477C0FDD}"/>
                </a:ext>
              </a:extLst>
            </p:cNvPr>
            <p:cNvGrpSpPr/>
            <p:nvPr/>
          </p:nvGrpSpPr>
          <p:grpSpPr bwMode="gray">
            <a:xfrm>
              <a:off x="5080794" y="2788583"/>
              <a:ext cx="75600" cy="108000"/>
              <a:chOff x="4160739" y="2986112"/>
              <a:chExt cx="187325" cy="233362"/>
            </a:xfrm>
            <a:grpFill/>
          </p:grpSpPr>
          <p:sp>
            <p:nvSpPr>
              <p:cNvPr id="44" name="Freeform 45">
                <a:extLst>
                  <a:ext uri="{FF2B5EF4-FFF2-40B4-BE49-F238E27FC236}">
                    <a16:creationId xmlns:a16="http://schemas.microsoft.com/office/drawing/2014/main" id="{0D8F59F0-AB43-DDCE-B98B-CB42814B09B8}"/>
                  </a:ext>
                </a:extLst>
              </p:cNvPr>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sp>
            <p:nvSpPr>
              <p:cNvPr id="45" name="Freeform 46">
                <a:extLst>
                  <a:ext uri="{FF2B5EF4-FFF2-40B4-BE49-F238E27FC236}">
                    <a16:creationId xmlns:a16="http://schemas.microsoft.com/office/drawing/2014/main" id="{8F17B340-6D95-EC83-C593-79C72BF22C27}"/>
                  </a:ext>
                </a:extLst>
              </p:cNvPr>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solidFill>
                  <a:schemeClr val="bg1"/>
                </a:solidFill>
                <a:prstDash val="solid"/>
                <a:round/>
                <a:headEnd type="none" w="med" len="med"/>
                <a:tailEnd type="none" w="med" len="med"/>
              </a:ln>
              <a:effectLst/>
            </p:spPr>
            <p:txBody>
              <a:bodyPr/>
              <a:lstStyle/>
              <a:p>
                <a:endParaRPr lang="en-US" sz="4050">
                  <a:solidFill>
                    <a:prstClr val="black"/>
                  </a:solidFill>
                </a:endParaRPr>
              </a:p>
            </p:txBody>
          </p:sp>
        </p:grpSp>
      </p:grpSp>
      <p:sp>
        <p:nvSpPr>
          <p:cNvPr id="55" name="Segnaposto testo 4">
            <a:extLst>
              <a:ext uri="{FF2B5EF4-FFF2-40B4-BE49-F238E27FC236}">
                <a16:creationId xmlns:a16="http://schemas.microsoft.com/office/drawing/2014/main" id="{32752737-B525-3327-6BCA-497BACB8A7F0}"/>
              </a:ext>
            </a:extLst>
          </p:cNvPr>
          <p:cNvSpPr>
            <a:spLocks noGrp="1"/>
          </p:cNvSpPr>
          <p:nvPr>
            <p:ph type="body" sz="quarter" idx="40" hasCustomPrompt="1"/>
          </p:nvPr>
        </p:nvSpPr>
        <p:spPr>
          <a:xfrm>
            <a:off x="550864" y="2082865"/>
            <a:ext cx="3257656" cy="3603560"/>
          </a:xfrm>
        </p:spPr>
        <p:txBody>
          <a:bodyPr numCol="1" spcCol="360000">
            <a:normAutofit/>
          </a:bodyPr>
          <a:lstStyle>
            <a:lvl1pPr marL="0" indent="0" algn="just">
              <a:lnSpc>
                <a:spcPct val="100000"/>
              </a:lnSpc>
              <a:buNone/>
              <a:defRPr sz="1200" b="0" i="0">
                <a:latin typeface="Arial" panose="020B0604020202020204" pitchFamily="34" charset="0"/>
                <a:cs typeface="Arial" panose="020B0604020202020204" pitchFamily="34" charset="0"/>
              </a:defRPr>
            </a:lvl1pPr>
          </a:lstStyle>
          <a:p>
            <a:pPr lvl="0"/>
            <a:r>
              <a:rPr lang="en-US" noProof="0"/>
              <a:t>Copy</a:t>
            </a:r>
          </a:p>
        </p:txBody>
      </p:sp>
    </p:spTree>
    <p:extLst>
      <p:ext uri="{BB962C8B-B14F-4D97-AF65-F5344CB8AC3E}">
        <p14:creationId xmlns:p14="http://schemas.microsoft.com/office/powerpoint/2010/main" val="254579684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1E28-C7B6-4BA1-9907-789CD9A648E7}"/>
              </a:ext>
            </a:extLst>
          </p:cNvPr>
          <p:cNvSpPr>
            <a:spLocks noGrp="1"/>
          </p:cNvSpPr>
          <p:nvPr>
            <p:ph type="ctrTitle" hasCustomPrompt="1"/>
          </p:nvPr>
        </p:nvSpPr>
        <p:spPr>
          <a:xfrm>
            <a:off x="550863" y="531581"/>
            <a:ext cx="5473700" cy="844782"/>
          </a:xfrm>
        </p:spPr>
        <p:txBody>
          <a:bodyPr anchor="t">
            <a:noAutofit/>
          </a:bodyPr>
          <a:lstStyle>
            <a:lvl1pPr algn="l">
              <a:defRPr sz="2000" spc="0" baseline="0">
                <a:solidFill>
                  <a:schemeClr val="accent1"/>
                </a:solidFill>
              </a:defRPr>
            </a:lvl1pPr>
          </a:lstStyle>
          <a:p>
            <a:r>
              <a:rPr lang="en-GB"/>
              <a:t>TITLE VERDANA 20PT</a:t>
            </a:r>
          </a:p>
        </p:txBody>
      </p:sp>
      <p:pic>
        <p:nvPicPr>
          <p:cNvPr id="8" name="Picture 7">
            <a:extLst>
              <a:ext uri="{FF2B5EF4-FFF2-40B4-BE49-F238E27FC236}">
                <a16:creationId xmlns:a16="http://schemas.microsoft.com/office/drawing/2014/main" id="{181706E1-978F-4304-9D93-E65643FC5A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16" name="Slide Number Placeholder 5">
            <a:extLst>
              <a:ext uri="{FF2B5EF4-FFF2-40B4-BE49-F238E27FC236}">
                <a16:creationId xmlns:a16="http://schemas.microsoft.com/office/drawing/2014/main" id="{F983E6E9-7A02-49C8-BA96-A619739DE486}"/>
              </a:ext>
            </a:extLst>
          </p:cNvPr>
          <p:cNvSpPr>
            <a:spLocks noGrp="1"/>
          </p:cNvSpPr>
          <p:nvPr>
            <p:ph type="sldNum" sz="quarter" idx="12"/>
          </p:nvPr>
        </p:nvSpPr>
        <p:spPr>
          <a:xfrm>
            <a:off x="11471189" y="6434807"/>
            <a:ext cx="169948" cy="147847"/>
          </a:xfrm>
        </p:spPr>
        <p:txBody>
          <a:bodyPr/>
          <a:lstStyle>
            <a:lvl1pPr>
              <a:defRPr sz="700">
                <a:solidFill>
                  <a:schemeClr val="tx2"/>
                </a:solidFill>
              </a:defRPr>
            </a:lvl1pPr>
          </a:lstStyle>
          <a:p>
            <a:fld id="{015F0CDB-A812-4850-A270-8696C5F0BFD2}" type="slidenum">
              <a:rPr lang="en-GB" smtClean="0"/>
              <a:pPr/>
              <a:t>‹#›</a:t>
            </a:fld>
            <a:endParaRPr lang="en-GB"/>
          </a:p>
        </p:txBody>
      </p:sp>
    </p:spTree>
    <p:extLst>
      <p:ext uri="{BB962C8B-B14F-4D97-AF65-F5344CB8AC3E}">
        <p14:creationId xmlns:p14="http://schemas.microsoft.com/office/powerpoint/2010/main" val="2349027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ogo layout">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AA8DDF7F-AC70-48DD-B9FE-AEF90A589B7B}"/>
              </a:ext>
            </a:extLst>
          </p:cNvPr>
          <p:cNvSpPr>
            <a:spLocks noGrp="1"/>
          </p:cNvSpPr>
          <p:nvPr>
            <p:ph type="sldNum" sz="quarter" idx="12"/>
          </p:nvPr>
        </p:nvSpPr>
        <p:spPr>
          <a:xfrm>
            <a:off x="11499954" y="6434807"/>
            <a:ext cx="141183" cy="147847"/>
          </a:xfrm>
        </p:spPr>
        <p:txBody>
          <a:bodyPr/>
          <a:lstStyle>
            <a:lvl1pPr>
              <a:defRPr sz="700"/>
            </a:lvl1pPr>
          </a:lstStyle>
          <a:p>
            <a:fld id="{015F0CDB-A812-4850-A270-8696C5F0BFD2}" type="slidenum">
              <a:rPr lang="en-GB" smtClean="0"/>
              <a:pPr/>
              <a:t>‹#›</a:t>
            </a:fld>
            <a:endParaRPr lang="en-GB"/>
          </a:p>
        </p:txBody>
      </p:sp>
      <p:sp>
        <p:nvSpPr>
          <p:cNvPr id="12" name="Title 1">
            <a:extLst>
              <a:ext uri="{FF2B5EF4-FFF2-40B4-BE49-F238E27FC236}">
                <a16:creationId xmlns:a16="http://schemas.microsoft.com/office/drawing/2014/main" id="{1C016BC5-7FCC-4953-9498-18BDBAB1F117}"/>
              </a:ext>
            </a:extLst>
          </p:cNvPr>
          <p:cNvSpPr>
            <a:spLocks noGrp="1"/>
          </p:cNvSpPr>
          <p:nvPr>
            <p:ph type="ctrTitle" hasCustomPrompt="1"/>
          </p:nvPr>
        </p:nvSpPr>
        <p:spPr>
          <a:xfrm>
            <a:off x="550863" y="531581"/>
            <a:ext cx="5473700" cy="844782"/>
          </a:xfrm>
        </p:spPr>
        <p:txBody>
          <a:bodyPr anchor="t">
            <a:noAutofit/>
          </a:bodyPr>
          <a:lstStyle>
            <a:lvl1pPr algn="l">
              <a:defRPr sz="2000" spc="0" baseline="0">
                <a:solidFill>
                  <a:schemeClr val="accent1"/>
                </a:solidFill>
              </a:defRPr>
            </a:lvl1pPr>
          </a:lstStyle>
          <a:p>
            <a:r>
              <a:rPr lang="en-GB"/>
              <a:t>TITLE VERDANA 20PT</a:t>
            </a:r>
          </a:p>
        </p:txBody>
      </p:sp>
      <p:pic>
        <p:nvPicPr>
          <p:cNvPr id="16" name="Picture 15">
            <a:extLst>
              <a:ext uri="{FF2B5EF4-FFF2-40B4-BE49-F238E27FC236}">
                <a16:creationId xmlns:a16="http://schemas.microsoft.com/office/drawing/2014/main" id="{E983061C-F20C-4842-A307-ECD387FCF0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4960" y="549275"/>
            <a:ext cx="573390" cy="668480"/>
          </a:xfrm>
          <a:prstGeom prst="rect">
            <a:avLst/>
          </a:prstGeom>
        </p:spPr>
      </p:pic>
    </p:spTree>
    <p:extLst>
      <p:ext uri="{BB962C8B-B14F-4D97-AF65-F5344CB8AC3E}">
        <p14:creationId xmlns:p14="http://schemas.microsoft.com/office/powerpoint/2010/main" val="3999310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ext on whit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1E28-C7B6-4BA1-9907-789CD9A648E7}"/>
              </a:ext>
            </a:extLst>
          </p:cNvPr>
          <p:cNvSpPr>
            <a:spLocks noGrp="1"/>
          </p:cNvSpPr>
          <p:nvPr>
            <p:ph type="ctrTitle" hasCustomPrompt="1"/>
          </p:nvPr>
        </p:nvSpPr>
        <p:spPr>
          <a:xfrm>
            <a:off x="550863" y="531581"/>
            <a:ext cx="5473700" cy="844782"/>
          </a:xfrm>
        </p:spPr>
        <p:txBody>
          <a:bodyPr anchor="t">
            <a:noAutofit/>
          </a:bodyPr>
          <a:lstStyle>
            <a:lvl1pPr algn="l">
              <a:defRPr sz="2000" spc="0" baseline="0">
                <a:solidFill>
                  <a:schemeClr val="accent3"/>
                </a:solidFill>
              </a:defRPr>
            </a:lvl1pPr>
          </a:lstStyle>
          <a:p>
            <a:r>
              <a:rPr lang="en-GB"/>
              <a:t>TITLE VERDANA 20PT</a:t>
            </a:r>
          </a:p>
        </p:txBody>
      </p:sp>
      <p:sp>
        <p:nvSpPr>
          <p:cNvPr id="11" name="Text Placeholder 23">
            <a:extLst>
              <a:ext uri="{FF2B5EF4-FFF2-40B4-BE49-F238E27FC236}">
                <a16:creationId xmlns:a16="http://schemas.microsoft.com/office/drawing/2014/main" id="{3D5EC319-FCF9-4743-8E45-23991D76C457}"/>
              </a:ext>
            </a:extLst>
          </p:cNvPr>
          <p:cNvSpPr>
            <a:spLocks noGrp="1"/>
          </p:cNvSpPr>
          <p:nvPr>
            <p:ph type="body" sz="quarter" idx="19" hasCustomPrompt="1"/>
          </p:nvPr>
        </p:nvSpPr>
        <p:spPr>
          <a:xfrm>
            <a:off x="550863" y="1644186"/>
            <a:ext cx="5472112" cy="3859306"/>
          </a:xfrm>
        </p:spPr>
        <p:txBody>
          <a:bodyPr anchor="t">
            <a:noAutofit/>
          </a:bodyPr>
          <a:lstStyle>
            <a:lvl1pPr marL="285750" indent="-285750">
              <a:spcBef>
                <a:spcPts val="600"/>
              </a:spcBef>
              <a:buFont typeface="Arial" panose="020B0604020202020204" pitchFamily="34" charset="0"/>
              <a:buChar char="•"/>
              <a:defRPr sz="1600">
                <a:solidFill>
                  <a:schemeClr val="tx2"/>
                </a:solidFill>
              </a:defRPr>
            </a:lvl1pPr>
            <a:lvl2pPr marL="630450" indent="-285750">
              <a:spcBef>
                <a:spcPts val="600"/>
              </a:spcBef>
              <a:buFont typeface="Arial" panose="020B0604020202020204" pitchFamily="34" charset="0"/>
              <a:buChar char="•"/>
              <a:defRPr sz="16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ullets Arial 16PT</a:t>
            </a:r>
          </a:p>
          <a:p>
            <a:pPr lvl="1"/>
            <a:r>
              <a:rPr lang="en-US"/>
              <a:t>Second level</a:t>
            </a:r>
          </a:p>
        </p:txBody>
      </p:sp>
      <p:pic>
        <p:nvPicPr>
          <p:cNvPr id="10" name="Picture 9">
            <a:extLst>
              <a:ext uri="{FF2B5EF4-FFF2-40B4-BE49-F238E27FC236}">
                <a16:creationId xmlns:a16="http://schemas.microsoft.com/office/drawing/2014/main" id="{3F3792E6-5336-4DEB-B787-DC95C9BFBF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956" y="6318949"/>
            <a:ext cx="815743" cy="258437"/>
          </a:xfrm>
          <a:prstGeom prst="rect">
            <a:avLst/>
          </a:prstGeom>
        </p:spPr>
      </p:pic>
      <p:pic>
        <p:nvPicPr>
          <p:cNvPr id="19" name="Picture 18">
            <a:extLst>
              <a:ext uri="{FF2B5EF4-FFF2-40B4-BE49-F238E27FC236}">
                <a16:creationId xmlns:a16="http://schemas.microsoft.com/office/drawing/2014/main" id="{A9612A6A-65C9-4AF8-808B-0897EA166A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12" name="Text Placeholder 23">
            <a:extLst>
              <a:ext uri="{FF2B5EF4-FFF2-40B4-BE49-F238E27FC236}">
                <a16:creationId xmlns:a16="http://schemas.microsoft.com/office/drawing/2014/main" id="{250D7C8C-F07D-4310-AE5C-4CB55419EFFD}"/>
              </a:ext>
            </a:extLst>
          </p:cNvPr>
          <p:cNvSpPr>
            <a:spLocks noGrp="1"/>
          </p:cNvSpPr>
          <p:nvPr>
            <p:ph type="body" sz="quarter" idx="22" hasCustomPrompt="1"/>
          </p:nvPr>
        </p:nvSpPr>
        <p:spPr>
          <a:xfrm>
            <a:off x="6169027" y="1644186"/>
            <a:ext cx="5472112" cy="3859306"/>
          </a:xfrm>
        </p:spPr>
        <p:txBody>
          <a:bodyPr anchor="t">
            <a:noAutofit/>
          </a:bodyPr>
          <a:lstStyle>
            <a:lvl1pPr marL="285750" indent="-285750">
              <a:spcBef>
                <a:spcPts val="600"/>
              </a:spcBef>
              <a:buFont typeface="Arial" panose="020B0604020202020204" pitchFamily="34" charset="0"/>
              <a:buChar char="•"/>
              <a:defRPr sz="1600">
                <a:solidFill>
                  <a:schemeClr val="tx2"/>
                </a:solidFill>
              </a:defRPr>
            </a:lvl1pPr>
            <a:lvl2pPr marL="630450" indent="-285750">
              <a:spcBef>
                <a:spcPts val="600"/>
              </a:spcBef>
              <a:buFont typeface="Arial" panose="020B0604020202020204" pitchFamily="34" charset="0"/>
              <a:buChar char="•"/>
              <a:defRPr sz="1600">
                <a:solidFill>
                  <a:schemeClr val="tx2"/>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Bullets Arial 16PT</a:t>
            </a:r>
          </a:p>
          <a:p>
            <a:pPr lvl="1"/>
            <a:r>
              <a:rPr lang="en-US"/>
              <a:t>Second level</a:t>
            </a:r>
          </a:p>
        </p:txBody>
      </p:sp>
      <p:sp>
        <p:nvSpPr>
          <p:cNvPr id="13" name="Slide Number Placeholder 5">
            <a:extLst>
              <a:ext uri="{FF2B5EF4-FFF2-40B4-BE49-F238E27FC236}">
                <a16:creationId xmlns:a16="http://schemas.microsoft.com/office/drawing/2014/main" id="{C23D981E-BB38-46C3-B651-FBDF40462F8F}"/>
              </a:ext>
            </a:extLst>
          </p:cNvPr>
          <p:cNvSpPr>
            <a:spLocks noGrp="1"/>
          </p:cNvSpPr>
          <p:nvPr>
            <p:ph type="sldNum" sz="quarter" idx="12"/>
          </p:nvPr>
        </p:nvSpPr>
        <p:spPr>
          <a:xfrm>
            <a:off x="11471189" y="6434807"/>
            <a:ext cx="169948" cy="147847"/>
          </a:xfrm>
        </p:spPr>
        <p:txBody>
          <a:bodyPr/>
          <a:lstStyle>
            <a:lvl1pPr>
              <a:defRPr sz="700">
                <a:solidFill>
                  <a:schemeClr val="tx2"/>
                </a:solidFill>
              </a:defRPr>
            </a:lvl1pPr>
          </a:lstStyle>
          <a:p>
            <a:fld id="{015F0CDB-A812-4850-A270-8696C5F0BFD2}" type="slidenum">
              <a:rPr lang="en-GB" smtClean="0"/>
              <a:pPr/>
              <a:t>‹#›</a:t>
            </a:fld>
            <a:endParaRPr lang="en-GB"/>
          </a:p>
        </p:txBody>
      </p:sp>
      <p:sp>
        <p:nvSpPr>
          <p:cNvPr id="14" name="Subtitle 2">
            <a:extLst>
              <a:ext uri="{FF2B5EF4-FFF2-40B4-BE49-F238E27FC236}">
                <a16:creationId xmlns:a16="http://schemas.microsoft.com/office/drawing/2014/main" id="{A1DB3DC0-5CB1-4249-8097-31B25446D09F}"/>
              </a:ext>
            </a:extLst>
          </p:cNvPr>
          <p:cNvSpPr txBox="1">
            <a:spLocks/>
          </p:cNvSpPr>
          <p:nvPr userDrawn="1"/>
        </p:nvSpPr>
        <p:spPr>
          <a:xfrm>
            <a:off x="10278868" y="6435054"/>
            <a:ext cx="1208797" cy="147600"/>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buFont typeface="Arial" panose="020B0604020202020204" pitchFamily="34" charset="0"/>
              <a:buNone/>
              <a:defRPr sz="1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700" b="1" kern="1200">
                <a:solidFill>
                  <a:schemeClr val="tx2"/>
                </a:solidFill>
                <a:latin typeface="+mn-lt"/>
                <a:ea typeface="+mn-ea"/>
                <a:cs typeface="+mn-cs"/>
              </a:rPr>
              <a:t>© Selecta 2021 Confidential</a:t>
            </a:r>
          </a:p>
        </p:txBody>
      </p:sp>
      <p:sp>
        <p:nvSpPr>
          <p:cNvPr id="15" name="Text Placeholder 23">
            <a:extLst>
              <a:ext uri="{FF2B5EF4-FFF2-40B4-BE49-F238E27FC236}">
                <a16:creationId xmlns:a16="http://schemas.microsoft.com/office/drawing/2014/main" id="{B33803EF-B2B9-4D31-AEF2-7539A94E2902}"/>
              </a:ext>
            </a:extLst>
          </p:cNvPr>
          <p:cNvSpPr>
            <a:spLocks noGrp="1"/>
          </p:cNvSpPr>
          <p:nvPr>
            <p:ph type="body" sz="quarter" idx="21" hasCustomPrompt="1"/>
          </p:nvPr>
        </p:nvSpPr>
        <p:spPr>
          <a:xfrm>
            <a:off x="6959600" y="6434807"/>
            <a:ext cx="3235924" cy="147847"/>
          </a:xfrm>
        </p:spPr>
        <p:txBody>
          <a:bodyPr anchor="b">
            <a:noAutofit/>
          </a:bodyPr>
          <a:lstStyle>
            <a:lvl1pPr marL="0" indent="0" algn="r">
              <a:spcBef>
                <a:spcPts val="0"/>
              </a:spcBef>
              <a:buNone/>
              <a:defRPr sz="700" b="1">
                <a:solidFill>
                  <a:schemeClr val="tx2"/>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Presentation title</a:t>
            </a:r>
          </a:p>
        </p:txBody>
      </p:sp>
    </p:spTree>
    <p:extLst>
      <p:ext uri="{BB962C8B-B14F-4D97-AF65-F5344CB8AC3E}">
        <p14:creationId xmlns:p14="http://schemas.microsoft.com/office/powerpoint/2010/main" val="3311084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slideLayout" Target="../slideLayouts/slideLayout98.xml"/><Relationship Id="rId89" Type="http://schemas.openxmlformats.org/officeDocument/2006/relationships/slideLayout" Target="../slideLayouts/slideLayout103.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90" Type="http://schemas.openxmlformats.org/officeDocument/2006/relationships/theme" Target="../theme/theme2.xml"/><Relationship Id="rId95" Type="http://schemas.openxmlformats.org/officeDocument/2006/relationships/image" Target="../media/image10.png"/><Relationship Id="rId22" Type="http://schemas.openxmlformats.org/officeDocument/2006/relationships/slideLayout" Target="../slideLayouts/slideLayout36.xml"/><Relationship Id="rId27" Type="http://schemas.openxmlformats.org/officeDocument/2006/relationships/slideLayout" Target="../slideLayouts/slideLayout41.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80" Type="http://schemas.openxmlformats.org/officeDocument/2006/relationships/slideLayout" Target="../slideLayouts/slideLayout94.xml"/><Relationship Id="rId85" Type="http://schemas.openxmlformats.org/officeDocument/2006/relationships/slideLayout" Target="../slideLayouts/slideLayout99.xml"/><Relationship Id="rId93" Type="http://schemas.openxmlformats.org/officeDocument/2006/relationships/image" Target="../media/image12.emf"/><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slideLayout" Target="../slideLayouts/slideLayout97.xml"/><Relationship Id="rId88" Type="http://schemas.openxmlformats.org/officeDocument/2006/relationships/slideLayout" Target="../slideLayouts/slideLayout102.xml"/><Relationship Id="rId91" Type="http://schemas.openxmlformats.org/officeDocument/2006/relationships/tags" Target="../tags/tag1.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slideLayout" Target="../slideLayouts/slideLayout100.xml"/><Relationship Id="rId94" Type="http://schemas.openxmlformats.org/officeDocument/2006/relationships/image" Target="../media/image11.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92" Type="http://schemas.openxmlformats.org/officeDocument/2006/relationships/oleObject" Target="../embeddings/oleObject1.bin"/><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87" Type="http://schemas.openxmlformats.org/officeDocument/2006/relationships/slideLayout" Target="../slideLayouts/slideLayout101.xml"/><Relationship Id="rId61" Type="http://schemas.openxmlformats.org/officeDocument/2006/relationships/slideLayout" Target="../slideLayouts/slideLayout75.xml"/><Relationship Id="rId82" Type="http://schemas.openxmlformats.org/officeDocument/2006/relationships/slideLayout" Target="../slideLayouts/slideLayout96.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56" Type="http://schemas.openxmlformats.org/officeDocument/2006/relationships/slideLayout" Target="../slideLayouts/slideLayout70.xml"/><Relationship Id="rId77"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5747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92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E8D11B7-D51A-962C-4867-71C3FA657C4A}"/>
              </a:ext>
            </a:extLst>
          </p:cNvPr>
          <p:cNvGraphicFramePr>
            <a:graphicFrameLocks noChangeAspect="1"/>
          </p:cNvGraphicFramePr>
          <p:nvPr userDrawn="1">
            <p:custDataLst>
              <p:tags r:id="rId91"/>
            </p:custDataLst>
            <p:extLst>
              <p:ext uri="{D42A27DB-BD31-4B8C-83A1-F6EECF244321}">
                <p14:modId xmlns:p14="http://schemas.microsoft.com/office/powerpoint/2010/main" val="238552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592" imgH="591" progId="TCLayout.ActiveDocument.1">
                  <p:embed/>
                </p:oleObj>
              </mc:Choice>
              <mc:Fallback>
                <p:oleObj name="think-cell Slide" r:id="rId92" imgW="592" imgH="591" progId="TCLayout.ActiveDocument.1">
                  <p:embed/>
                  <p:pic>
                    <p:nvPicPr>
                      <p:cNvPr id="9" name="think-cell data - do not delete" hidden="1">
                        <a:extLst>
                          <a:ext uri="{FF2B5EF4-FFF2-40B4-BE49-F238E27FC236}">
                            <a16:creationId xmlns:a16="http://schemas.microsoft.com/office/drawing/2014/main" id="{3E8D11B7-D51A-962C-4867-71C3FA657C4A}"/>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207E45C-F1BA-486A-AB04-BB2A0E93F6F1}"/>
              </a:ext>
            </a:extLst>
          </p:cNvPr>
          <p:cNvSpPr>
            <a:spLocks noGrp="1"/>
          </p:cNvSpPr>
          <p:nvPr>
            <p:ph type="title"/>
          </p:nvPr>
        </p:nvSpPr>
        <p:spPr>
          <a:xfrm>
            <a:off x="550863" y="549276"/>
            <a:ext cx="10477355" cy="827087"/>
          </a:xfrm>
          <a:prstGeom prst="rect">
            <a:avLst/>
          </a:prstGeom>
        </p:spPr>
        <p:txBody>
          <a:bodyPr vert="horz" lIns="0" tIns="0" rIns="0" bIns="0" rtlCol="0" anchor="t">
            <a:normAutofit/>
          </a:bodyPr>
          <a:lstStyle/>
          <a:p>
            <a:r>
              <a:rPr lang="nl-NL"/>
              <a:t>Klik om stijl te bewerken</a:t>
            </a:r>
            <a:endParaRPr lang="en-GB"/>
          </a:p>
        </p:txBody>
      </p:sp>
      <p:sp>
        <p:nvSpPr>
          <p:cNvPr id="3" name="Text Placeholder 2">
            <a:extLst>
              <a:ext uri="{FF2B5EF4-FFF2-40B4-BE49-F238E27FC236}">
                <a16:creationId xmlns:a16="http://schemas.microsoft.com/office/drawing/2014/main" id="{D2F46AF9-2571-4597-A79C-30B124B8098F}"/>
              </a:ext>
            </a:extLst>
          </p:cNvPr>
          <p:cNvSpPr>
            <a:spLocks noGrp="1"/>
          </p:cNvSpPr>
          <p:nvPr>
            <p:ph type="body" idx="1"/>
          </p:nvPr>
        </p:nvSpPr>
        <p:spPr>
          <a:xfrm>
            <a:off x="550863" y="1376364"/>
            <a:ext cx="11090275" cy="4800600"/>
          </a:xfrm>
          <a:prstGeom prst="rect">
            <a:avLst/>
          </a:prstGeom>
        </p:spPr>
        <p:txBody>
          <a:bodyPr vert="horz" lIns="0" tIns="0" rIns="0" bIns="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Slide Number Placeholder 5">
            <a:extLst>
              <a:ext uri="{FF2B5EF4-FFF2-40B4-BE49-F238E27FC236}">
                <a16:creationId xmlns:a16="http://schemas.microsoft.com/office/drawing/2014/main" id="{01A1C4E8-0821-44DB-9FFB-80BCA431BE1C}"/>
              </a:ext>
            </a:extLst>
          </p:cNvPr>
          <p:cNvSpPr>
            <a:spLocks noGrp="1"/>
          </p:cNvSpPr>
          <p:nvPr>
            <p:ph type="sldNum" sz="quarter" idx="4"/>
          </p:nvPr>
        </p:nvSpPr>
        <p:spPr>
          <a:xfrm>
            <a:off x="11322051" y="6431096"/>
            <a:ext cx="319088" cy="130042"/>
          </a:xfrm>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fld id="{015F0CDB-A812-4850-A270-8696C5F0BFD2}" type="slidenum">
              <a:rPr lang="en-GB" smtClean="0"/>
              <a:pPr/>
              <a:t>‹#›</a:t>
            </a:fld>
            <a:endParaRPr lang="en-GB"/>
          </a:p>
        </p:txBody>
      </p:sp>
      <p:pic>
        <p:nvPicPr>
          <p:cNvPr id="5" name="Picture 20">
            <a:extLst>
              <a:ext uri="{FF2B5EF4-FFF2-40B4-BE49-F238E27FC236}">
                <a16:creationId xmlns:a16="http://schemas.microsoft.com/office/drawing/2014/main" id="{1FD0883F-FF49-E937-2063-38BBC849E123}"/>
              </a:ext>
            </a:extLst>
          </p:cNvPr>
          <p:cNvPicPr>
            <a:picLocks noChangeAspect="1"/>
          </p:cNvPicPr>
          <p:nvPr userDrawn="1"/>
        </p:nvPicPr>
        <p:blipFill>
          <a:blip r:embed="rId94" cstate="screen">
            <a:extLst>
              <a:ext uri="{28A0092B-C50C-407E-A947-70E740481C1C}">
                <a14:useLocalDpi xmlns:a14="http://schemas.microsoft.com/office/drawing/2010/main"/>
              </a:ext>
            </a:extLst>
          </a:blip>
          <a:srcRect/>
          <a:stretch/>
        </p:blipFill>
        <p:spPr>
          <a:xfrm>
            <a:off x="554496" y="6335818"/>
            <a:ext cx="793134" cy="258437"/>
          </a:xfrm>
          <a:prstGeom prst="rect">
            <a:avLst/>
          </a:prstGeom>
        </p:spPr>
      </p:pic>
      <p:pic>
        <p:nvPicPr>
          <p:cNvPr id="7" name="Picture 7">
            <a:extLst>
              <a:ext uri="{FF2B5EF4-FFF2-40B4-BE49-F238E27FC236}">
                <a16:creationId xmlns:a16="http://schemas.microsoft.com/office/drawing/2014/main" id="{F3E15F86-511A-5818-299A-B48FB5ACF596}"/>
              </a:ext>
            </a:extLst>
          </p:cNvPr>
          <p:cNvPicPr>
            <a:picLocks noChangeAspect="1"/>
          </p:cNvPicPr>
          <p:nvPr userDrawn="1"/>
        </p:nvPicPr>
        <p:blipFill>
          <a:blip r:embed="rId95" cstate="email">
            <a:extLst>
              <a:ext uri="{28A0092B-C50C-407E-A947-70E740481C1C}">
                <a14:useLocalDpi xmlns:a14="http://schemas.microsoft.com/office/drawing/2010/main"/>
              </a:ext>
            </a:extLst>
          </a:blip>
          <a:stretch>
            <a:fillRect/>
          </a:stretch>
        </p:blipFill>
        <p:spPr>
          <a:xfrm>
            <a:off x="11094960" y="549275"/>
            <a:ext cx="573390" cy="668480"/>
          </a:xfrm>
          <a:prstGeom prst="rect">
            <a:avLst/>
          </a:prstGeom>
        </p:spPr>
      </p:pic>
      <p:sp>
        <p:nvSpPr>
          <p:cNvPr id="8" name="Segnaposto piè di pagina 7">
            <a:extLst>
              <a:ext uri="{FF2B5EF4-FFF2-40B4-BE49-F238E27FC236}">
                <a16:creationId xmlns:a16="http://schemas.microsoft.com/office/drawing/2014/main" id="{0BDB8E52-B4F0-16CA-5951-80EDD041E80A}"/>
              </a:ext>
            </a:extLst>
          </p:cNvPr>
          <p:cNvSpPr>
            <a:spLocks noGrp="1"/>
          </p:cNvSpPr>
          <p:nvPr>
            <p:ph type="ftr" sz="quarter" idx="3"/>
          </p:nvPr>
        </p:nvSpPr>
        <p:spPr>
          <a:xfrm>
            <a:off x="9896079" y="6431095"/>
            <a:ext cx="1425971" cy="130043"/>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07700090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 id="2147483899" r:id="rId60"/>
    <p:sldLayoutId id="2147483900" r:id="rId61"/>
    <p:sldLayoutId id="2147483901" r:id="rId62"/>
    <p:sldLayoutId id="2147483902" r:id="rId63"/>
    <p:sldLayoutId id="2147483903" r:id="rId64"/>
    <p:sldLayoutId id="2147483904" r:id="rId65"/>
    <p:sldLayoutId id="2147483905" r:id="rId66"/>
    <p:sldLayoutId id="2147483906" r:id="rId67"/>
    <p:sldLayoutId id="2147483907" r:id="rId68"/>
    <p:sldLayoutId id="2147483908" r:id="rId69"/>
    <p:sldLayoutId id="2147483909" r:id="rId70"/>
    <p:sldLayoutId id="2147483910" r:id="rId71"/>
    <p:sldLayoutId id="2147483911" r:id="rId72"/>
    <p:sldLayoutId id="2147483912" r:id="rId73"/>
    <p:sldLayoutId id="2147483913" r:id="rId74"/>
    <p:sldLayoutId id="2147483914" r:id="rId75"/>
    <p:sldLayoutId id="2147483915" r:id="rId76"/>
    <p:sldLayoutId id="2147483916" r:id="rId77"/>
    <p:sldLayoutId id="2147483917" r:id="rId78"/>
    <p:sldLayoutId id="2147483918" r:id="rId79"/>
    <p:sldLayoutId id="2147483919" r:id="rId80"/>
    <p:sldLayoutId id="2147483920" r:id="rId81"/>
    <p:sldLayoutId id="2147483921" r:id="rId82"/>
    <p:sldLayoutId id="2147483922" r:id="rId83"/>
    <p:sldLayoutId id="2147483923" r:id="rId84"/>
    <p:sldLayoutId id="2147483925" r:id="rId85"/>
    <p:sldLayoutId id="2147483926" r:id="rId86"/>
    <p:sldLayoutId id="2147483927" r:id="rId87"/>
    <p:sldLayoutId id="2147483930" r:id="rId88"/>
    <p:sldLayoutId id="2147483931" r:id="rId89"/>
  </p:sldLayoutIdLst>
  <p:hf hdr="0" dt="0"/>
  <p:txStyles>
    <p:titleStyle>
      <a:lvl1pPr algn="l" defTabSz="914400" rtl="0" eaLnBrk="1" latinLnBrk="0" hangingPunct="1">
        <a:lnSpc>
          <a:spcPct val="90000"/>
        </a:lnSpc>
        <a:spcBef>
          <a:spcPct val="0"/>
        </a:spcBef>
        <a:buNone/>
        <a:defRPr sz="2000" b="1" i="0" kern="1200" cap="all" baseline="0">
          <a:solidFill>
            <a:schemeClr val="accent1"/>
          </a:solidFill>
          <a:latin typeface="Prometo" panose="020B0604030203060203"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tx2"/>
          </a:solidFill>
          <a:latin typeface="Arial" panose="020B0604020202020204" pitchFamily="34" charset="0"/>
          <a:ea typeface="+mn-ea"/>
          <a:cs typeface="+mn-cs"/>
        </a:defRPr>
      </a:lvl1pPr>
      <a:lvl2pPr marL="457200" indent="0" algn="l" defTabSz="914400" rtl="0" eaLnBrk="1" latinLnBrk="0" hangingPunct="1">
        <a:lnSpc>
          <a:spcPct val="90000"/>
        </a:lnSpc>
        <a:spcBef>
          <a:spcPts val="1000"/>
        </a:spcBef>
        <a:buFont typeface="Arial" panose="020B0604020202020204" pitchFamily="34" charset="0"/>
        <a:buNone/>
        <a:defRPr sz="1200" b="0" i="0" kern="1200">
          <a:solidFill>
            <a:schemeClr val="tx2"/>
          </a:solidFill>
          <a:latin typeface="Arial" panose="020B0604020202020204" pitchFamily="34" charset="0"/>
          <a:ea typeface="+mn-ea"/>
          <a:cs typeface="+mn-cs"/>
        </a:defRPr>
      </a:lvl2pPr>
      <a:lvl3pPr marL="914400" indent="0" algn="l" defTabSz="914400" rtl="0" eaLnBrk="1" latinLnBrk="0" hangingPunct="1">
        <a:lnSpc>
          <a:spcPct val="90000"/>
        </a:lnSpc>
        <a:spcBef>
          <a:spcPts val="1000"/>
        </a:spcBef>
        <a:buFont typeface="Arial" panose="020B0604020202020204" pitchFamily="34" charset="0"/>
        <a:buNone/>
        <a:defRPr sz="1200" b="0" i="0" kern="1200">
          <a:solidFill>
            <a:schemeClr val="tx2"/>
          </a:solidFill>
          <a:latin typeface="Arial" panose="020B0604020202020204" pitchFamily="34" charset="0"/>
          <a:ea typeface="+mn-ea"/>
          <a:cs typeface="+mn-cs"/>
        </a:defRPr>
      </a:lvl3pPr>
      <a:lvl4pPr marL="1371600" indent="0" algn="l" defTabSz="914400" rtl="0" eaLnBrk="1" latinLnBrk="0" hangingPunct="1">
        <a:lnSpc>
          <a:spcPct val="90000"/>
        </a:lnSpc>
        <a:spcBef>
          <a:spcPts val="1000"/>
        </a:spcBef>
        <a:buFont typeface="Arial" panose="020B0604020202020204" pitchFamily="34" charset="0"/>
        <a:buNone/>
        <a:defRPr sz="1200" b="0" i="0" kern="1200">
          <a:solidFill>
            <a:schemeClr val="tx2"/>
          </a:solidFill>
          <a:latin typeface="Arial" panose="020B0604020202020204" pitchFamily="34" charset="0"/>
          <a:ea typeface="+mn-ea"/>
          <a:cs typeface="+mn-cs"/>
        </a:defRPr>
      </a:lvl4pPr>
      <a:lvl5pPr marL="1828800" indent="0" algn="l" defTabSz="914400" rtl="0" eaLnBrk="1" latinLnBrk="0" hangingPunct="1">
        <a:lnSpc>
          <a:spcPct val="90000"/>
        </a:lnSpc>
        <a:spcBef>
          <a:spcPts val="1000"/>
        </a:spcBef>
        <a:buFont typeface="Arial" panose="020B0604020202020204" pitchFamily="34" charset="0"/>
        <a:buNone/>
        <a:defRPr sz="1200" b="0" i="0" kern="1200">
          <a:solidFill>
            <a:schemeClr val="tx2"/>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6" orient="horz" pos="3974">
          <p15:clr>
            <a:srgbClr val="F26B43"/>
          </p15:clr>
        </p15:guide>
        <p15:guide id="27" pos="347">
          <p15:clr>
            <a:srgbClr val="F26B43"/>
          </p15:clr>
        </p15:guide>
        <p15:guide id="28" pos="735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hyperlink" Target="https://www.hs.fi/visio/art-2000011570503.html" TargetMode="External"/><Relationship Id="rId2" Type="http://schemas.openxmlformats.org/officeDocument/2006/relationships/image" Target="../media/image46.png"/><Relationship Id="rId1" Type="http://schemas.openxmlformats.org/officeDocument/2006/relationships/slideLayout" Target="../slideLayouts/slideLayout17.xml"/><Relationship Id="rId5" Type="http://schemas.openxmlformats.org/officeDocument/2006/relationships/image" Target="../media/image48.sv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1.png"/><Relationship Id="rId12" Type="http://schemas.microsoft.com/office/2007/relationships/hdphoto" Target="../media/hdphoto2.wdp"/><Relationship Id="rId2" Type="http://schemas.openxmlformats.org/officeDocument/2006/relationships/image" Target="../media/image26.png"/><Relationship Id="rId1" Type="http://schemas.openxmlformats.org/officeDocument/2006/relationships/slideLayout" Target="../slideLayouts/slideLayout102.xml"/><Relationship Id="rId6" Type="http://schemas.openxmlformats.org/officeDocument/2006/relationships/image" Target="../media/image30.png"/><Relationship Id="rId11" Type="http://schemas.openxmlformats.org/officeDocument/2006/relationships/image" Target="../media/image34.png"/><Relationship Id="rId5" Type="http://schemas.openxmlformats.org/officeDocument/2006/relationships/image" Target="../media/image29.png"/><Relationship Id="rId15" Type="http://schemas.openxmlformats.org/officeDocument/2006/relationships/image" Target="../media/image36.png"/><Relationship Id="rId10" Type="http://schemas.microsoft.com/office/2007/relationships/hdphoto" Target="../media/hdphoto1.wdp"/><Relationship Id="rId4" Type="http://schemas.openxmlformats.org/officeDocument/2006/relationships/image" Target="../media/image28.jpeg"/><Relationship Id="rId9" Type="http://schemas.openxmlformats.org/officeDocument/2006/relationships/image" Target="../media/image33.png"/><Relationship Id="rId14" Type="http://schemas.microsoft.com/office/2007/relationships/hdphoto" Target="../media/hdphoto3.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eur-lex.europa.eu/FI/legal-content/glossary/waste-hierarchy.html" TargetMode="Externa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diagramColors" Target="../diagrams/colors1.xml"/><Relationship Id="rId11" Type="http://schemas.openxmlformats.org/officeDocument/2006/relationships/image" Target="../media/image43.svg"/><Relationship Id="rId5" Type="http://schemas.openxmlformats.org/officeDocument/2006/relationships/diagramQuickStyle" Target="../diagrams/quickStyle1.xml"/><Relationship Id="rId10" Type="http://schemas.openxmlformats.org/officeDocument/2006/relationships/image" Target="../media/image42.png"/><Relationship Id="rId4" Type="http://schemas.openxmlformats.org/officeDocument/2006/relationships/diagramLayout" Target="../diagrams/layout1.xml"/><Relationship Id="rId9" Type="http://schemas.openxmlformats.org/officeDocument/2006/relationships/image" Target="../media/image41.sv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D058271A-BC6B-D938-3B6E-3BC534AD7B00}"/>
              </a:ext>
            </a:extLst>
          </p:cNvPr>
          <p:cNvSpPr>
            <a:spLocks noGrp="1"/>
          </p:cNvSpPr>
          <p:nvPr>
            <p:ph type="sldNum" sz="quarter" idx="4294967295"/>
          </p:nvPr>
        </p:nvSpPr>
        <p:spPr>
          <a:xfrm>
            <a:off x="11872913" y="6430963"/>
            <a:ext cx="319087" cy="13017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5F0CDB-A812-4850-A270-8696C5F0BFD2}" type="slidenum">
              <a:rPr kumimoji="0" lang="en-GB" sz="18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3" name="Alatunnisteen paikkamerkki 2">
            <a:extLst>
              <a:ext uri="{FF2B5EF4-FFF2-40B4-BE49-F238E27FC236}">
                <a16:creationId xmlns:a16="http://schemas.microsoft.com/office/drawing/2014/main" id="{2E2EDF98-FCAC-8C50-141F-560DE47B4270}"/>
              </a:ext>
            </a:extLst>
          </p:cNvPr>
          <p:cNvSpPr>
            <a:spLocks noGrp="1"/>
          </p:cNvSpPr>
          <p:nvPr>
            <p:ph type="ftr" sz="quarter" idx="4294967295"/>
          </p:nvPr>
        </p:nvSpPr>
        <p:spPr>
          <a:xfrm>
            <a:off x="10766425" y="6430963"/>
            <a:ext cx="1425575" cy="13017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Helvetica Neue Light" panose="02000403000000020004" pitchFamily="2" charset="0"/>
                <a:cs typeface="+mn-cs"/>
              </a:rPr>
              <a:t>©Selecta</a:t>
            </a:r>
          </a:p>
        </p:txBody>
      </p:sp>
      <p:sp>
        <p:nvSpPr>
          <p:cNvPr id="5" name="Tekstiruutu 4">
            <a:extLst>
              <a:ext uri="{FF2B5EF4-FFF2-40B4-BE49-F238E27FC236}">
                <a16:creationId xmlns:a16="http://schemas.microsoft.com/office/drawing/2014/main" id="{4B6DD900-822F-2127-F7C9-F0B69A775787}"/>
              </a:ext>
            </a:extLst>
          </p:cNvPr>
          <p:cNvSpPr txBox="1"/>
          <p:nvPr/>
        </p:nvSpPr>
        <p:spPr>
          <a:xfrm>
            <a:off x="3321185" y="2193746"/>
            <a:ext cx="6113834" cy="523220"/>
          </a:xfrm>
          <a:prstGeom prst="rect">
            <a:avLst/>
          </a:prstGeom>
          <a:noFill/>
        </p:spPr>
        <p:txBody>
          <a:bodyPr wrap="square">
            <a:spAutoFit/>
          </a:bodyPr>
          <a:lstStyle/>
          <a:p>
            <a:r>
              <a:rPr lang="fi-FI" sz="2800" dirty="0">
                <a:solidFill>
                  <a:schemeClr val="bg1"/>
                </a:solidFill>
                <a:effectLst/>
                <a:latin typeface="Prometo" panose="020B0804030203060203" pitchFamily="34" charset="0"/>
                <a:ea typeface="Times New Roman" panose="02020603050405020304" pitchFamily="18" charset="0"/>
                <a:cs typeface="Aptos" panose="020B0004020202020204" pitchFamily="34" charset="0"/>
              </a:rPr>
              <a:t>Takuuhuolletut kahviautomaatit </a:t>
            </a:r>
            <a:endParaRPr lang="fi-FI" sz="2800" dirty="0">
              <a:solidFill>
                <a:schemeClr val="bg1"/>
              </a:solidFill>
              <a:latin typeface="Prometo" panose="020B0804030203060203" pitchFamily="34" charset="0"/>
            </a:endParaRPr>
          </a:p>
        </p:txBody>
      </p:sp>
      <p:sp>
        <p:nvSpPr>
          <p:cNvPr id="6" name="Tekstiruutu 5">
            <a:extLst>
              <a:ext uri="{FF2B5EF4-FFF2-40B4-BE49-F238E27FC236}">
                <a16:creationId xmlns:a16="http://schemas.microsoft.com/office/drawing/2014/main" id="{AFB9C8AD-8FA3-8404-93AE-996E24391A52}"/>
              </a:ext>
            </a:extLst>
          </p:cNvPr>
          <p:cNvSpPr txBox="1"/>
          <p:nvPr/>
        </p:nvSpPr>
        <p:spPr>
          <a:xfrm>
            <a:off x="233464" y="6107797"/>
            <a:ext cx="4761303" cy="646331"/>
          </a:xfrm>
          <a:prstGeom prst="rect">
            <a:avLst/>
          </a:prstGeom>
          <a:noFill/>
        </p:spPr>
        <p:txBody>
          <a:bodyPr wrap="none" rtlCol="0">
            <a:spAutoFit/>
          </a:bodyPr>
          <a:lstStyle/>
          <a:p>
            <a:r>
              <a:rPr lang="fi-FI" dirty="0" err="1">
                <a:solidFill>
                  <a:schemeClr val="bg1"/>
                </a:solidFill>
              </a:rPr>
              <a:t>Category</a:t>
            </a:r>
            <a:r>
              <a:rPr lang="fi-FI" dirty="0">
                <a:solidFill>
                  <a:schemeClr val="bg1"/>
                </a:solidFill>
              </a:rPr>
              <a:t> &amp; Customer </a:t>
            </a:r>
            <a:r>
              <a:rPr lang="fi-FI" dirty="0" err="1">
                <a:solidFill>
                  <a:schemeClr val="bg1"/>
                </a:solidFill>
              </a:rPr>
              <a:t>Lead</a:t>
            </a:r>
            <a:r>
              <a:rPr lang="fi-FI" dirty="0">
                <a:solidFill>
                  <a:schemeClr val="bg1"/>
                </a:solidFill>
              </a:rPr>
              <a:t>, Jenny Kurjenniemi</a:t>
            </a:r>
          </a:p>
          <a:p>
            <a:r>
              <a:rPr lang="fi-FI" dirty="0">
                <a:solidFill>
                  <a:schemeClr val="bg1"/>
                </a:solidFill>
              </a:rPr>
              <a:t>26.3.2026</a:t>
            </a:r>
          </a:p>
        </p:txBody>
      </p:sp>
    </p:spTree>
    <p:extLst>
      <p:ext uri="{BB962C8B-B14F-4D97-AF65-F5344CB8AC3E}">
        <p14:creationId xmlns:p14="http://schemas.microsoft.com/office/powerpoint/2010/main" val="3835437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C96FF8DF-183C-C84D-4EB0-A427A0EC229C}"/>
              </a:ext>
            </a:extLst>
          </p:cNvPr>
          <p:cNvSpPr>
            <a:spLocks noGrp="1"/>
          </p:cNvSpPr>
          <p:nvPr>
            <p:ph type="title"/>
          </p:nvPr>
        </p:nvSpPr>
        <p:spPr>
          <a:xfrm>
            <a:off x="550864" y="549276"/>
            <a:ext cx="9021154" cy="827087"/>
          </a:xfrm>
        </p:spPr>
        <p:txBody>
          <a:bodyPr/>
          <a:lstStyle/>
          <a:p>
            <a:r>
              <a:rPr lang="fi-FI" dirty="0"/>
              <a:t>Takuuhuolletun laitteen päästöjakauma elinkaaren aikana</a:t>
            </a:r>
          </a:p>
        </p:txBody>
      </p:sp>
      <p:graphicFrame>
        <p:nvGraphicFramePr>
          <p:cNvPr id="8" name="Kaavio 7">
            <a:extLst>
              <a:ext uri="{FF2B5EF4-FFF2-40B4-BE49-F238E27FC236}">
                <a16:creationId xmlns:a16="http://schemas.microsoft.com/office/drawing/2014/main" id="{716F00DA-1EFA-862F-1D87-1857C0EF35F8}"/>
              </a:ext>
            </a:extLst>
          </p:cNvPr>
          <p:cNvGraphicFramePr>
            <a:graphicFrameLocks/>
          </p:cNvGraphicFramePr>
          <p:nvPr/>
        </p:nvGraphicFramePr>
        <p:xfrm>
          <a:off x="759869" y="1691638"/>
          <a:ext cx="5473700" cy="4090853"/>
        </p:xfrm>
        <a:graphic>
          <a:graphicData uri="http://schemas.openxmlformats.org/drawingml/2006/chart">
            <c:chart xmlns:c="http://schemas.openxmlformats.org/drawingml/2006/chart" xmlns:r="http://schemas.openxmlformats.org/officeDocument/2006/relationships" r:id="rId3"/>
          </a:graphicData>
        </a:graphic>
      </p:graphicFrame>
      <p:sp>
        <p:nvSpPr>
          <p:cNvPr id="10" name="Suorakulmio: Pyöristetyt kulmat 9">
            <a:extLst>
              <a:ext uri="{FF2B5EF4-FFF2-40B4-BE49-F238E27FC236}">
                <a16:creationId xmlns:a16="http://schemas.microsoft.com/office/drawing/2014/main" id="{C00C5D39-2C01-8D8C-FFDB-03B0253FF2A8}"/>
              </a:ext>
            </a:extLst>
          </p:cNvPr>
          <p:cNvSpPr/>
          <p:nvPr/>
        </p:nvSpPr>
        <p:spPr>
          <a:xfrm>
            <a:off x="6705600" y="3030583"/>
            <a:ext cx="4322618" cy="1706880"/>
          </a:xfrm>
          <a:prstGeom prst="roundRect">
            <a:avLst/>
          </a:prstGeom>
          <a:solidFill>
            <a:schemeClr val="accent2"/>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FFFFFF"/>
                </a:solidFill>
                <a:effectLst/>
                <a:uLnTx/>
                <a:uFillTx/>
                <a:latin typeface="Arial"/>
                <a:ea typeface="+mn-ea"/>
                <a:cs typeface="+mn-cs"/>
              </a:rPr>
              <a:t>Koska käyttövaiheesta tulee selkeästi suurimmat päästöt, vihreän energian käyttö on suositeltavaa.</a:t>
            </a:r>
          </a:p>
        </p:txBody>
      </p:sp>
    </p:spTree>
    <p:extLst>
      <p:ext uri="{BB962C8B-B14F-4D97-AF65-F5344CB8AC3E}">
        <p14:creationId xmlns:p14="http://schemas.microsoft.com/office/powerpoint/2010/main" val="1001737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29536325-1C7A-A086-D374-56F9E6CD8748}"/>
              </a:ext>
            </a:extLst>
          </p:cNvPr>
          <p:cNvSpPr>
            <a:spLocks noGrp="1"/>
          </p:cNvSpPr>
          <p:nvPr>
            <p:ph type="ctrTitle"/>
          </p:nvPr>
        </p:nvSpPr>
        <p:spPr/>
        <p:txBody>
          <a:bodyPr/>
          <a:lstStyle/>
          <a:p>
            <a:r>
              <a:rPr lang="fi-FI" sz="14300" dirty="0"/>
              <a:t>JULKISET HANKINNAT</a:t>
            </a:r>
          </a:p>
        </p:txBody>
      </p:sp>
      <p:sp>
        <p:nvSpPr>
          <p:cNvPr id="2" name="Dian numeron paikkamerkki 1">
            <a:extLst>
              <a:ext uri="{FF2B5EF4-FFF2-40B4-BE49-F238E27FC236}">
                <a16:creationId xmlns:a16="http://schemas.microsoft.com/office/drawing/2014/main" id="{2E345FE4-FEB9-9A8A-078F-B9EF729EC4E5}"/>
              </a:ext>
            </a:extLst>
          </p:cNvPr>
          <p:cNvSpPr>
            <a:spLocks noGrp="1"/>
          </p:cNvSpPr>
          <p:nvPr>
            <p:ph type="sldNum" sz="quarter" idx="4"/>
          </p:nvPr>
        </p:nvSpPr>
        <p:spPr/>
        <p:txBody>
          <a:bodyPr/>
          <a:lstStyle/>
          <a:p>
            <a:fld id="{015F0CDB-A812-4850-A270-8696C5F0BFD2}" type="slidenum">
              <a:rPr lang="en-GB" smtClean="0"/>
              <a:pPr/>
              <a:t>11</a:t>
            </a:fld>
            <a:endParaRPr lang="en-GB"/>
          </a:p>
        </p:txBody>
      </p:sp>
      <p:sp>
        <p:nvSpPr>
          <p:cNvPr id="3" name="Alatunnisteen paikkamerkki 2">
            <a:extLst>
              <a:ext uri="{FF2B5EF4-FFF2-40B4-BE49-F238E27FC236}">
                <a16:creationId xmlns:a16="http://schemas.microsoft.com/office/drawing/2014/main" id="{912BA201-48B3-3C05-E3F3-F32A833D17D5}"/>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2769342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uvan paikkamerkki 7" descr="Kaksi henkilöä, joilla on puhekuplia">
            <a:extLst>
              <a:ext uri="{FF2B5EF4-FFF2-40B4-BE49-F238E27FC236}">
                <a16:creationId xmlns:a16="http://schemas.microsoft.com/office/drawing/2014/main" id="{2A2032E1-C857-5CBD-2C38-E80A3197F724}"/>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22867" b="22867"/>
          <a:stretch>
            <a:fillRect/>
          </a:stretch>
        </p:blipFill>
        <p:spPr/>
      </p:pic>
      <p:sp>
        <p:nvSpPr>
          <p:cNvPr id="4" name="Tekstin paikkamerkki 3">
            <a:extLst>
              <a:ext uri="{FF2B5EF4-FFF2-40B4-BE49-F238E27FC236}">
                <a16:creationId xmlns:a16="http://schemas.microsoft.com/office/drawing/2014/main" id="{F9B2F1B9-F38E-F1A8-CF7C-FD5B0DFA88D0}"/>
              </a:ext>
            </a:extLst>
          </p:cNvPr>
          <p:cNvSpPr>
            <a:spLocks noGrp="1"/>
          </p:cNvSpPr>
          <p:nvPr>
            <p:ph type="body" sz="quarter" idx="15"/>
          </p:nvPr>
        </p:nvSpPr>
        <p:spPr>
          <a:xfrm>
            <a:off x="569094" y="1934678"/>
            <a:ext cx="5976085" cy="3022333"/>
          </a:xfrm>
        </p:spPr>
        <p:txBody>
          <a:bodyPr numCol="2">
            <a:normAutofit fontScale="92500" lnSpcReduction="10000"/>
          </a:bodyPr>
          <a:lstStyle/>
          <a:p>
            <a:pPr algn="l"/>
            <a:r>
              <a:rPr lang="fi-FI" sz="1600" i="1" dirty="0"/>
              <a:t>”Usein muotoiltu niin että laitteiden pitää olla uusia tai vastaavassa kunnossa olevia. Harvemmin on tosi jyrkästi määritelty että pitää olla uusi, mutta sitäkin tapahtuu”</a:t>
            </a:r>
          </a:p>
          <a:p>
            <a:pPr algn="l"/>
            <a:r>
              <a:rPr lang="fi-FI" sz="1600" i="1" dirty="0"/>
              <a:t>”Joskus laitteeseen itsessään ei oteta kantaa mitenkään, on vain se mitä laitteesta pitää saada (mitä juomia) ja mikä on energialuokka. Eli ominaisuudet menee monesti kaiken edelle”</a:t>
            </a:r>
          </a:p>
          <a:p>
            <a:pPr algn="l"/>
            <a:endParaRPr lang="fi-FI" sz="1600" dirty="0"/>
          </a:p>
          <a:p>
            <a:pPr algn="l"/>
            <a:r>
              <a:rPr lang="fi-FI" sz="1600" i="1" dirty="0"/>
              <a:t>”Hintavertailussa otetaan huomioon vain uudet laitteet, vaikka ilmeisesti takuuhuollettuja voi tarjota. Asettaa takuuhuolletut laitteet huonoon asemaan ja käytännössä jos haluaa varmistaa että tarjous on vahvoilla – tarjotaan vain uusia laitteita”</a:t>
            </a:r>
          </a:p>
          <a:p>
            <a:pPr algn="l"/>
            <a:r>
              <a:rPr lang="fi-FI" sz="1600" dirty="0">
                <a:sym typeface="Wingdings" panose="05000000000000000000" pitchFamily="2" charset="2"/>
              </a:rPr>
              <a:t> </a:t>
            </a:r>
            <a:r>
              <a:rPr lang="fi-FI" sz="1600" dirty="0"/>
              <a:t>Oleellista olisi, että takuuhuollettuja laitteita ei suljeta pois. Usein niiden hinta vastaa myös sitä hintapistettä, mitä asiakas tarjouskilpailussa hakee.</a:t>
            </a:r>
          </a:p>
        </p:txBody>
      </p:sp>
      <p:sp>
        <p:nvSpPr>
          <p:cNvPr id="5" name="Otsikko 4">
            <a:extLst>
              <a:ext uri="{FF2B5EF4-FFF2-40B4-BE49-F238E27FC236}">
                <a16:creationId xmlns:a16="http://schemas.microsoft.com/office/drawing/2014/main" id="{2146A96B-D8A9-93C5-1C33-D0883E270130}"/>
              </a:ext>
            </a:extLst>
          </p:cNvPr>
          <p:cNvSpPr>
            <a:spLocks noGrp="1"/>
          </p:cNvSpPr>
          <p:nvPr>
            <p:ph type="title"/>
          </p:nvPr>
        </p:nvSpPr>
        <p:spPr/>
        <p:txBody>
          <a:bodyPr/>
          <a:lstStyle/>
          <a:p>
            <a:r>
              <a:rPr lang="fi-FI" dirty="0"/>
              <a:t>Kokemuksia julkisista hankinnoista</a:t>
            </a:r>
          </a:p>
        </p:txBody>
      </p:sp>
      <p:sp>
        <p:nvSpPr>
          <p:cNvPr id="2" name="Dian numeron paikkamerkki 1">
            <a:extLst>
              <a:ext uri="{FF2B5EF4-FFF2-40B4-BE49-F238E27FC236}">
                <a16:creationId xmlns:a16="http://schemas.microsoft.com/office/drawing/2014/main" id="{D9BF9354-DAEB-8FF0-6E41-C495E052F311}"/>
              </a:ext>
            </a:extLst>
          </p:cNvPr>
          <p:cNvSpPr>
            <a:spLocks noGrp="1"/>
          </p:cNvSpPr>
          <p:nvPr>
            <p:ph type="sldNum" sz="quarter" idx="4"/>
          </p:nvPr>
        </p:nvSpPr>
        <p:spPr/>
        <p:txBody>
          <a:bodyPr/>
          <a:lstStyle/>
          <a:p>
            <a:fld id="{015F0CDB-A812-4850-A270-8696C5F0BFD2}" type="slidenum">
              <a:rPr lang="en-GB" smtClean="0"/>
              <a:pPr/>
              <a:t>12</a:t>
            </a:fld>
            <a:endParaRPr lang="en-GB"/>
          </a:p>
        </p:txBody>
      </p:sp>
      <p:sp>
        <p:nvSpPr>
          <p:cNvPr id="3" name="Alatunnisteen paikkamerkki 2">
            <a:extLst>
              <a:ext uri="{FF2B5EF4-FFF2-40B4-BE49-F238E27FC236}">
                <a16:creationId xmlns:a16="http://schemas.microsoft.com/office/drawing/2014/main" id="{9F082622-A9FD-4CA8-4F10-EB723E3C9CC0}"/>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622758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A2B78279-1ADA-4ECD-05CC-9CB57D0FC911}"/>
              </a:ext>
            </a:extLst>
          </p:cNvPr>
          <p:cNvSpPr>
            <a:spLocks noGrp="1"/>
          </p:cNvSpPr>
          <p:nvPr>
            <p:ph type="sldNum" sz="quarter" idx="4"/>
          </p:nvPr>
        </p:nvSpPr>
        <p:spPr/>
        <p:txBody>
          <a:bodyPr/>
          <a:lstStyle/>
          <a:p>
            <a:fld id="{015F0CDB-A812-4850-A270-8696C5F0BFD2}" type="slidenum">
              <a:rPr lang="en-GB" smtClean="0"/>
              <a:pPr/>
              <a:t>13</a:t>
            </a:fld>
            <a:endParaRPr lang="en-GB"/>
          </a:p>
        </p:txBody>
      </p:sp>
      <p:sp>
        <p:nvSpPr>
          <p:cNvPr id="3" name="Alatunnisteen paikkamerkki 2">
            <a:extLst>
              <a:ext uri="{FF2B5EF4-FFF2-40B4-BE49-F238E27FC236}">
                <a16:creationId xmlns:a16="http://schemas.microsoft.com/office/drawing/2014/main" id="{1E7A1733-889E-88E9-C93F-7EA8FA7B6DA3}"/>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
        <p:nvSpPr>
          <p:cNvPr id="7" name="Tekstin paikkamerkki 6">
            <a:extLst>
              <a:ext uri="{FF2B5EF4-FFF2-40B4-BE49-F238E27FC236}">
                <a16:creationId xmlns:a16="http://schemas.microsoft.com/office/drawing/2014/main" id="{8D4735F0-976A-8E83-EE97-6FDB23E7D27D}"/>
              </a:ext>
            </a:extLst>
          </p:cNvPr>
          <p:cNvSpPr>
            <a:spLocks noGrp="1"/>
          </p:cNvSpPr>
          <p:nvPr>
            <p:ph type="body" sz="quarter" idx="15"/>
          </p:nvPr>
        </p:nvSpPr>
        <p:spPr>
          <a:xfrm>
            <a:off x="550863" y="4324304"/>
            <a:ext cx="10662569" cy="1648612"/>
          </a:xfrm>
          <a:ln>
            <a:solidFill>
              <a:schemeClr val="accent1"/>
            </a:solidFill>
          </a:ln>
        </p:spPr>
        <p:txBody>
          <a:bodyPr numCol="1">
            <a:normAutofit/>
          </a:bodyPr>
          <a:lstStyle/>
          <a:p>
            <a:pPr marL="171450" indent="-171450">
              <a:buFont typeface="Arial" panose="020B0604020202020204" pitchFamily="34" charset="0"/>
              <a:buChar char="•"/>
            </a:pPr>
            <a:r>
              <a:rPr lang="fi-FI" dirty="0"/>
              <a:t>Tarjoukselle pitää yleisesti ladata esite eli käytännössä joudutaan tarjoamaan yhtä laitetyyppiä. Olisi parempi että laitemalleja voisi tarjota laajemmin kun </a:t>
            </a:r>
            <a:r>
              <a:rPr lang="fi-FI" b="1" dirty="0"/>
              <a:t>ominaisuudet ovat samat. </a:t>
            </a:r>
            <a:r>
              <a:rPr lang="fi-FI" dirty="0"/>
              <a:t>Ostaako/vuokraako asiakas käyttöönsä teknisiä laitteita vai kahvipalvelua? </a:t>
            </a:r>
            <a:endParaRPr lang="fi-FI" b="1" dirty="0"/>
          </a:p>
          <a:p>
            <a:pPr marL="171450" indent="-171450">
              <a:buFont typeface="Arial" panose="020B0604020202020204" pitchFamily="34" charset="0"/>
              <a:buChar char="•"/>
            </a:pPr>
            <a:r>
              <a:rPr lang="fi-FI" dirty="0"/>
              <a:t>2 vuoden käyttöikä ongelmallinen – yleinen minimisopimuskausi 3 vuotta. </a:t>
            </a:r>
          </a:p>
          <a:p>
            <a:pPr marL="628650" lvl="1" indent="-171450">
              <a:buFont typeface="Arial" panose="020B0604020202020204" pitchFamily="34" charset="0"/>
              <a:buChar char="•"/>
            </a:pPr>
            <a:r>
              <a:rPr lang="fi-FI" dirty="0"/>
              <a:t>Uuden laitteen laiteinvestointi ei ole katettu 2 vuoden sopimuksella ellei sitten kk-kulu ole korkea. </a:t>
            </a:r>
          </a:p>
          <a:p>
            <a:pPr marL="628650" lvl="1" indent="-171450">
              <a:buFont typeface="Arial" panose="020B0604020202020204" pitchFamily="34" charset="0"/>
              <a:buChar char="•"/>
            </a:pPr>
            <a:r>
              <a:rPr lang="fi-FI" dirty="0"/>
              <a:t>Kuinka</a:t>
            </a:r>
            <a:r>
              <a:rPr lang="fi-FI" dirty="0">
                <a:sym typeface="Wingdings" panose="05000000000000000000" pitchFamily="2" charset="2"/>
              </a:rPr>
              <a:t> järkevää on edes takuuhuoltaa 2-3 vuotta vanhoja laitteita? Sellaisia ei ole saatavilla.</a:t>
            </a:r>
          </a:p>
          <a:p>
            <a:pPr marL="171450" indent="-171450">
              <a:buFont typeface="Arial" panose="020B0604020202020204" pitchFamily="34" charset="0"/>
              <a:buChar char="•"/>
            </a:pPr>
            <a:r>
              <a:rPr lang="fi-FI" dirty="0"/>
              <a:t>Kiertotalouden logiikka on ”hitaampi” ja tarjotaan mitä on saatavilla eikä mitä tehdaskatalogista on saatavilla. Suomen kokoisessa maassa volyymit pieniä.</a:t>
            </a:r>
          </a:p>
        </p:txBody>
      </p:sp>
      <p:sp>
        <p:nvSpPr>
          <p:cNvPr id="6" name="Otsikko 5">
            <a:extLst>
              <a:ext uri="{FF2B5EF4-FFF2-40B4-BE49-F238E27FC236}">
                <a16:creationId xmlns:a16="http://schemas.microsoft.com/office/drawing/2014/main" id="{55B72D66-EE46-B0C7-E787-817BA6285F72}"/>
              </a:ext>
            </a:extLst>
          </p:cNvPr>
          <p:cNvSpPr>
            <a:spLocks noGrp="1"/>
          </p:cNvSpPr>
          <p:nvPr>
            <p:ph type="title"/>
          </p:nvPr>
        </p:nvSpPr>
        <p:spPr/>
        <p:txBody>
          <a:bodyPr/>
          <a:lstStyle/>
          <a:p>
            <a:r>
              <a:rPr lang="fi-FI" dirty="0"/>
              <a:t>Esimerkki 1</a:t>
            </a:r>
          </a:p>
        </p:txBody>
      </p:sp>
      <p:pic>
        <p:nvPicPr>
          <p:cNvPr id="1026" name="Picture 2">
            <a:extLst>
              <a:ext uri="{FF2B5EF4-FFF2-40B4-BE49-F238E27FC236}">
                <a16:creationId xmlns:a16="http://schemas.microsoft.com/office/drawing/2014/main" id="{A0363326-19FE-B499-0D48-02DFAC0998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63" y="1393102"/>
            <a:ext cx="8226793" cy="25821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 name="Suorakulmio: Pyöristetyt kulmat 3">
            <a:extLst>
              <a:ext uri="{FF2B5EF4-FFF2-40B4-BE49-F238E27FC236}">
                <a16:creationId xmlns:a16="http://schemas.microsoft.com/office/drawing/2014/main" id="{25E43C50-2407-D8AE-8999-307D59D87767}"/>
              </a:ext>
            </a:extLst>
          </p:cNvPr>
          <p:cNvSpPr/>
          <p:nvPr/>
        </p:nvSpPr>
        <p:spPr>
          <a:xfrm>
            <a:off x="1414914" y="1905802"/>
            <a:ext cx="616017" cy="231006"/>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i-FI"/>
          </a:p>
        </p:txBody>
      </p:sp>
      <p:sp>
        <p:nvSpPr>
          <p:cNvPr id="5" name="Suorakulmio: Pyöristetyt kulmat 4">
            <a:extLst>
              <a:ext uri="{FF2B5EF4-FFF2-40B4-BE49-F238E27FC236}">
                <a16:creationId xmlns:a16="http://schemas.microsoft.com/office/drawing/2014/main" id="{5371F1E2-3CD4-2D4B-CD7E-F8CF15A18AE8}"/>
              </a:ext>
            </a:extLst>
          </p:cNvPr>
          <p:cNvSpPr/>
          <p:nvPr/>
        </p:nvSpPr>
        <p:spPr>
          <a:xfrm>
            <a:off x="7121091" y="1742172"/>
            <a:ext cx="1656565" cy="231006"/>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i-FI"/>
          </a:p>
        </p:txBody>
      </p:sp>
      <p:sp>
        <p:nvSpPr>
          <p:cNvPr id="8" name="Tekstiruutu 7">
            <a:extLst>
              <a:ext uri="{FF2B5EF4-FFF2-40B4-BE49-F238E27FC236}">
                <a16:creationId xmlns:a16="http://schemas.microsoft.com/office/drawing/2014/main" id="{9C1D0D04-7716-C9D0-AA58-DFF40278AA73}"/>
              </a:ext>
            </a:extLst>
          </p:cNvPr>
          <p:cNvSpPr txBox="1"/>
          <p:nvPr/>
        </p:nvSpPr>
        <p:spPr>
          <a:xfrm>
            <a:off x="8777656" y="1661844"/>
            <a:ext cx="2985435" cy="461665"/>
          </a:xfrm>
          <a:prstGeom prst="rect">
            <a:avLst/>
          </a:prstGeom>
          <a:noFill/>
        </p:spPr>
        <p:txBody>
          <a:bodyPr wrap="square" rtlCol="0">
            <a:spAutoFit/>
          </a:bodyPr>
          <a:lstStyle/>
          <a:p>
            <a:r>
              <a:rPr lang="fi-FI" sz="1200" dirty="0"/>
              <a:t>Vain uusi laite mukana hintavertailussa/pisteytyksessä</a:t>
            </a:r>
          </a:p>
        </p:txBody>
      </p:sp>
      <p:sp>
        <p:nvSpPr>
          <p:cNvPr id="9" name="Tekstiruutu 8">
            <a:extLst>
              <a:ext uri="{FF2B5EF4-FFF2-40B4-BE49-F238E27FC236}">
                <a16:creationId xmlns:a16="http://schemas.microsoft.com/office/drawing/2014/main" id="{2137E2B8-E5BB-14A9-57FE-4D24817D20CB}"/>
              </a:ext>
            </a:extLst>
          </p:cNvPr>
          <p:cNvSpPr txBox="1"/>
          <p:nvPr/>
        </p:nvSpPr>
        <p:spPr>
          <a:xfrm>
            <a:off x="5320583" y="2616457"/>
            <a:ext cx="2985435" cy="276999"/>
          </a:xfrm>
          <a:prstGeom prst="rect">
            <a:avLst/>
          </a:prstGeom>
          <a:noFill/>
        </p:spPr>
        <p:txBody>
          <a:bodyPr wrap="square" rtlCol="0">
            <a:spAutoFit/>
          </a:bodyPr>
          <a:lstStyle/>
          <a:p>
            <a:r>
              <a:rPr lang="fi-FI" sz="1200" dirty="0"/>
              <a:t>Vain yhden laitteen esite voidaan ladata</a:t>
            </a:r>
          </a:p>
        </p:txBody>
      </p:sp>
      <p:sp>
        <p:nvSpPr>
          <p:cNvPr id="10" name="Suorakulmio: Pyöristetyt kulmat 9">
            <a:extLst>
              <a:ext uri="{FF2B5EF4-FFF2-40B4-BE49-F238E27FC236}">
                <a16:creationId xmlns:a16="http://schemas.microsoft.com/office/drawing/2014/main" id="{7DA75220-B6F8-33EB-63D7-C03F29F226D1}"/>
              </a:ext>
            </a:extLst>
          </p:cNvPr>
          <p:cNvSpPr/>
          <p:nvPr/>
        </p:nvSpPr>
        <p:spPr>
          <a:xfrm>
            <a:off x="550863" y="3012942"/>
            <a:ext cx="3279992" cy="627962"/>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i-FI"/>
          </a:p>
        </p:txBody>
      </p:sp>
      <p:sp>
        <p:nvSpPr>
          <p:cNvPr id="12" name="Tekstiruutu 11">
            <a:extLst>
              <a:ext uri="{FF2B5EF4-FFF2-40B4-BE49-F238E27FC236}">
                <a16:creationId xmlns:a16="http://schemas.microsoft.com/office/drawing/2014/main" id="{EEBCFD78-1E7D-9630-3C33-4564006C789D}"/>
              </a:ext>
            </a:extLst>
          </p:cNvPr>
          <p:cNvSpPr txBox="1"/>
          <p:nvPr/>
        </p:nvSpPr>
        <p:spPr>
          <a:xfrm>
            <a:off x="1486009" y="6308724"/>
            <a:ext cx="6097604" cy="307777"/>
          </a:xfrm>
          <a:prstGeom prst="rect">
            <a:avLst/>
          </a:prstGeom>
          <a:noFill/>
        </p:spPr>
        <p:txBody>
          <a:bodyPr wrap="square">
            <a:spAutoFit/>
          </a:bodyPr>
          <a:lstStyle/>
          <a:p>
            <a:r>
              <a:rPr lang="fi-FI" sz="1400" dirty="0"/>
              <a:t>Mielenkiintoinen artikkeli: </a:t>
            </a:r>
            <a:r>
              <a:rPr lang="fi-FI" sz="1400" dirty="0">
                <a:hlinkClick r:id="rId3"/>
              </a:rPr>
              <a:t>https://www.hs.fi/visio/art-2000011570503.html</a:t>
            </a:r>
            <a:r>
              <a:rPr lang="fi-FI" sz="1400" dirty="0"/>
              <a:t> </a:t>
            </a:r>
          </a:p>
        </p:txBody>
      </p:sp>
      <p:pic>
        <p:nvPicPr>
          <p:cNvPr id="15" name="Kuva 14" descr="Hämmentyneet kasvot, ääriviiva tasaisella täytöllä">
            <a:extLst>
              <a:ext uri="{FF2B5EF4-FFF2-40B4-BE49-F238E27FC236}">
                <a16:creationId xmlns:a16="http://schemas.microsoft.com/office/drawing/2014/main" id="{26DF06C1-A823-179B-85A1-D86E77B2FA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25213" y="396139"/>
            <a:ext cx="1036616" cy="1036616"/>
          </a:xfrm>
          <a:prstGeom prst="rect">
            <a:avLst/>
          </a:prstGeom>
        </p:spPr>
      </p:pic>
    </p:spTree>
    <p:extLst>
      <p:ext uri="{BB962C8B-B14F-4D97-AF65-F5344CB8AC3E}">
        <p14:creationId xmlns:p14="http://schemas.microsoft.com/office/powerpoint/2010/main" val="692515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7DF94EBE-A681-9AAD-F5EC-80618F8F167A}"/>
              </a:ext>
            </a:extLst>
          </p:cNvPr>
          <p:cNvSpPr>
            <a:spLocks noGrp="1"/>
          </p:cNvSpPr>
          <p:nvPr>
            <p:ph type="body" sz="quarter" idx="15"/>
          </p:nvPr>
        </p:nvSpPr>
        <p:spPr>
          <a:xfrm>
            <a:off x="569094" y="1636449"/>
            <a:ext cx="10559350" cy="4516069"/>
          </a:xfrm>
        </p:spPr>
        <p:txBody>
          <a:bodyPr/>
          <a:lstStyle/>
          <a:p>
            <a:pPr algn="l"/>
            <a:r>
              <a:rPr lang="fi-FI" b="1" dirty="0"/>
              <a:t>Palvelusopimuksen toivotut kriteerit:</a:t>
            </a:r>
            <a:endParaRPr lang="fi-FI" dirty="0"/>
          </a:p>
          <a:p>
            <a:pPr marL="171450" lvl="0" indent="-171450" algn="l">
              <a:buFont typeface="Arial" panose="020B0604020202020204" pitchFamily="34" charset="0"/>
              <a:buChar char="•"/>
            </a:pPr>
            <a:r>
              <a:rPr lang="fi-FI" dirty="0"/>
              <a:t>Sopimuksen kesto: 3 vuotta, mahdolliset optiot 1+1 vuotta päälle </a:t>
            </a:r>
          </a:p>
          <a:p>
            <a:pPr marL="171450" lvl="0" indent="-171450" algn="l">
              <a:buFont typeface="Arial" panose="020B0604020202020204" pitchFamily="34" charset="0"/>
              <a:buChar char="•"/>
            </a:pPr>
            <a:r>
              <a:rPr lang="fi-FI" dirty="0"/>
              <a:t>Täyspalvelumalli, jossa toimittaja vastaa laitteista, asennuksesta, raaka‑aineista ja tarvikkeista, täydennyksistä, puhtaanapidosta, huolloista, etävalvonnasta ja raportoinnista</a:t>
            </a:r>
          </a:p>
          <a:p>
            <a:pPr marL="171450" lvl="0" indent="-171450" algn="l">
              <a:buFont typeface="Arial" panose="020B0604020202020204" pitchFamily="34" charset="0"/>
              <a:buChar char="•"/>
            </a:pPr>
            <a:r>
              <a:rPr lang="fi-FI" dirty="0">
                <a:solidFill>
                  <a:schemeClr val="accent1"/>
                </a:solidFill>
              </a:rPr>
              <a:t>Laitteet voivat olla uusia tai takuukunnostettuja; kunnostetuille laitteille edellytetään dokumentoitu huoltohistoria ja takuuehdot. (Täyden palvelun periaatteiden mukaisesti.)</a:t>
            </a:r>
          </a:p>
          <a:p>
            <a:pPr marL="171450" lvl="0" indent="-171450" algn="l">
              <a:buFont typeface="Arial" panose="020B0604020202020204" pitchFamily="34" charset="0"/>
              <a:buChar char="•"/>
            </a:pPr>
            <a:r>
              <a:rPr lang="fi-FI" dirty="0">
                <a:solidFill>
                  <a:schemeClr val="accent1"/>
                </a:solidFill>
              </a:rPr>
              <a:t>Laitteiden on sovelluttava toimistokäyttöön ja tuotettava vähintään suodatinkahvia, erikoiskahveja/espresso‑pohjaisia juomia, kaakaota ja kuumaa vettä, tai vaihtoehtoisesti erilliset ratkaisut, joilla vastaava valikoima saavutetaan.</a:t>
            </a:r>
          </a:p>
          <a:p>
            <a:pPr marL="171450" lvl="0" indent="-171450" algn="l">
              <a:buFont typeface="Arial" panose="020B0604020202020204" pitchFamily="34" charset="0"/>
              <a:buChar char="•"/>
            </a:pPr>
            <a:r>
              <a:rPr lang="fi-FI" dirty="0"/>
              <a:t>Käytettävyyttä ja hygieniaa tukevat ominaisuudet: automaattiset huuhtelu-/puhdistusohjelmat, selkeät merkkivalot ja käyttöliittymä, maidon käsittelyyn sopivat ratkaisut (jauhe tai kylmäsäiliö), sekä ohjeistus päivittäisiin toimenpiteisiin. </a:t>
            </a:r>
          </a:p>
          <a:p>
            <a:pPr marL="171450" lvl="0" indent="-171450" algn="l">
              <a:buFont typeface="Arial" panose="020B0604020202020204" pitchFamily="34" charset="0"/>
              <a:buChar char="•"/>
            </a:pPr>
            <a:r>
              <a:rPr lang="fi-FI" dirty="0"/>
              <a:t>Etävalvonta ja kulutusseuranta: täyttötarpeiden, vikojen ja seisokkien ilmoitukset sekä säännöllinen raportointi kulutuksesta ja käyntikerroista. </a:t>
            </a:r>
          </a:p>
          <a:p>
            <a:pPr marL="171450" lvl="0" indent="-171450" algn="l">
              <a:buFont typeface="Arial" panose="020B0604020202020204" pitchFamily="34" charset="0"/>
              <a:buChar char="•"/>
            </a:pPr>
            <a:r>
              <a:rPr lang="fi-FI" dirty="0"/>
              <a:t>Asennus ja käyttöönotto: toimitus ja asennus kohteeseen, kalusteratkaisujen huomiointi sekä käyttäjäkoulutus. </a:t>
            </a:r>
          </a:p>
          <a:p>
            <a:pPr marL="171450" indent="-171450" algn="l">
              <a:buFont typeface="Arial" panose="020B0604020202020204" pitchFamily="34" charset="0"/>
              <a:buChar char="•"/>
            </a:pPr>
            <a:r>
              <a:rPr lang="fi-FI" dirty="0"/>
              <a:t>Palvelutasot: ehdotus vasteajoista ja korjausajoista, varalaitemenettely kiiretilanteissa sekä huoltokäyntien palveluikkunat. </a:t>
            </a:r>
          </a:p>
          <a:p>
            <a:pPr marL="171450" lvl="0" indent="-171450" algn="l">
              <a:buFont typeface="Arial" panose="020B0604020202020204" pitchFamily="34" charset="0"/>
              <a:buChar char="•"/>
            </a:pPr>
            <a:r>
              <a:rPr lang="fi-FI" dirty="0"/>
              <a:t>Vastuullisuus: raaka‑aineiden sertifikaatit ja jäljitettävyys, </a:t>
            </a:r>
            <a:r>
              <a:rPr lang="fi-FI" dirty="0">
                <a:solidFill>
                  <a:schemeClr val="accent1"/>
                </a:solidFill>
              </a:rPr>
              <a:t>energiatehokkuus- ja lepotilaominaisuudet</a:t>
            </a:r>
            <a:r>
              <a:rPr lang="fi-FI" dirty="0"/>
              <a:t>, jäte- ja purujakeiden käsittely sekä </a:t>
            </a:r>
            <a:r>
              <a:rPr lang="fi-FI" dirty="0">
                <a:solidFill>
                  <a:schemeClr val="accent1"/>
                </a:solidFill>
              </a:rPr>
              <a:t>elinkaaren aikainen huollettavuus ja kierrätettävyys</a:t>
            </a:r>
          </a:p>
          <a:p>
            <a:pPr algn="l"/>
            <a:endParaRPr lang="fi-FI" dirty="0"/>
          </a:p>
        </p:txBody>
      </p:sp>
      <p:sp>
        <p:nvSpPr>
          <p:cNvPr id="2" name="Dian numeron paikkamerkki 1">
            <a:extLst>
              <a:ext uri="{FF2B5EF4-FFF2-40B4-BE49-F238E27FC236}">
                <a16:creationId xmlns:a16="http://schemas.microsoft.com/office/drawing/2014/main" id="{EE383380-596C-BB9C-AD39-16E9A117D71F}"/>
              </a:ext>
            </a:extLst>
          </p:cNvPr>
          <p:cNvSpPr>
            <a:spLocks noGrp="1"/>
          </p:cNvSpPr>
          <p:nvPr>
            <p:ph type="sldNum" sz="quarter" idx="4"/>
          </p:nvPr>
        </p:nvSpPr>
        <p:spPr/>
        <p:txBody>
          <a:bodyPr/>
          <a:lstStyle/>
          <a:p>
            <a:fld id="{015F0CDB-A812-4850-A270-8696C5F0BFD2}" type="slidenum">
              <a:rPr lang="en-GB" smtClean="0"/>
              <a:pPr/>
              <a:t>14</a:t>
            </a:fld>
            <a:endParaRPr lang="en-GB"/>
          </a:p>
        </p:txBody>
      </p:sp>
      <p:sp>
        <p:nvSpPr>
          <p:cNvPr id="3" name="Alatunnisteen paikkamerkki 2">
            <a:extLst>
              <a:ext uri="{FF2B5EF4-FFF2-40B4-BE49-F238E27FC236}">
                <a16:creationId xmlns:a16="http://schemas.microsoft.com/office/drawing/2014/main" id="{0D612F16-1B92-1F8E-A05D-92E842F31BA5}"/>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
        <p:nvSpPr>
          <p:cNvPr id="5" name="Otsikko 4">
            <a:extLst>
              <a:ext uri="{FF2B5EF4-FFF2-40B4-BE49-F238E27FC236}">
                <a16:creationId xmlns:a16="http://schemas.microsoft.com/office/drawing/2014/main" id="{F47C603A-C91B-4F38-90AB-198E65B000B1}"/>
              </a:ext>
            </a:extLst>
          </p:cNvPr>
          <p:cNvSpPr>
            <a:spLocks noGrp="1"/>
          </p:cNvSpPr>
          <p:nvPr>
            <p:ph type="title"/>
          </p:nvPr>
        </p:nvSpPr>
        <p:spPr/>
        <p:txBody>
          <a:bodyPr/>
          <a:lstStyle/>
          <a:p>
            <a:r>
              <a:rPr lang="fi-FI" dirty="0"/>
              <a:t>Esimerkki 2</a:t>
            </a:r>
            <a:br>
              <a:rPr lang="fi-FI" dirty="0"/>
            </a:br>
            <a:r>
              <a:rPr lang="fi-FI" sz="1400" dirty="0"/>
              <a:t>Tietopyyntö ennen tarjouskilpailua</a:t>
            </a:r>
            <a:endParaRPr lang="fi-FI" dirty="0"/>
          </a:p>
        </p:txBody>
      </p:sp>
      <p:sp>
        <p:nvSpPr>
          <p:cNvPr id="6" name="Suorakulmio 5">
            <a:extLst>
              <a:ext uri="{FF2B5EF4-FFF2-40B4-BE49-F238E27FC236}">
                <a16:creationId xmlns:a16="http://schemas.microsoft.com/office/drawing/2014/main" id="{22B7F9C4-269C-41B8-3D83-B34C974A912A}"/>
              </a:ext>
            </a:extLst>
          </p:cNvPr>
          <p:cNvSpPr/>
          <p:nvPr/>
        </p:nvSpPr>
        <p:spPr>
          <a:xfrm>
            <a:off x="6212915" y="3672022"/>
            <a:ext cx="4740636" cy="192607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r>
              <a:rPr lang="fi-FI" sz="1200" dirty="0">
                <a:solidFill>
                  <a:schemeClr val="tx1"/>
                </a:solidFill>
              </a:rPr>
              <a:t>Hyvä lähtökohta vuoropuhelulle ja vastuullisen tarjouksen rakentamiselle. Kerrotaan selkeästi millainen palvelu henkilökunnalle halutaan tarjota:</a:t>
            </a:r>
          </a:p>
          <a:p>
            <a:pPr marL="285750" indent="-285750">
              <a:buFont typeface="Arial" panose="020B0604020202020204" pitchFamily="34" charset="0"/>
              <a:buChar char="•"/>
            </a:pPr>
            <a:r>
              <a:rPr lang="fi-FI" sz="1200" dirty="0">
                <a:solidFill>
                  <a:schemeClr val="tx1"/>
                </a:solidFill>
              </a:rPr>
              <a:t>Toimistokäyttö, henkilökunta (ja toimipisteet)</a:t>
            </a:r>
          </a:p>
          <a:p>
            <a:pPr marL="285750" indent="-285750">
              <a:buFont typeface="Arial" panose="020B0604020202020204" pitchFamily="34" charset="0"/>
              <a:buChar char="•"/>
            </a:pPr>
            <a:r>
              <a:rPr lang="fi-FI" sz="1200" dirty="0">
                <a:solidFill>
                  <a:schemeClr val="tx1"/>
                </a:solidFill>
              </a:rPr>
              <a:t>Millaisia juomia halutaan (”tai vastaava valikoima saavutetaan”)</a:t>
            </a:r>
          </a:p>
          <a:p>
            <a:pPr marL="285750" indent="-285750">
              <a:buFont typeface="Arial" panose="020B0604020202020204" pitchFamily="34" charset="0"/>
              <a:buChar char="•"/>
            </a:pPr>
            <a:r>
              <a:rPr lang="fi-FI" sz="1200" dirty="0">
                <a:solidFill>
                  <a:schemeClr val="tx1"/>
                </a:solidFill>
              </a:rPr>
              <a:t>Palvelumalli ml. Päivittäis- ja tekninen huolto</a:t>
            </a:r>
          </a:p>
          <a:p>
            <a:pPr marL="285750" indent="-285750">
              <a:buFont typeface="Arial" panose="020B0604020202020204" pitchFamily="34" charset="0"/>
              <a:buChar char="•"/>
            </a:pPr>
            <a:r>
              <a:rPr lang="fi-FI" sz="1200" dirty="0"/>
              <a:t>Ei rajoiteta laitemallia yhteen malliin tai määritellä laitteen ikää.</a:t>
            </a:r>
          </a:p>
        </p:txBody>
      </p:sp>
      <p:sp>
        <p:nvSpPr>
          <p:cNvPr id="7" name="Iloiset kasvot 6">
            <a:extLst>
              <a:ext uri="{FF2B5EF4-FFF2-40B4-BE49-F238E27FC236}">
                <a16:creationId xmlns:a16="http://schemas.microsoft.com/office/drawing/2014/main" id="{53C43053-ADE8-C76B-A035-8C6A3C310519}"/>
              </a:ext>
            </a:extLst>
          </p:cNvPr>
          <p:cNvSpPr/>
          <p:nvPr/>
        </p:nvSpPr>
        <p:spPr>
          <a:xfrm>
            <a:off x="9896079" y="412292"/>
            <a:ext cx="900112" cy="827087"/>
          </a:xfrm>
          <a:prstGeom prst="smileyFace">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fi-FI"/>
          </a:p>
        </p:txBody>
      </p:sp>
    </p:spTree>
    <p:extLst>
      <p:ext uri="{BB962C8B-B14F-4D97-AF65-F5344CB8AC3E}">
        <p14:creationId xmlns:p14="http://schemas.microsoft.com/office/powerpoint/2010/main" val="2636486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76CD96BC-5654-F932-C66D-EB819F247FCC}"/>
              </a:ext>
            </a:extLst>
          </p:cNvPr>
          <p:cNvSpPr>
            <a:spLocks noGrp="1"/>
          </p:cNvSpPr>
          <p:nvPr>
            <p:ph type="sldNum" sz="quarter" idx="4"/>
          </p:nvPr>
        </p:nvSpPr>
        <p:spPr/>
        <p:txBody>
          <a:bodyPr/>
          <a:lstStyle/>
          <a:p>
            <a:fld id="{015F0CDB-A812-4850-A270-8696C5F0BFD2}" type="slidenum">
              <a:rPr lang="en-GB" smtClean="0"/>
              <a:pPr/>
              <a:t>15</a:t>
            </a:fld>
            <a:endParaRPr lang="en-GB"/>
          </a:p>
        </p:txBody>
      </p:sp>
      <p:sp>
        <p:nvSpPr>
          <p:cNvPr id="3" name="Alatunnisteen paikkamerkki 2">
            <a:extLst>
              <a:ext uri="{FF2B5EF4-FFF2-40B4-BE49-F238E27FC236}">
                <a16:creationId xmlns:a16="http://schemas.microsoft.com/office/drawing/2014/main" id="{61A92B82-8C89-3AD9-4337-24703A1925CE}"/>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
        <p:nvSpPr>
          <p:cNvPr id="5" name="Otsikko 4">
            <a:extLst>
              <a:ext uri="{FF2B5EF4-FFF2-40B4-BE49-F238E27FC236}">
                <a16:creationId xmlns:a16="http://schemas.microsoft.com/office/drawing/2014/main" id="{31F759D3-AAB9-9EA1-B064-0BD8B706D958}"/>
              </a:ext>
            </a:extLst>
          </p:cNvPr>
          <p:cNvSpPr>
            <a:spLocks noGrp="1"/>
          </p:cNvSpPr>
          <p:nvPr>
            <p:ph type="title"/>
          </p:nvPr>
        </p:nvSpPr>
        <p:spPr>
          <a:xfrm>
            <a:off x="473038" y="535123"/>
            <a:ext cx="10477355" cy="827087"/>
          </a:xfrm>
        </p:spPr>
        <p:txBody>
          <a:bodyPr/>
          <a:lstStyle/>
          <a:p>
            <a:r>
              <a:rPr lang="fi-FI" dirty="0"/>
              <a:t>Esimerkki 3</a:t>
            </a:r>
          </a:p>
        </p:txBody>
      </p:sp>
      <p:graphicFrame>
        <p:nvGraphicFramePr>
          <p:cNvPr id="6" name="Taulukko 5">
            <a:extLst>
              <a:ext uri="{FF2B5EF4-FFF2-40B4-BE49-F238E27FC236}">
                <a16:creationId xmlns:a16="http://schemas.microsoft.com/office/drawing/2014/main" id="{F8F1DCA2-7C9C-73B1-2FCC-2F7A14649E84}"/>
              </a:ext>
            </a:extLst>
          </p:cNvPr>
          <p:cNvGraphicFramePr>
            <a:graphicFrameLocks noGrp="1"/>
          </p:cNvGraphicFramePr>
          <p:nvPr>
            <p:extLst>
              <p:ext uri="{D42A27DB-BD31-4B8C-83A1-F6EECF244321}">
                <p14:modId xmlns:p14="http://schemas.microsoft.com/office/powerpoint/2010/main" val="1686697078"/>
              </p:ext>
            </p:extLst>
          </p:nvPr>
        </p:nvGraphicFramePr>
        <p:xfrm>
          <a:off x="473038" y="1108733"/>
          <a:ext cx="10849011" cy="4800600"/>
        </p:xfrm>
        <a:graphic>
          <a:graphicData uri="http://schemas.openxmlformats.org/drawingml/2006/table">
            <a:tbl>
              <a:tblPr/>
              <a:tblGrid>
                <a:gridCol w="10849011">
                  <a:extLst>
                    <a:ext uri="{9D8B030D-6E8A-4147-A177-3AD203B41FA5}">
                      <a16:colId xmlns:a16="http://schemas.microsoft.com/office/drawing/2014/main" val="1016507916"/>
                    </a:ext>
                  </a:extLst>
                </a:gridCol>
              </a:tblGrid>
              <a:tr h="4800600">
                <a:tc>
                  <a:txBody>
                    <a:bodyPr/>
                    <a:lstStyle/>
                    <a:p>
                      <a:pPr algn="l" fontAlgn="t">
                        <a:buNone/>
                      </a:pPr>
                      <a:r>
                        <a:rPr lang="fi-FI" sz="1050" b="1" i="0" u="none" strike="noStrike" dirty="0">
                          <a:solidFill>
                            <a:srgbClr val="000000"/>
                          </a:solidFill>
                          <a:effectLst/>
                          <a:latin typeface="Calibri" panose="020F0502020204030204" pitchFamily="34" charset="0"/>
                        </a:rPr>
                        <a:t>Kahviautomaatin elinkaari asiakkaalla </a:t>
                      </a:r>
                      <a:br>
                        <a:rPr lang="fi-FI" sz="1050" b="1"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taataan konkreettisesti ja uskottavasti kahviautomaateille mahdollisimman pitkä elinkaari laitteen ollessa asiakkaalla. Suunnitelmassa on kuvattu laitteen korjattavuutta ja huollettavuutta sekä käytännön toimenpiteet näiden varmistamiseksi. Kuvaus on tarkka ja toimenpiteet on suunniteltu ja toteutuksessa. = 2 p</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on joitakin puutteita, mutta on kuitenkin kuvattu laitteen korjattavuutta ja huollettavuutta laitteen ollessa asiakkaalla. Toimenpiteitä on suunniteltu. = 1 p </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a ei ole toimitettu tai suunnitelmassa on selvästi puutteellinen kuvaus kahviautomaatin mahdollisimman pitkän elinkaaren takaamisesta laitteen ollessa asiakkaalla. = 0 p</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1" i="0" u="none" strike="noStrike" dirty="0">
                          <a:solidFill>
                            <a:srgbClr val="000000"/>
                          </a:solidFill>
                          <a:effectLst/>
                          <a:latin typeface="Calibri" panose="020F0502020204030204" pitchFamily="34" charset="0"/>
                        </a:rPr>
                        <a:t>Kahviautomaatin uudelleenkäyttö </a:t>
                      </a:r>
                      <a:br>
                        <a:rPr lang="fi-FI" sz="1050" b="1"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taataan konkreettisesti ja uskottavasti kahviautomaattien uudelleen käyttö sopimuksen päättyessä seuraavalla asiakkaalla. Suunnitelmassa on kuvattu uudelleenkäytön mahdollistaminen.  Kuvaus on tarkka ja toimenpiteet on suunniteltu ja toteutuksessa. = 2 p </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on joitakin puutteita, mutta kuitenkin kuvattu laitteen uudelleenkäyttöä uudella asiakkaalla. Toimenpiteitä on suunniteltu. = 1p </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a ei ole toimitettu tai suunnitelmassa on selvästi puutteellinen kuvaus kahviautomaatin uudelleen käytöstä seuraavalla asiakkaalla. = 0 p </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1" i="0" u="none" strike="noStrike" dirty="0">
                          <a:solidFill>
                            <a:srgbClr val="000000"/>
                          </a:solidFill>
                          <a:effectLst/>
                          <a:latin typeface="Calibri" panose="020F0502020204030204" pitchFamily="34" charset="0"/>
                        </a:rPr>
                        <a:t>Kierrättäminen </a:t>
                      </a:r>
                      <a:br>
                        <a:rPr lang="fi-FI" sz="1050" b="1"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taataan konkreettisesti ja uskottavasti kahviautomaatin kierrätys laitteen ollessa elinkaarensa päässä. Suunnitelmassa on kuvattu mitkä, missä ja miten automaatin osat kierrätetään. Kuvaus on tarkka ja toimenpiteet on suunniteltu ja toteutuksessa. = 2p</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ssa on joitakin puutteita, mutta kuitenkin on kuvattu laitteen kierrätystä sen elinkaaren lopussa. Toimenpiteitä on suunniteltu. = 1 p</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0" i="0" u="none" strike="noStrike" dirty="0">
                          <a:solidFill>
                            <a:srgbClr val="000000"/>
                          </a:solidFill>
                          <a:effectLst/>
                          <a:latin typeface="Calibri" panose="020F0502020204030204" pitchFamily="34" charset="0"/>
                        </a:rPr>
                        <a:t>Suunnitelmaa ei ole toimitettu tai suunnitelmassa on selvästi puutteellinen kuvaus laitteen kierrätyksestä sen elinkaaren päättyessä. = 0 p</a:t>
                      </a:r>
                      <a:br>
                        <a:rPr lang="fi-FI" sz="1050" b="0" i="0" u="none" strike="noStrike" dirty="0">
                          <a:solidFill>
                            <a:srgbClr val="000000"/>
                          </a:solidFill>
                          <a:effectLst/>
                          <a:latin typeface="Calibri" panose="020F0502020204030204" pitchFamily="34" charset="0"/>
                        </a:rPr>
                      </a:br>
                      <a:br>
                        <a:rPr lang="fi-FI" sz="1050" b="0" i="0" u="none" strike="noStrike" dirty="0">
                          <a:solidFill>
                            <a:srgbClr val="000000"/>
                          </a:solidFill>
                          <a:effectLst/>
                          <a:latin typeface="Calibri" panose="020F0502020204030204" pitchFamily="34" charset="0"/>
                        </a:rPr>
                      </a:br>
                      <a:r>
                        <a:rPr lang="fi-FI" sz="1050" b="1" i="0" u="none" strike="noStrike" dirty="0">
                          <a:solidFill>
                            <a:srgbClr val="000000"/>
                          </a:solidFill>
                          <a:effectLst/>
                          <a:latin typeface="Calibri" panose="020F0502020204030204" pitchFamily="34" charset="0"/>
                        </a:rPr>
                        <a:t>YHTEENSÄ </a:t>
                      </a:r>
                      <a:r>
                        <a:rPr lang="fi-FI" sz="1050" b="1" i="0" u="none" strike="noStrike" dirty="0" err="1">
                          <a:solidFill>
                            <a:srgbClr val="000000"/>
                          </a:solidFill>
                          <a:effectLst/>
                          <a:latin typeface="Calibri" panose="020F0502020204030204" pitchFamily="34" charset="0"/>
                        </a:rPr>
                        <a:t>max</a:t>
                      </a:r>
                      <a:r>
                        <a:rPr lang="fi-FI" sz="1050" b="1" i="0" u="none" strike="noStrike" dirty="0">
                          <a:solidFill>
                            <a:srgbClr val="000000"/>
                          </a:solidFill>
                          <a:effectLst/>
                          <a:latin typeface="Calibri" panose="020F0502020204030204" pitchFamily="34" charset="0"/>
                        </a:rPr>
                        <a:t>  6p. </a:t>
                      </a:r>
                      <a:endParaRPr lang="fi-FI" sz="1050" b="0" i="0" u="none" strike="noStrike" dirty="0">
                        <a:solidFill>
                          <a:srgbClr val="000000"/>
                        </a:solidFill>
                        <a:effectLst/>
                        <a:latin typeface="Calibri" panose="020F0502020204030204" pitchFamily="34" charset="0"/>
                      </a:endParaRPr>
                    </a:p>
                  </a:txBody>
                  <a:tcPr marL="6763" marR="6763" marT="6763" marB="3246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53812761"/>
                  </a:ext>
                </a:extLst>
              </a:tr>
            </a:tbl>
          </a:graphicData>
        </a:graphic>
      </p:graphicFrame>
      <p:sp>
        <p:nvSpPr>
          <p:cNvPr id="9" name="Iloiset kasvot 8">
            <a:extLst>
              <a:ext uri="{FF2B5EF4-FFF2-40B4-BE49-F238E27FC236}">
                <a16:creationId xmlns:a16="http://schemas.microsoft.com/office/drawing/2014/main" id="{88407338-D449-A312-1ECA-274D9C0F97DD}"/>
              </a:ext>
            </a:extLst>
          </p:cNvPr>
          <p:cNvSpPr/>
          <p:nvPr/>
        </p:nvSpPr>
        <p:spPr>
          <a:xfrm>
            <a:off x="9992333" y="559568"/>
            <a:ext cx="900112" cy="827087"/>
          </a:xfrm>
          <a:prstGeom prst="smileyFace">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fi-FI"/>
          </a:p>
        </p:txBody>
      </p:sp>
    </p:spTree>
    <p:extLst>
      <p:ext uri="{BB962C8B-B14F-4D97-AF65-F5344CB8AC3E}">
        <p14:creationId xmlns:p14="http://schemas.microsoft.com/office/powerpoint/2010/main" val="123304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F63CAF3F-8D25-E8FE-63F0-55A36F14405D}"/>
              </a:ext>
            </a:extLst>
          </p:cNvPr>
          <p:cNvSpPr>
            <a:spLocks noGrp="1"/>
          </p:cNvSpPr>
          <p:nvPr>
            <p:ph type="ctrTitle"/>
          </p:nvPr>
        </p:nvSpPr>
        <p:spPr/>
        <p:txBody>
          <a:bodyPr/>
          <a:lstStyle/>
          <a:p>
            <a:r>
              <a:rPr lang="fi-FI" dirty="0"/>
              <a:t>YHTEEN-VETO</a:t>
            </a:r>
          </a:p>
        </p:txBody>
      </p:sp>
      <p:sp>
        <p:nvSpPr>
          <p:cNvPr id="2" name="Dian numeron paikkamerkki 1">
            <a:extLst>
              <a:ext uri="{FF2B5EF4-FFF2-40B4-BE49-F238E27FC236}">
                <a16:creationId xmlns:a16="http://schemas.microsoft.com/office/drawing/2014/main" id="{89AC0CB6-C049-B81F-8C3A-BCB33754BB8E}"/>
              </a:ext>
            </a:extLst>
          </p:cNvPr>
          <p:cNvSpPr>
            <a:spLocks noGrp="1"/>
          </p:cNvSpPr>
          <p:nvPr>
            <p:ph type="sldNum" sz="quarter" idx="4"/>
          </p:nvPr>
        </p:nvSpPr>
        <p:spPr/>
        <p:txBody>
          <a:bodyPr/>
          <a:lstStyle/>
          <a:p>
            <a:fld id="{015F0CDB-A812-4850-A270-8696C5F0BFD2}" type="slidenum">
              <a:rPr lang="en-GB" smtClean="0"/>
              <a:pPr/>
              <a:t>16</a:t>
            </a:fld>
            <a:endParaRPr lang="en-GB"/>
          </a:p>
        </p:txBody>
      </p:sp>
      <p:sp>
        <p:nvSpPr>
          <p:cNvPr id="3" name="Alatunnisteen paikkamerkki 2">
            <a:extLst>
              <a:ext uri="{FF2B5EF4-FFF2-40B4-BE49-F238E27FC236}">
                <a16:creationId xmlns:a16="http://schemas.microsoft.com/office/drawing/2014/main" id="{CF21CC78-D519-BA79-5B1E-9B68AD969314}"/>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spTree>
    <p:extLst>
      <p:ext uri="{BB962C8B-B14F-4D97-AF65-F5344CB8AC3E}">
        <p14:creationId xmlns:p14="http://schemas.microsoft.com/office/powerpoint/2010/main" val="504392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919B7B4D-2F4A-43B3-0597-5C40487A8963}"/>
              </a:ext>
            </a:extLst>
          </p:cNvPr>
          <p:cNvSpPr>
            <a:spLocks noGrp="1"/>
          </p:cNvSpPr>
          <p:nvPr>
            <p:ph type="body" sz="quarter" idx="15"/>
          </p:nvPr>
        </p:nvSpPr>
        <p:spPr/>
        <p:txBody>
          <a:bodyPr>
            <a:normAutofit/>
          </a:bodyPr>
          <a:lstStyle/>
          <a:p>
            <a:pPr marL="171450" indent="-171450">
              <a:buFont typeface="Arial" panose="020B0604020202020204" pitchFamily="34" charset="0"/>
              <a:buChar char="•"/>
            </a:pPr>
            <a:r>
              <a:rPr lang="fi-FI" sz="1600" dirty="0"/>
              <a:t>Markkinavuoropuhelun aktiivinen käyttö.</a:t>
            </a:r>
          </a:p>
          <a:p>
            <a:pPr marL="171450" indent="-171450">
              <a:buFont typeface="Arial" panose="020B0604020202020204" pitchFamily="34" charset="0"/>
              <a:buChar char="•"/>
            </a:pPr>
            <a:r>
              <a:rPr lang="fi-FI" sz="1600" dirty="0"/>
              <a:t>Kyky ajatella laitehankintoja kiertotalouden logiikan kautta</a:t>
            </a:r>
          </a:p>
          <a:p>
            <a:pPr marL="628650" lvl="1" indent="-171450">
              <a:buFont typeface="Arial" panose="020B0604020202020204" pitchFamily="34" charset="0"/>
              <a:buChar char="•"/>
            </a:pPr>
            <a:r>
              <a:rPr lang="fi-FI" sz="1600" dirty="0"/>
              <a:t>Kiertotaloutta edistävien palveluiden/tuotteiden pisteytys</a:t>
            </a:r>
          </a:p>
          <a:p>
            <a:pPr marL="628650" lvl="1" indent="-171450">
              <a:buFont typeface="Arial" panose="020B0604020202020204" pitchFamily="34" charset="0"/>
              <a:buChar char="•"/>
            </a:pPr>
            <a:r>
              <a:rPr lang="fi-FI" sz="1600" dirty="0"/>
              <a:t>Hintavertailu mahdollinen myös takuuhuolletuille laitteille</a:t>
            </a:r>
          </a:p>
          <a:p>
            <a:pPr marL="628650" lvl="1" indent="-171450">
              <a:buFont typeface="Arial" panose="020B0604020202020204" pitchFamily="34" charset="0"/>
              <a:buChar char="•"/>
            </a:pPr>
            <a:r>
              <a:rPr lang="fi-FI" sz="1600" dirty="0"/>
              <a:t>Ominaisuudet edellä - mahdollisuus tarjota enemmän kuin yhtä laitemallia.</a:t>
            </a:r>
          </a:p>
          <a:p>
            <a:pPr marL="628650" lvl="1" indent="-171450">
              <a:buFont typeface="Arial" panose="020B0604020202020204" pitchFamily="34" charset="0"/>
              <a:buChar char="•"/>
            </a:pPr>
            <a:endParaRPr lang="fi-FI" sz="1600" dirty="0"/>
          </a:p>
          <a:p>
            <a:pPr marL="171450" indent="-171450">
              <a:buFont typeface="Arial" panose="020B0604020202020204" pitchFamily="34" charset="0"/>
              <a:buChar char="•"/>
            </a:pPr>
            <a:endParaRPr lang="fi-FI" sz="1600" dirty="0"/>
          </a:p>
        </p:txBody>
      </p:sp>
      <p:sp>
        <p:nvSpPr>
          <p:cNvPr id="5" name="Otsikko 4">
            <a:extLst>
              <a:ext uri="{FF2B5EF4-FFF2-40B4-BE49-F238E27FC236}">
                <a16:creationId xmlns:a16="http://schemas.microsoft.com/office/drawing/2014/main" id="{58A2A009-1282-070D-90BA-EFE30D16B637}"/>
              </a:ext>
            </a:extLst>
          </p:cNvPr>
          <p:cNvSpPr>
            <a:spLocks noGrp="1"/>
          </p:cNvSpPr>
          <p:nvPr>
            <p:ph type="title"/>
          </p:nvPr>
        </p:nvSpPr>
        <p:spPr>
          <a:xfrm>
            <a:off x="569094" y="577531"/>
            <a:ext cx="4935537" cy="827087"/>
          </a:xfrm>
        </p:spPr>
        <p:txBody>
          <a:bodyPr/>
          <a:lstStyle/>
          <a:p>
            <a:r>
              <a:rPr lang="fi-FI" dirty="0"/>
              <a:t>Mahdollisuudet edistää kiertotaloutta</a:t>
            </a:r>
          </a:p>
        </p:txBody>
      </p:sp>
      <p:sp>
        <p:nvSpPr>
          <p:cNvPr id="2" name="Dian numeron paikkamerkki 1">
            <a:extLst>
              <a:ext uri="{FF2B5EF4-FFF2-40B4-BE49-F238E27FC236}">
                <a16:creationId xmlns:a16="http://schemas.microsoft.com/office/drawing/2014/main" id="{87EAF453-0062-2834-4C7A-29497605F04B}"/>
              </a:ext>
            </a:extLst>
          </p:cNvPr>
          <p:cNvSpPr>
            <a:spLocks noGrp="1"/>
          </p:cNvSpPr>
          <p:nvPr>
            <p:ph type="sldNum" sz="quarter" idx="4"/>
          </p:nvPr>
        </p:nvSpPr>
        <p:spPr/>
        <p:txBody>
          <a:bodyPr/>
          <a:lstStyle/>
          <a:p>
            <a:fld id="{015F0CDB-A812-4850-A270-8696C5F0BFD2}" type="slidenum">
              <a:rPr lang="en-GB" smtClean="0"/>
              <a:pPr/>
              <a:t>17</a:t>
            </a:fld>
            <a:endParaRPr lang="en-GB"/>
          </a:p>
        </p:txBody>
      </p:sp>
      <p:sp>
        <p:nvSpPr>
          <p:cNvPr id="3" name="Alatunnisteen paikkamerkki 2">
            <a:extLst>
              <a:ext uri="{FF2B5EF4-FFF2-40B4-BE49-F238E27FC236}">
                <a16:creationId xmlns:a16="http://schemas.microsoft.com/office/drawing/2014/main" id="{81493821-B6CD-8C21-4CF5-E6741BBBB858}"/>
              </a:ext>
            </a:extLst>
          </p:cNvPr>
          <p:cNvSpPr>
            <a:spLocks noGrp="1"/>
          </p:cNvSpPr>
          <p:nvPr>
            <p:ph type="ftr" sz="quarter" idx="3"/>
          </p:nvPr>
        </p:nvSpPr>
        <p:spPr/>
        <p:txBody>
          <a:bodyPr/>
          <a:lstStyle/>
          <a:p>
            <a:r>
              <a:rPr lang="en-US" sz="800">
                <a:solidFill>
                  <a:schemeClr val="tx2"/>
                </a:solidFill>
                <a:ea typeface="Helvetica Neue Light" panose="02000403000000020004" pitchFamily="2" charset="0"/>
              </a:rPr>
              <a:t>©Selecta</a:t>
            </a:r>
          </a:p>
        </p:txBody>
      </p:sp>
      <p:pic>
        <p:nvPicPr>
          <p:cNvPr id="17" name="Kuvan paikkamerkki 16">
            <a:extLst>
              <a:ext uri="{FF2B5EF4-FFF2-40B4-BE49-F238E27FC236}">
                <a16:creationId xmlns:a16="http://schemas.microsoft.com/office/drawing/2014/main" id="{C8830895-4A04-4BE3-553E-C82F7BC7214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1398" r="11398"/>
          <a:stretch>
            <a:fillRect/>
          </a:stretch>
        </p:blipFill>
        <p:spPr>
          <a:custGeom>
            <a:avLst/>
            <a:gdLst>
              <a:gd name="connsiteX0" fmla="*/ 1080349 w 9718726"/>
              <a:gd name="connsiteY0" fmla="*/ 0 h 7050170"/>
              <a:gd name="connsiteX1" fmla="*/ 9718726 w 9718726"/>
              <a:gd name="connsiteY1" fmla="*/ 0 h 7050170"/>
              <a:gd name="connsiteX2" fmla="*/ 9718726 w 9718726"/>
              <a:gd name="connsiteY2" fmla="*/ 3286827 h 7050170"/>
              <a:gd name="connsiteX3" fmla="*/ 9568392 w 9718726"/>
              <a:gd name="connsiteY3" fmla="*/ 3461164 h 7050170"/>
              <a:gd name="connsiteX4" fmla="*/ 7031790 w 9718726"/>
              <a:gd name="connsiteY4" fmla="*/ 6402797 h 7050170"/>
              <a:gd name="connsiteX5" fmla="*/ 4399655 w 9718726"/>
              <a:gd name="connsiteY5" fmla="*/ 6596046 h 7050170"/>
              <a:gd name="connsiteX6" fmla="*/ 650383 w 9718726"/>
              <a:gd name="connsiteY6" fmla="*/ 3363007 h 7050170"/>
              <a:gd name="connsiteX7" fmla="*/ 451856 w 9718726"/>
              <a:gd name="connsiteY7" fmla="*/ 728847 h 7050170"/>
              <a:gd name="connsiteX8" fmla="*/ 1018273 w 9718726"/>
              <a:gd name="connsiteY8" fmla="*/ 71988 h 705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8726" h="7050170">
                <a:moveTo>
                  <a:pt x="1080349" y="0"/>
                </a:moveTo>
                <a:lnTo>
                  <a:pt x="9718726" y="0"/>
                </a:lnTo>
                <a:lnTo>
                  <a:pt x="9718726" y="3286827"/>
                </a:lnTo>
                <a:lnTo>
                  <a:pt x="9568392" y="3461164"/>
                </a:lnTo>
                <a:cubicBezTo>
                  <a:pt x="8851356" y="4292693"/>
                  <a:pt x="8012698" y="5265263"/>
                  <a:pt x="7031790" y="6402797"/>
                </a:cubicBezTo>
                <a:cubicBezTo>
                  <a:pt x="6358281" y="7183847"/>
                  <a:pt x="5181506" y="7270245"/>
                  <a:pt x="4399655" y="6596046"/>
                </a:cubicBezTo>
                <a:cubicBezTo>
                  <a:pt x="4399655" y="6596046"/>
                  <a:pt x="4399655" y="6596046"/>
                  <a:pt x="650383" y="3363007"/>
                </a:cubicBezTo>
                <a:cubicBezTo>
                  <a:pt x="-131468" y="2688808"/>
                  <a:pt x="-221652" y="1509897"/>
                  <a:pt x="451856" y="728847"/>
                </a:cubicBezTo>
                <a:cubicBezTo>
                  <a:pt x="451856" y="728847"/>
                  <a:pt x="451856" y="728847"/>
                  <a:pt x="1018273" y="71988"/>
                </a:cubicBezTo>
                <a:close/>
              </a:path>
            </a:pathLst>
          </a:custGeom>
          <a:solidFill>
            <a:srgbClr val="FFFFFF">
              <a:lumMod val="95000"/>
            </a:srgbClr>
          </a:solidFill>
        </p:spPr>
      </p:pic>
    </p:spTree>
    <p:extLst>
      <p:ext uri="{BB962C8B-B14F-4D97-AF65-F5344CB8AC3E}">
        <p14:creationId xmlns:p14="http://schemas.microsoft.com/office/powerpoint/2010/main" val="1882420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C375CAB8-F1E3-9B2F-428C-0DAD022718A3}"/>
              </a:ext>
            </a:extLst>
          </p:cNvPr>
          <p:cNvSpPr>
            <a:spLocks noGrp="1"/>
          </p:cNvSpPr>
          <p:nvPr>
            <p:ph type="sldNum" sz="quarter" idx="4294967295"/>
          </p:nvPr>
        </p:nvSpPr>
        <p:spPr>
          <a:xfrm>
            <a:off x="11872913" y="6430963"/>
            <a:ext cx="319087" cy="130175"/>
          </a:xfrm>
          <a:prstGeom prst="rect">
            <a:avLst/>
          </a:prstGeom>
        </p:spPr>
        <p:txBody>
          <a:bodyPr/>
          <a:lstStyle/>
          <a:p>
            <a:fld id="{015F0CDB-A812-4850-A270-8696C5F0BFD2}" type="slidenum">
              <a:rPr lang="en-GB" smtClean="0"/>
              <a:pPr/>
              <a:t>18</a:t>
            </a:fld>
            <a:endParaRPr lang="en-GB" dirty="0"/>
          </a:p>
        </p:txBody>
      </p:sp>
      <p:sp>
        <p:nvSpPr>
          <p:cNvPr id="3" name="Alatunnisteen paikkamerkki 2">
            <a:extLst>
              <a:ext uri="{FF2B5EF4-FFF2-40B4-BE49-F238E27FC236}">
                <a16:creationId xmlns:a16="http://schemas.microsoft.com/office/drawing/2014/main" id="{78EF69DB-F280-C5F2-B59D-DB6A98D5DBDA}"/>
              </a:ext>
            </a:extLst>
          </p:cNvPr>
          <p:cNvSpPr>
            <a:spLocks noGrp="1"/>
          </p:cNvSpPr>
          <p:nvPr>
            <p:ph type="ftr" sz="quarter" idx="4294967295"/>
          </p:nvPr>
        </p:nvSpPr>
        <p:spPr>
          <a:xfrm>
            <a:off x="10766425" y="6430963"/>
            <a:ext cx="1425575" cy="130175"/>
          </a:xfrm>
          <a:prstGeom prst="rect">
            <a:avLst/>
          </a:prstGeom>
        </p:spPr>
        <p:txBody>
          <a:bodyPr/>
          <a:lstStyle/>
          <a:p>
            <a:r>
              <a:rPr lang="en-US" sz="800">
                <a:solidFill>
                  <a:schemeClr val="tx2"/>
                </a:solidFill>
                <a:ea typeface="Helvetica Neue Light" panose="02000403000000020004" pitchFamily="2" charset="0"/>
              </a:rPr>
              <a:t>©Selecta</a:t>
            </a:r>
          </a:p>
        </p:txBody>
      </p:sp>
      <p:sp>
        <p:nvSpPr>
          <p:cNvPr id="6" name="Tekstiruutu 5">
            <a:extLst>
              <a:ext uri="{FF2B5EF4-FFF2-40B4-BE49-F238E27FC236}">
                <a16:creationId xmlns:a16="http://schemas.microsoft.com/office/drawing/2014/main" id="{4A5B9023-98AB-50B9-0784-2FFEB9024D38}"/>
              </a:ext>
            </a:extLst>
          </p:cNvPr>
          <p:cNvSpPr txBox="1"/>
          <p:nvPr/>
        </p:nvSpPr>
        <p:spPr>
          <a:xfrm>
            <a:off x="5135640" y="1694047"/>
            <a:ext cx="1920719" cy="1569660"/>
          </a:xfrm>
          <a:prstGeom prst="rect">
            <a:avLst/>
          </a:prstGeom>
          <a:noFill/>
        </p:spPr>
        <p:txBody>
          <a:bodyPr wrap="none" rtlCol="0">
            <a:spAutoFit/>
          </a:bodyPr>
          <a:lstStyle/>
          <a:p>
            <a:r>
              <a:rPr lang="fi-FI" sz="9600" dirty="0">
                <a:solidFill>
                  <a:schemeClr val="bg1"/>
                </a:solidFill>
                <a:latin typeface="Fave Script Bold Pro" pitchFamily="2" charset="0"/>
              </a:rPr>
              <a:t>Kiitos!</a:t>
            </a:r>
          </a:p>
        </p:txBody>
      </p:sp>
    </p:spTree>
    <p:extLst>
      <p:ext uri="{BB962C8B-B14F-4D97-AF65-F5344CB8AC3E}">
        <p14:creationId xmlns:p14="http://schemas.microsoft.com/office/powerpoint/2010/main" val="3275993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06EA7AEB-0B25-8F40-FC0E-B779784FD301}"/>
              </a:ext>
            </a:extLst>
          </p:cNvPr>
          <p:cNvPicPr>
            <a:picLocks noChangeAspect="1"/>
          </p:cNvPicPr>
          <p:nvPr/>
        </p:nvPicPr>
        <p:blipFill>
          <a:blip r:embed="rId2"/>
          <a:stretch>
            <a:fillRect/>
          </a:stretch>
        </p:blipFill>
        <p:spPr>
          <a:xfrm>
            <a:off x="1333500" y="2060135"/>
            <a:ext cx="4762500" cy="1628775"/>
          </a:xfrm>
          <a:prstGeom prst="rect">
            <a:avLst/>
          </a:prstGeom>
        </p:spPr>
      </p:pic>
      <p:pic>
        <p:nvPicPr>
          <p:cNvPr id="1030" name="Picture 6" descr="Pelican Rouge Coffee Solutions Oy - Älykkäät asiakaspalvelu ...">
            <a:extLst>
              <a:ext uri="{FF2B5EF4-FFF2-40B4-BE49-F238E27FC236}">
                <a16:creationId xmlns:a16="http://schemas.microsoft.com/office/drawing/2014/main" id="{82596B10-2C95-AB65-C00B-E2A1B46637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5282" y="1077337"/>
            <a:ext cx="2971800" cy="2971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224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18">
            <a:extLst>
              <a:ext uri="{FF2B5EF4-FFF2-40B4-BE49-F238E27FC236}">
                <a16:creationId xmlns:a16="http://schemas.microsoft.com/office/drawing/2014/main" id="{49255776-5CDC-C76C-4846-BD9D38B566E8}"/>
              </a:ext>
            </a:extLst>
          </p:cNvPr>
          <p:cNvSpPr>
            <a:spLocks noChangeAspect="1"/>
          </p:cNvSpPr>
          <p:nvPr/>
        </p:nvSpPr>
        <p:spPr bwMode="gray">
          <a:xfrm>
            <a:off x="8416967" y="637762"/>
            <a:ext cx="2584299" cy="539143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accent5"/>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sp>
        <p:nvSpPr>
          <p:cNvPr id="50" name="Freeform 22">
            <a:extLst>
              <a:ext uri="{FF2B5EF4-FFF2-40B4-BE49-F238E27FC236}">
                <a16:creationId xmlns:a16="http://schemas.microsoft.com/office/drawing/2014/main" id="{83F58B3B-E877-DA87-1FD0-B04E60E0FDC8}"/>
              </a:ext>
            </a:extLst>
          </p:cNvPr>
          <p:cNvSpPr/>
          <p:nvPr/>
        </p:nvSpPr>
        <p:spPr>
          <a:xfrm>
            <a:off x="9270561" y="5703541"/>
            <a:ext cx="249599" cy="230088"/>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p:cNvSpPr txBox="1"/>
          <p:nvPr/>
        </p:nvSpPr>
        <p:spPr>
          <a:xfrm>
            <a:off x="609601" y="613371"/>
            <a:ext cx="5055810" cy="400110"/>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lang="en-US" sz="2000" b="1" dirty="0">
                <a:solidFill>
                  <a:schemeClr val="accent1"/>
                </a:solidFill>
                <a:latin typeface="Prometo" panose="020B0604030203060203" pitchFamily="34" charset="77"/>
                <a:ea typeface="Fira Sans Ultra" panose="020B0A03050000020004" pitchFamily="34" charset="0"/>
              </a:rPr>
              <a:t>SELECTA EUROOPASSA JA SUOMESSA</a:t>
            </a:r>
            <a:endParaRPr kumimoji="0" lang="en-GB" sz="2000" b="1" i="0" u="none" strike="noStrike" kern="1200" cap="none" spc="0" normalizeH="0" baseline="0" noProof="0" dirty="0">
              <a:ln>
                <a:noFill/>
              </a:ln>
              <a:solidFill>
                <a:schemeClr val="accent1"/>
              </a:solidFill>
              <a:effectLst/>
              <a:uLnTx/>
              <a:uFillTx/>
              <a:latin typeface="Prometo" panose="020B0604030203060203" pitchFamily="34" charset="77"/>
              <a:ea typeface="Fira Sans Ultra" panose="020B0A03050000020004" pitchFamily="34" charset="0"/>
              <a:cs typeface="+mn-cs"/>
            </a:endParaRPr>
          </a:p>
        </p:txBody>
      </p:sp>
      <p:sp>
        <p:nvSpPr>
          <p:cNvPr id="25" name="Freeform 22">
            <a:extLst>
              <a:ext uri="{FF2B5EF4-FFF2-40B4-BE49-F238E27FC236}">
                <a16:creationId xmlns:a16="http://schemas.microsoft.com/office/drawing/2014/main" id="{E7B7E677-3444-8719-A416-8C9C43C9E184}"/>
              </a:ext>
            </a:extLst>
          </p:cNvPr>
          <p:cNvSpPr/>
          <p:nvPr/>
        </p:nvSpPr>
        <p:spPr>
          <a:xfrm>
            <a:off x="7878966" y="6440407"/>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6" name="Freeform 22">
            <a:extLst>
              <a:ext uri="{FF2B5EF4-FFF2-40B4-BE49-F238E27FC236}">
                <a16:creationId xmlns:a16="http://schemas.microsoft.com/office/drawing/2014/main" id="{6D1D5C72-29EC-D364-3F87-4CDF042CDE6F}"/>
              </a:ext>
            </a:extLst>
          </p:cNvPr>
          <p:cNvSpPr/>
          <p:nvPr/>
        </p:nvSpPr>
        <p:spPr>
          <a:xfrm>
            <a:off x="8654359" y="5522031"/>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22">
            <a:extLst>
              <a:ext uri="{FF2B5EF4-FFF2-40B4-BE49-F238E27FC236}">
                <a16:creationId xmlns:a16="http://schemas.microsoft.com/office/drawing/2014/main" id="{96B6F95A-8A02-7074-B7E4-70AF5810DCB4}"/>
              </a:ext>
            </a:extLst>
          </p:cNvPr>
          <p:cNvSpPr/>
          <p:nvPr/>
        </p:nvSpPr>
        <p:spPr>
          <a:xfrm>
            <a:off x="9849693" y="5572270"/>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2">
            <a:extLst>
              <a:ext uri="{FF2B5EF4-FFF2-40B4-BE49-F238E27FC236}">
                <a16:creationId xmlns:a16="http://schemas.microsoft.com/office/drawing/2014/main" id="{AA00794A-DD19-677B-EFE8-F52941371533}"/>
              </a:ext>
            </a:extLst>
          </p:cNvPr>
          <p:cNvSpPr/>
          <p:nvPr/>
        </p:nvSpPr>
        <p:spPr>
          <a:xfrm>
            <a:off x="10036359" y="5078452"/>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2">
            <a:extLst>
              <a:ext uri="{FF2B5EF4-FFF2-40B4-BE49-F238E27FC236}">
                <a16:creationId xmlns:a16="http://schemas.microsoft.com/office/drawing/2014/main" id="{AE44108B-7AA5-648A-951E-F79D85EC59CE}"/>
              </a:ext>
            </a:extLst>
          </p:cNvPr>
          <p:cNvSpPr/>
          <p:nvPr/>
        </p:nvSpPr>
        <p:spPr>
          <a:xfrm>
            <a:off x="8711232" y="4421759"/>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2">
            <a:extLst>
              <a:ext uri="{FF2B5EF4-FFF2-40B4-BE49-F238E27FC236}">
                <a16:creationId xmlns:a16="http://schemas.microsoft.com/office/drawing/2014/main" id="{8EE3884B-B9E2-71EF-B39F-2F9C28585B77}"/>
              </a:ext>
            </a:extLst>
          </p:cNvPr>
          <p:cNvSpPr/>
          <p:nvPr/>
        </p:nvSpPr>
        <p:spPr>
          <a:xfrm>
            <a:off x="9560250" y="3542699"/>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2">
            <a:extLst>
              <a:ext uri="{FF2B5EF4-FFF2-40B4-BE49-F238E27FC236}">
                <a16:creationId xmlns:a16="http://schemas.microsoft.com/office/drawing/2014/main" id="{D724CA77-AF0D-26D2-289B-AC3E7ED10AB6}"/>
              </a:ext>
            </a:extLst>
          </p:cNvPr>
          <p:cNvSpPr/>
          <p:nvPr/>
        </p:nvSpPr>
        <p:spPr>
          <a:xfrm>
            <a:off x="10024285" y="4537971"/>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22">
            <a:extLst>
              <a:ext uri="{FF2B5EF4-FFF2-40B4-BE49-F238E27FC236}">
                <a16:creationId xmlns:a16="http://schemas.microsoft.com/office/drawing/2014/main" id="{823B0D44-6E7A-10AF-FAE4-CE7BEAB0EBEF}"/>
              </a:ext>
            </a:extLst>
          </p:cNvPr>
          <p:cNvSpPr/>
          <p:nvPr/>
        </p:nvSpPr>
        <p:spPr>
          <a:xfrm>
            <a:off x="9442069" y="3094448"/>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3" name="Freeform 22">
            <a:extLst>
              <a:ext uri="{FF2B5EF4-FFF2-40B4-BE49-F238E27FC236}">
                <a16:creationId xmlns:a16="http://schemas.microsoft.com/office/drawing/2014/main" id="{81A616BA-16B2-6E8D-8AD1-7D6DB37A4BE9}"/>
              </a:ext>
            </a:extLst>
          </p:cNvPr>
          <p:cNvSpPr/>
          <p:nvPr/>
        </p:nvSpPr>
        <p:spPr>
          <a:xfrm>
            <a:off x="9632473" y="4917979"/>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22">
            <a:extLst>
              <a:ext uri="{FF2B5EF4-FFF2-40B4-BE49-F238E27FC236}">
                <a16:creationId xmlns:a16="http://schemas.microsoft.com/office/drawing/2014/main" id="{59BC5147-ABE9-94F9-D1E5-454E754B74A8}"/>
              </a:ext>
            </a:extLst>
          </p:cNvPr>
          <p:cNvSpPr/>
          <p:nvPr/>
        </p:nvSpPr>
        <p:spPr>
          <a:xfrm>
            <a:off x="9012682" y="4080268"/>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22">
            <a:extLst>
              <a:ext uri="{FF2B5EF4-FFF2-40B4-BE49-F238E27FC236}">
                <a16:creationId xmlns:a16="http://schemas.microsoft.com/office/drawing/2014/main" id="{C943FE4B-C3BD-59BA-88A9-F70F5E2944D9}"/>
              </a:ext>
            </a:extLst>
          </p:cNvPr>
          <p:cNvSpPr/>
          <p:nvPr/>
        </p:nvSpPr>
        <p:spPr>
          <a:xfrm>
            <a:off x="9091290" y="5246954"/>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9" name="Freeform 22">
            <a:extLst>
              <a:ext uri="{FF2B5EF4-FFF2-40B4-BE49-F238E27FC236}">
                <a16:creationId xmlns:a16="http://schemas.microsoft.com/office/drawing/2014/main" id="{B3EDA61D-2FD5-52AA-C62E-DA765E9E1E39}"/>
              </a:ext>
            </a:extLst>
          </p:cNvPr>
          <p:cNvSpPr/>
          <p:nvPr/>
        </p:nvSpPr>
        <p:spPr>
          <a:xfrm>
            <a:off x="9377574" y="5703107"/>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41" name="Freeform 22">
            <a:extLst>
              <a:ext uri="{FF2B5EF4-FFF2-40B4-BE49-F238E27FC236}">
                <a16:creationId xmlns:a16="http://schemas.microsoft.com/office/drawing/2014/main" id="{93D5A394-E23A-C497-67EE-AFA2482A9524}"/>
              </a:ext>
            </a:extLst>
          </p:cNvPr>
          <p:cNvSpPr/>
          <p:nvPr/>
        </p:nvSpPr>
        <p:spPr>
          <a:xfrm>
            <a:off x="7835306" y="6132115"/>
            <a:ext cx="273986" cy="242909"/>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364F1A19-448E-64B1-CDB3-177C9CA0871D}"/>
              </a:ext>
            </a:extLst>
          </p:cNvPr>
          <p:cNvSpPr txBox="1"/>
          <p:nvPr/>
        </p:nvSpPr>
        <p:spPr>
          <a:xfrm>
            <a:off x="8149134" y="6410629"/>
            <a:ext cx="1531188" cy="2769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electa </a:t>
            </a:r>
            <a:r>
              <a:rPr kumimoji="0" lang="en-US" sz="1200" b="0" i="0" u="none" strike="noStrike" kern="1200" cap="none" spc="0" normalizeH="0" baseline="0" noProof="0" err="1">
                <a:ln>
                  <a:noFill/>
                </a:ln>
                <a:solidFill>
                  <a:srgbClr val="000000"/>
                </a:solidFill>
                <a:effectLst/>
                <a:uLnTx/>
                <a:uFillTx/>
                <a:latin typeface="Arial"/>
                <a:ea typeface="+mn-ea"/>
                <a:cs typeface="+mn-cs"/>
              </a:rPr>
              <a:t>aluevarasto</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43" name="TextBox 42">
            <a:extLst>
              <a:ext uri="{FF2B5EF4-FFF2-40B4-BE49-F238E27FC236}">
                <a16:creationId xmlns:a16="http://schemas.microsoft.com/office/drawing/2014/main" id="{7AD884E6-5E46-4B65-F077-2D5187A5569C}"/>
              </a:ext>
            </a:extLst>
          </p:cNvPr>
          <p:cNvSpPr txBox="1"/>
          <p:nvPr/>
        </p:nvSpPr>
        <p:spPr>
          <a:xfrm>
            <a:off x="8149135" y="6098025"/>
            <a:ext cx="1497526" cy="276999"/>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electa </a:t>
            </a:r>
            <a:r>
              <a:rPr lang="en-US" sz="1200" err="1">
                <a:solidFill>
                  <a:srgbClr val="000000"/>
                </a:solidFill>
                <a:latin typeface="Arial"/>
              </a:rPr>
              <a:t>pääkonttori</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 name="Ryhmä 10">
            <a:extLst>
              <a:ext uri="{FF2B5EF4-FFF2-40B4-BE49-F238E27FC236}">
                <a16:creationId xmlns:a16="http://schemas.microsoft.com/office/drawing/2014/main" id="{B023EF10-91B2-5F67-5C3C-1EA8D604BC2F}"/>
              </a:ext>
            </a:extLst>
          </p:cNvPr>
          <p:cNvGrpSpPr/>
          <p:nvPr/>
        </p:nvGrpSpPr>
        <p:grpSpPr>
          <a:xfrm>
            <a:off x="2271736" y="3711691"/>
            <a:ext cx="1699715" cy="1598639"/>
            <a:chOff x="1644246" y="4036494"/>
            <a:chExt cx="1699715" cy="1598639"/>
          </a:xfrm>
        </p:grpSpPr>
        <p:sp>
          <p:nvSpPr>
            <p:cNvPr id="22" name="Freeform 22">
              <a:extLst>
                <a:ext uri="{FF2B5EF4-FFF2-40B4-BE49-F238E27FC236}">
                  <a16:creationId xmlns:a16="http://schemas.microsoft.com/office/drawing/2014/main" id="{00AB6D7C-721B-06D0-DE99-1CC1EC4181B3}"/>
                </a:ext>
              </a:extLst>
            </p:cNvPr>
            <p:cNvSpPr/>
            <p:nvPr/>
          </p:nvSpPr>
          <p:spPr>
            <a:xfrm>
              <a:off x="1644246" y="4036494"/>
              <a:ext cx="1699715" cy="1598639"/>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BDA63AE9-052E-EDB7-E9FB-BC24F7C8006A}"/>
                </a:ext>
              </a:extLst>
            </p:cNvPr>
            <p:cNvSpPr txBox="1"/>
            <p:nvPr/>
          </p:nvSpPr>
          <p:spPr>
            <a:xfrm>
              <a:off x="1777329" y="4310011"/>
              <a:ext cx="1451132" cy="861774"/>
            </a:xfrm>
            <a:prstGeom prst="rect">
              <a:avLst/>
            </a:prstGeom>
            <a:noFill/>
          </p:spPr>
          <p:txBody>
            <a:bodyPr wrap="square" rtlCol="0">
              <a:spAutoFit/>
            </a:bodyPr>
            <a:lstStyle/>
            <a:p>
              <a:pPr marL="0" marR="0" lvl="0" indent="0" algn="ctr" defTabSz="609630" rtl="0" eaLnBrk="1" fontAlgn="auto" latinLnBrk="0" hangingPunct="1">
                <a:lnSpc>
                  <a:spcPct val="75000"/>
                </a:lnSpc>
                <a:spcBef>
                  <a:spcPts val="0"/>
                </a:spcBef>
                <a:spcAft>
                  <a:spcPts val="0"/>
                </a:spcAft>
                <a:buClrTx/>
                <a:buSzTx/>
                <a:buFontTx/>
                <a:buNone/>
                <a:tabLst/>
                <a:defRPr/>
              </a:pPr>
              <a:r>
                <a:rPr lang="en-US" sz="3200">
                  <a:solidFill>
                    <a:srgbClr val="FFFFFF"/>
                  </a:solidFill>
                  <a:latin typeface="Fave Script Bold Pro" pitchFamily="2" charset="77"/>
                  <a:ea typeface="Fira Sans ExtraBold" panose="020B0903050000020004" pitchFamily="34" charset="0"/>
                </a:rPr>
                <a:t>140</a:t>
              </a:r>
              <a:endParaRPr kumimoji="0" lang="en-US" sz="3200" b="0" i="0" u="none" strike="noStrike" kern="1200" cap="none" spc="0" normalizeH="0" baseline="0" noProof="0">
                <a:ln>
                  <a:noFill/>
                </a:ln>
                <a:solidFill>
                  <a:srgbClr val="FFFFFF"/>
                </a:solidFill>
                <a:effectLst/>
                <a:uLnTx/>
                <a:uFillTx/>
                <a:latin typeface="Fave Script Bold Pro" pitchFamily="2" charset="77"/>
                <a:ea typeface="Fira Sans ExtraBold" panose="020B0903050000020004" pitchFamily="34" charset="0"/>
                <a:cs typeface="+mn-cs"/>
              </a:endParaRPr>
            </a:p>
            <a:p>
              <a:pPr marL="0" marR="0" lvl="0" indent="0" algn="ctr" defTabSz="609630" rtl="0" eaLnBrk="1" fontAlgn="auto" latinLnBrk="0" hangingPunct="1">
                <a:lnSpc>
                  <a:spcPct val="75000"/>
                </a:lnSpc>
                <a:spcBef>
                  <a:spcPts val="0"/>
                </a:spcBef>
                <a:spcAft>
                  <a:spcPts val="0"/>
                </a:spcAft>
                <a:buClrTx/>
                <a:buSzTx/>
                <a:buFontTx/>
                <a:buNone/>
                <a:tabLst/>
                <a:defRPr/>
              </a:pPr>
              <a:r>
                <a:rPr kumimoji="0" lang="en-US" sz="3200" b="0" i="0" u="none" strike="noStrike" kern="1200" cap="none" spc="0" normalizeH="0" baseline="0" noProof="0" err="1">
                  <a:ln>
                    <a:noFill/>
                  </a:ln>
                  <a:solidFill>
                    <a:srgbClr val="FFFFFF"/>
                  </a:solidFill>
                  <a:effectLst/>
                  <a:uLnTx/>
                  <a:uFillTx/>
                  <a:latin typeface="Fave Script Bold Pro" pitchFamily="2" charset="77"/>
                  <a:ea typeface="Fira Sans ExtraBold" panose="020B0903050000020004" pitchFamily="34" charset="0"/>
                  <a:cs typeface="+mn-cs"/>
                </a:rPr>
                <a:t>työntekijää</a:t>
              </a:r>
              <a:endParaRPr kumimoji="0" lang="en-GB" sz="3200" b="0" i="0" u="none" strike="noStrike" kern="1200" cap="none" spc="0" normalizeH="0" baseline="0" noProof="0">
                <a:ln>
                  <a:noFill/>
                </a:ln>
                <a:solidFill>
                  <a:srgbClr val="FFFFFF"/>
                </a:solidFill>
                <a:effectLst/>
                <a:uLnTx/>
                <a:uFillTx/>
                <a:latin typeface="Fave Script Bold Pro" pitchFamily="2" charset="77"/>
                <a:ea typeface="Fira Sans ExtraBold" panose="020B0903050000020004" pitchFamily="34" charset="0"/>
                <a:cs typeface="+mn-cs"/>
              </a:endParaRPr>
            </a:p>
          </p:txBody>
        </p:sp>
      </p:grpSp>
      <p:grpSp>
        <p:nvGrpSpPr>
          <p:cNvPr id="10" name="Ryhmä 9">
            <a:extLst>
              <a:ext uri="{FF2B5EF4-FFF2-40B4-BE49-F238E27FC236}">
                <a16:creationId xmlns:a16="http://schemas.microsoft.com/office/drawing/2014/main" id="{2F616CF9-DA63-A485-4BD7-A06684A126A6}"/>
              </a:ext>
            </a:extLst>
          </p:cNvPr>
          <p:cNvGrpSpPr/>
          <p:nvPr/>
        </p:nvGrpSpPr>
        <p:grpSpPr>
          <a:xfrm>
            <a:off x="3334555" y="4680947"/>
            <a:ext cx="1699715" cy="1598639"/>
            <a:chOff x="2751186" y="5037695"/>
            <a:chExt cx="1699715" cy="1598639"/>
          </a:xfrm>
        </p:grpSpPr>
        <p:sp>
          <p:nvSpPr>
            <p:cNvPr id="44" name="Freeform 22">
              <a:extLst>
                <a:ext uri="{FF2B5EF4-FFF2-40B4-BE49-F238E27FC236}">
                  <a16:creationId xmlns:a16="http://schemas.microsoft.com/office/drawing/2014/main" id="{C8608118-DB27-A41B-85C7-18065ABC9FE9}"/>
                </a:ext>
              </a:extLst>
            </p:cNvPr>
            <p:cNvSpPr/>
            <p:nvPr/>
          </p:nvSpPr>
          <p:spPr>
            <a:xfrm>
              <a:off x="2751186" y="5037695"/>
              <a:ext cx="1699715" cy="1598639"/>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3BD61581-E589-4666-7D3D-E0B1259AC1D6}"/>
                </a:ext>
              </a:extLst>
            </p:cNvPr>
            <p:cNvSpPr txBox="1"/>
            <p:nvPr/>
          </p:nvSpPr>
          <p:spPr>
            <a:xfrm>
              <a:off x="2890608" y="5560456"/>
              <a:ext cx="1378861" cy="492443"/>
            </a:xfrm>
            <a:prstGeom prst="rect">
              <a:avLst/>
            </a:prstGeom>
            <a:noFill/>
          </p:spPr>
          <p:txBody>
            <a:bodyPr wrap="square" rtlCol="0">
              <a:spAutoFit/>
            </a:bodyPr>
            <a:lstStyle/>
            <a:p>
              <a:pPr marL="0" marR="0" lvl="0" indent="0" algn="ctr" defTabSz="609630" rtl="0" eaLnBrk="1" fontAlgn="auto" latinLnBrk="0" hangingPunct="1">
                <a:lnSpc>
                  <a:spcPct val="75000"/>
                </a:lnSpc>
                <a:spcBef>
                  <a:spcPts val="0"/>
                </a:spcBef>
                <a:spcAft>
                  <a:spcPts val="0"/>
                </a:spcAft>
                <a:buClrTx/>
                <a:buSzTx/>
                <a:buFontTx/>
                <a:buNone/>
                <a:tabLst/>
                <a:defRPr/>
              </a:pPr>
              <a:r>
                <a:rPr lang="en-US" sz="3200">
                  <a:solidFill>
                    <a:srgbClr val="FFFFFF"/>
                  </a:solidFill>
                  <a:latin typeface="Fave Script Bold Pro" pitchFamily="2" charset="77"/>
                  <a:ea typeface="Fira Sans ExtraBold" panose="020B0903050000020004" pitchFamily="34" charset="0"/>
                </a:rPr>
                <a:t>21</a:t>
              </a:r>
              <a:r>
                <a:rPr kumimoji="0" lang="en-US" sz="3200" b="0" i="0" u="none" strike="noStrike" kern="1200" cap="none" spc="0" normalizeH="0" baseline="0" noProof="0">
                  <a:ln>
                    <a:noFill/>
                  </a:ln>
                  <a:solidFill>
                    <a:srgbClr val="FFFFFF"/>
                  </a:solidFill>
                  <a:effectLst/>
                  <a:uLnTx/>
                  <a:uFillTx/>
                  <a:latin typeface="Fave Script Bold Pro" pitchFamily="2" charset="77"/>
                  <a:ea typeface="Fira Sans ExtraBold" panose="020B0903050000020004" pitchFamily="34" charset="0"/>
                  <a:cs typeface="+mn-cs"/>
                </a:rPr>
                <a:t> </a:t>
              </a:r>
              <a:r>
                <a:rPr kumimoji="0" lang="en-US" sz="3200" b="0" i="0" u="none" strike="noStrike" kern="1200" cap="none" spc="0" normalizeH="0" baseline="0" noProof="0" err="1">
                  <a:ln>
                    <a:noFill/>
                  </a:ln>
                  <a:solidFill>
                    <a:srgbClr val="FFFFFF"/>
                  </a:solidFill>
                  <a:effectLst/>
                  <a:uLnTx/>
                  <a:uFillTx/>
                  <a:latin typeface="Fave Script Bold Pro" pitchFamily="2" charset="77"/>
                  <a:ea typeface="Fira Sans ExtraBold" panose="020B0903050000020004" pitchFamily="34" charset="0"/>
                  <a:cs typeface="+mn-cs"/>
                </a:rPr>
                <a:t>teknikkoa</a:t>
              </a:r>
              <a:endParaRPr kumimoji="0" lang="en-GB" sz="3200" b="0" i="0" u="none" strike="noStrike" kern="1200" cap="none" spc="0" normalizeH="0" baseline="0" noProof="0">
                <a:ln>
                  <a:noFill/>
                </a:ln>
                <a:solidFill>
                  <a:srgbClr val="FFFFFF"/>
                </a:solidFill>
                <a:effectLst/>
                <a:uLnTx/>
                <a:uFillTx/>
                <a:latin typeface="Fave Script Bold Pro" pitchFamily="2" charset="77"/>
                <a:ea typeface="Fira Sans ExtraBold" panose="020B0903050000020004" pitchFamily="34" charset="0"/>
                <a:cs typeface="+mn-cs"/>
              </a:endParaRPr>
            </a:p>
          </p:txBody>
        </p:sp>
      </p:grpSp>
      <p:grpSp>
        <p:nvGrpSpPr>
          <p:cNvPr id="8" name="Ryhmä 7">
            <a:extLst>
              <a:ext uri="{FF2B5EF4-FFF2-40B4-BE49-F238E27FC236}">
                <a16:creationId xmlns:a16="http://schemas.microsoft.com/office/drawing/2014/main" id="{D96A15EE-0C97-D3A9-08F3-B805D8C8200C}"/>
              </a:ext>
            </a:extLst>
          </p:cNvPr>
          <p:cNvGrpSpPr/>
          <p:nvPr/>
        </p:nvGrpSpPr>
        <p:grpSpPr>
          <a:xfrm>
            <a:off x="3327804" y="2743379"/>
            <a:ext cx="1699715" cy="1598639"/>
            <a:chOff x="2732970" y="2976693"/>
            <a:chExt cx="1699715" cy="1598639"/>
          </a:xfrm>
        </p:grpSpPr>
        <p:sp>
          <p:nvSpPr>
            <p:cNvPr id="46" name="Freeform 22">
              <a:extLst>
                <a:ext uri="{FF2B5EF4-FFF2-40B4-BE49-F238E27FC236}">
                  <a16:creationId xmlns:a16="http://schemas.microsoft.com/office/drawing/2014/main" id="{DED27A89-2083-FBEE-EA99-7587E5495F91}"/>
                </a:ext>
              </a:extLst>
            </p:cNvPr>
            <p:cNvSpPr/>
            <p:nvPr/>
          </p:nvSpPr>
          <p:spPr>
            <a:xfrm>
              <a:off x="2732970" y="2976693"/>
              <a:ext cx="1699715" cy="1598639"/>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815F7585-5C2F-97BC-ECD9-28E59AA39FD1}"/>
                </a:ext>
              </a:extLst>
            </p:cNvPr>
            <p:cNvSpPr txBox="1"/>
            <p:nvPr/>
          </p:nvSpPr>
          <p:spPr>
            <a:xfrm>
              <a:off x="2906381" y="3332458"/>
              <a:ext cx="1270021" cy="861774"/>
            </a:xfrm>
            <a:prstGeom prst="rect">
              <a:avLst/>
            </a:prstGeom>
            <a:noFill/>
          </p:spPr>
          <p:txBody>
            <a:bodyPr wrap="square" rtlCol="0">
              <a:spAutoFit/>
            </a:bodyPr>
            <a:lstStyle/>
            <a:p>
              <a:pPr marL="0" marR="0" lvl="0" indent="0" algn="ctr" defTabSz="609630" rtl="0" eaLnBrk="1" fontAlgn="auto" latinLnBrk="0" hangingPunct="1">
                <a:lnSpc>
                  <a:spcPct val="75000"/>
                </a:lnSpc>
                <a:spcBef>
                  <a:spcPts val="0"/>
                </a:spcBef>
                <a:spcAft>
                  <a:spcPts val="0"/>
                </a:spcAft>
                <a:buClrTx/>
                <a:buSzTx/>
                <a:buFontTx/>
                <a:buNone/>
                <a:tabLst/>
                <a:defRPr/>
              </a:pPr>
              <a:r>
                <a:rPr lang="en-US" sz="3200" dirty="0">
                  <a:solidFill>
                    <a:srgbClr val="FFFFFF"/>
                  </a:solidFill>
                  <a:latin typeface="Fave Script Bold Pro" pitchFamily="2" charset="77"/>
                  <a:ea typeface="Fira Sans ExtraBold" panose="020B0903050000020004" pitchFamily="34" charset="0"/>
                </a:rPr>
                <a:t>~1000</a:t>
              </a:r>
              <a:r>
                <a:rPr kumimoji="0" lang="en-US" sz="3200" b="0" i="0" u="none" strike="noStrike" kern="1200" cap="none" spc="0" normalizeH="0" baseline="0" noProof="0" dirty="0">
                  <a:ln>
                    <a:noFill/>
                  </a:ln>
                  <a:solidFill>
                    <a:srgbClr val="FFFFFF"/>
                  </a:solidFill>
                  <a:effectLst/>
                  <a:uLnTx/>
                  <a:uFillTx/>
                  <a:latin typeface="Fave Script Bold Pro" pitchFamily="2" charset="77"/>
                  <a:ea typeface="Fira Sans ExtraBold" panose="020B0903050000020004" pitchFamily="34" charset="0"/>
                  <a:cs typeface="+mn-cs"/>
                </a:rPr>
                <a:t> </a:t>
              </a:r>
              <a:r>
                <a:rPr kumimoji="0" lang="en-US" sz="3200" b="0" i="0" u="none" strike="noStrike" kern="1200" cap="none" spc="0" normalizeH="0" baseline="0" noProof="0" dirty="0" err="1">
                  <a:ln>
                    <a:noFill/>
                  </a:ln>
                  <a:solidFill>
                    <a:srgbClr val="FFFFFF"/>
                  </a:solidFill>
                  <a:effectLst/>
                  <a:uLnTx/>
                  <a:uFillTx/>
                  <a:latin typeface="Fave Script Bold Pro" pitchFamily="2" charset="77"/>
                  <a:ea typeface="Fira Sans ExtraBold" panose="020B0903050000020004" pitchFamily="34" charset="0"/>
                  <a:cs typeface="+mn-cs"/>
                </a:rPr>
                <a:t>asiakasta</a:t>
              </a:r>
              <a:endParaRPr kumimoji="0" lang="en-GB" sz="3200" b="0" i="0" u="none" strike="noStrike" kern="1200" cap="none" spc="0" normalizeH="0" baseline="0" noProof="0" dirty="0">
                <a:ln>
                  <a:noFill/>
                </a:ln>
                <a:solidFill>
                  <a:srgbClr val="FFFFFF"/>
                </a:solidFill>
                <a:effectLst/>
                <a:uLnTx/>
                <a:uFillTx/>
                <a:latin typeface="Fave Script Bold Pro" pitchFamily="2" charset="77"/>
                <a:ea typeface="Fira Sans ExtraBold" panose="020B0903050000020004" pitchFamily="34" charset="0"/>
                <a:cs typeface="+mn-cs"/>
              </a:endParaRPr>
            </a:p>
          </p:txBody>
        </p:sp>
      </p:grpSp>
      <p:grpSp>
        <p:nvGrpSpPr>
          <p:cNvPr id="9" name="Ryhmä 8">
            <a:extLst>
              <a:ext uri="{FF2B5EF4-FFF2-40B4-BE49-F238E27FC236}">
                <a16:creationId xmlns:a16="http://schemas.microsoft.com/office/drawing/2014/main" id="{586BEFE0-A219-DF22-E52C-3214287A3EB6}"/>
              </a:ext>
            </a:extLst>
          </p:cNvPr>
          <p:cNvGrpSpPr/>
          <p:nvPr/>
        </p:nvGrpSpPr>
        <p:grpSpPr>
          <a:xfrm>
            <a:off x="4380613" y="3708457"/>
            <a:ext cx="1699715" cy="1598639"/>
            <a:chOff x="3892149" y="3958518"/>
            <a:chExt cx="1699715" cy="1598639"/>
          </a:xfrm>
        </p:grpSpPr>
        <p:sp>
          <p:nvSpPr>
            <p:cNvPr id="48" name="Freeform 22">
              <a:extLst>
                <a:ext uri="{FF2B5EF4-FFF2-40B4-BE49-F238E27FC236}">
                  <a16:creationId xmlns:a16="http://schemas.microsoft.com/office/drawing/2014/main" id="{F599574F-48EE-B091-6370-8092842E98C7}"/>
                </a:ext>
              </a:extLst>
            </p:cNvPr>
            <p:cNvSpPr/>
            <p:nvPr/>
          </p:nvSpPr>
          <p:spPr>
            <a:xfrm>
              <a:off x="3892149" y="3958518"/>
              <a:ext cx="1699715" cy="1598639"/>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7F993003-9575-1880-AEEB-40D1FBAC2AAA}"/>
                </a:ext>
              </a:extLst>
            </p:cNvPr>
            <p:cNvSpPr txBox="1"/>
            <p:nvPr/>
          </p:nvSpPr>
          <p:spPr>
            <a:xfrm>
              <a:off x="3938011" y="4218742"/>
              <a:ext cx="1586969" cy="861774"/>
            </a:xfrm>
            <a:prstGeom prst="rect">
              <a:avLst/>
            </a:prstGeom>
            <a:noFill/>
          </p:spPr>
          <p:txBody>
            <a:bodyPr wrap="square" rtlCol="0">
              <a:spAutoFit/>
            </a:bodyPr>
            <a:lstStyle/>
            <a:p>
              <a:pPr marL="0" marR="0" lvl="0" indent="0" algn="ctr" defTabSz="609630" rtl="0" eaLnBrk="1" fontAlgn="auto" latinLnBrk="0" hangingPunct="1">
                <a:lnSpc>
                  <a:spcPct val="75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ave Script Bold Pro" pitchFamily="2" charset="77"/>
                  <a:ea typeface="Fira Sans ExtraBold" panose="020B0903050000020004" pitchFamily="34" charset="0"/>
                  <a:cs typeface="+mn-cs"/>
                </a:rPr>
                <a:t>68 </a:t>
              </a:r>
              <a:r>
                <a:rPr kumimoji="0" lang="en-US" sz="3200" b="0" i="0" u="none" strike="noStrike" kern="1200" cap="none" spc="0" normalizeH="0" baseline="0" noProof="0" dirty="0" err="1">
                  <a:ln>
                    <a:noFill/>
                  </a:ln>
                  <a:solidFill>
                    <a:srgbClr val="FFFFFF"/>
                  </a:solidFill>
                  <a:effectLst/>
                  <a:uLnTx/>
                  <a:uFillTx/>
                  <a:latin typeface="Fave Script Bold Pro" pitchFamily="2" charset="77"/>
                  <a:ea typeface="Fira Sans ExtraBold" panose="020B0903050000020004" pitchFamily="34" charset="0"/>
                  <a:cs typeface="+mn-cs"/>
                </a:rPr>
                <a:t>laitehoitajaa</a:t>
              </a:r>
              <a:endParaRPr kumimoji="0" lang="en-GB" sz="3200" b="0" i="0" u="none" strike="noStrike" kern="1200" cap="none" spc="0" normalizeH="0" baseline="0" noProof="0" dirty="0">
                <a:ln>
                  <a:noFill/>
                </a:ln>
                <a:solidFill>
                  <a:srgbClr val="FFFFFF"/>
                </a:solidFill>
                <a:effectLst/>
                <a:uLnTx/>
                <a:uFillTx/>
                <a:latin typeface="Fave Script Bold Pro" pitchFamily="2" charset="77"/>
                <a:ea typeface="Fira Sans ExtraBold" panose="020B0903050000020004" pitchFamily="34" charset="0"/>
                <a:cs typeface="+mn-cs"/>
              </a:endParaRPr>
            </a:p>
          </p:txBody>
        </p:sp>
      </p:grpSp>
      <p:sp>
        <p:nvSpPr>
          <p:cNvPr id="2" name="Rounded Rectangle 6">
            <a:extLst>
              <a:ext uri="{FF2B5EF4-FFF2-40B4-BE49-F238E27FC236}">
                <a16:creationId xmlns:a16="http://schemas.microsoft.com/office/drawing/2014/main" id="{64BAA899-8103-9C5F-B194-E747B5CAEC75}"/>
              </a:ext>
            </a:extLst>
          </p:cNvPr>
          <p:cNvSpPr/>
          <p:nvPr/>
        </p:nvSpPr>
        <p:spPr>
          <a:xfrm rot="2700000">
            <a:off x="11403666" y="6298265"/>
            <a:ext cx="357469" cy="357469"/>
          </a:xfrm>
          <a:prstGeom prst="roundRect">
            <a:avLst>
              <a:gd name="adj" fmla="val 23598"/>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FB3CEBF4-1AAD-E547-C980-8DD926522B14}"/>
              </a:ext>
            </a:extLst>
          </p:cNvPr>
          <p:cNvSpPr txBox="1"/>
          <p:nvPr/>
        </p:nvSpPr>
        <p:spPr>
          <a:xfrm>
            <a:off x="11379736" y="6379504"/>
            <a:ext cx="400833" cy="19499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80B6D85-D5FF-41FE-8D8F-6BCD273AED04}" type="slidenum">
              <a:rPr kumimoji="0" lang="en-US" sz="667"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6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Tekstiruutu 4">
            <a:extLst>
              <a:ext uri="{FF2B5EF4-FFF2-40B4-BE49-F238E27FC236}">
                <a16:creationId xmlns:a16="http://schemas.microsoft.com/office/drawing/2014/main" id="{15B48D6F-E5AA-473D-6B12-FDFAC7174A2C}"/>
              </a:ext>
            </a:extLst>
          </p:cNvPr>
          <p:cNvSpPr txBox="1"/>
          <p:nvPr/>
        </p:nvSpPr>
        <p:spPr>
          <a:xfrm>
            <a:off x="609601" y="1953403"/>
            <a:ext cx="7377830" cy="584775"/>
          </a:xfrm>
          <a:prstGeom prst="rect">
            <a:avLst/>
          </a:prstGeom>
          <a:noFill/>
        </p:spPr>
        <p:txBody>
          <a:bodyPr wrap="square" rtlCol="0">
            <a:spAutoFit/>
          </a:bodyPr>
          <a:lstStyle/>
          <a:p>
            <a:r>
              <a:rPr lang="en-GB" sz="3200" dirty="0" err="1">
                <a:solidFill>
                  <a:schemeClr val="accent4"/>
                </a:solidFill>
                <a:latin typeface="Fave Script Bold Pro" pitchFamily="2" charset="77"/>
              </a:rPr>
              <a:t>Paikallinen</a:t>
            </a:r>
            <a:r>
              <a:rPr lang="en-GB" sz="3200" dirty="0">
                <a:solidFill>
                  <a:schemeClr val="accent4"/>
                </a:solidFill>
                <a:latin typeface="Fave Script Bold Pro" pitchFamily="2" charset="77"/>
              </a:rPr>
              <a:t> </a:t>
            </a:r>
            <a:r>
              <a:rPr lang="en-GB" sz="3200" dirty="0" err="1">
                <a:solidFill>
                  <a:schemeClr val="accent4"/>
                </a:solidFill>
                <a:latin typeface="Fave Script Bold Pro" pitchFamily="2" charset="77"/>
              </a:rPr>
              <a:t>läsnäolo</a:t>
            </a:r>
            <a:r>
              <a:rPr lang="en-GB" sz="3200" dirty="0">
                <a:solidFill>
                  <a:schemeClr val="accent4"/>
                </a:solidFill>
                <a:latin typeface="Fave Script Bold Pro" pitchFamily="2" charset="77"/>
              </a:rPr>
              <a:t> </a:t>
            </a:r>
            <a:r>
              <a:rPr lang="en-GB" sz="3200" dirty="0" err="1">
                <a:solidFill>
                  <a:schemeClr val="accent4"/>
                </a:solidFill>
                <a:latin typeface="Fave Script Bold Pro" pitchFamily="2" charset="77"/>
              </a:rPr>
              <a:t>suurimmissa</a:t>
            </a:r>
            <a:r>
              <a:rPr lang="en-GB" sz="3200" dirty="0">
                <a:solidFill>
                  <a:schemeClr val="accent4"/>
                </a:solidFill>
                <a:latin typeface="Fave Script Bold Pro" pitchFamily="2" charset="77"/>
              </a:rPr>
              <a:t> </a:t>
            </a:r>
            <a:r>
              <a:rPr lang="en-GB" sz="3200" dirty="0" err="1">
                <a:solidFill>
                  <a:schemeClr val="accent4"/>
                </a:solidFill>
                <a:latin typeface="Fave Script Bold Pro" pitchFamily="2" charset="77"/>
              </a:rPr>
              <a:t>kaupungeissa</a:t>
            </a:r>
            <a:r>
              <a:rPr lang="en-GB" sz="3200" dirty="0">
                <a:solidFill>
                  <a:schemeClr val="accent4"/>
                </a:solidFill>
                <a:latin typeface="Fave Script Bold Pro" pitchFamily="2" charset="77"/>
              </a:rPr>
              <a:t> </a:t>
            </a:r>
            <a:r>
              <a:rPr lang="en-GB" sz="3200" dirty="0" err="1">
                <a:solidFill>
                  <a:schemeClr val="accent4"/>
                </a:solidFill>
                <a:latin typeface="Fave Script Bold Pro" pitchFamily="2" charset="77"/>
              </a:rPr>
              <a:t>ja</a:t>
            </a:r>
            <a:r>
              <a:rPr lang="en-GB" sz="3200" dirty="0">
                <a:solidFill>
                  <a:schemeClr val="accent4"/>
                </a:solidFill>
                <a:latin typeface="Fave Script Bold Pro" pitchFamily="2" charset="77"/>
              </a:rPr>
              <a:t> </a:t>
            </a:r>
            <a:r>
              <a:rPr lang="en-GB" sz="3200" dirty="0" err="1">
                <a:solidFill>
                  <a:schemeClr val="accent4"/>
                </a:solidFill>
                <a:latin typeface="Fave Script Bold Pro" pitchFamily="2" charset="77"/>
              </a:rPr>
              <a:t>paikkakunnilla</a:t>
            </a:r>
            <a:endParaRPr lang="en-GB" sz="3200" dirty="0">
              <a:solidFill>
                <a:schemeClr val="accent4"/>
              </a:solidFill>
              <a:latin typeface="Fave Script Bold Pro" pitchFamily="2" charset="77"/>
            </a:endParaRPr>
          </a:p>
        </p:txBody>
      </p:sp>
      <p:sp>
        <p:nvSpPr>
          <p:cNvPr id="19" name="Freeform 22">
            <a:extLst>
              <a:ext uri="{FF2B5EF4-FFF2-40B4-BE49-F238E27FC236}">
                <a16:creationId xmlns:a16="http://schemas.microsoft.com/office/drawing/2014/main" id="{13E63CF1-EDE4-EDA1-2501-BE97E95907AF}"/>
              </a:ext>
            </a:extLst>
          </p:cNvPr>
          <p:cNvSpPr/>
          <p:nvPr/>
        </p:nvSpPr>
        <p:spPr>
          <a:xfrm>
            <a:off x="8939812" y="5737291"/>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0" name="Freeform 22">
            <a:extLst>
              <a:ext uri="{FF2B5EF4-FFF2-40B4-BE49-F238E27FC236}">
                <a16:creationId xmlns:a16="http://schemas.microsoft.com/office/drawing/2014/main" id="{D638CDDB-7D7D-0859-2548-DAE930FD4C72}"/>
              </a:ext>
            </a:extLst>
          </p:cNvPr>
          <p:cNvSpPr/>
          <p:nvPr/>
        </p:nvSpPr>
        <p:spPr>
          <a:xfrm>
            <a:off x="10165948" y="5425228"/>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1" name="Freeform 22">
            <a:extLst>
              <a:ext uri="{FF2B5EF4-FFF2-40B4-BE49-F238E27FC236}">
                <a16:creationId xmlns:a16="http://schemas.microsoft.com/office/drawing/2014/main" id="{D49D3B5A-9737-F134-B751-110C8B906905}"/>
              </a:ext>
            </a:extLst>
          </p:cNvPr>
          <p:cNvSpPr/>
          <p:nvPr/>
        </p:nvSpPr>
        <p:spPr>
          <a:xfrm>
            <a:off x="10640487" y="4680337"/>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4" name="Freeform 22">
            <a:extLst>
              <a:ext uri="{FF2B5EF4-FFF2-40B4-BE49-F238E27FC236}">
                <a16:creationId xmlns:a16="http://schemas.microsoft.com/office/drawing/2014/main" id="{DF112E63-BD06-553F-138F-8F1FA35E684C}"/>
              </a:ext>
            </a:extLst>
          </p:cNvPr>
          <p:cNvSpPr/>
          <p:nvPr/>
        </p:nvSpPr>
        <p:spPr>
          <a:xfrm>
            <a:off x="10370551" y="4982108"/>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22">
            <a:extLst>
              <a:ext uri="{FF2B5EF4-FFF2-40B4-BE49-F238E27FC236}">
                <a16:creationId xmlns:a16="http://schemas.microsoft.com/office/drawing/2014/main" id="{9F9F2806-178F-E629-0D65-B9BA9DE43F9B}"/>
              </a:ext>
            </a:extLst>
          </p:cNvPr>
          <p:cNvSpPr/>
          <p:nvPr/>
        </p:nvSpPr>
        <p:spPr>
          <a:xfrm>
            <a:off x="9635684" y="5407959"/>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6" name="Freeform 22">
            <a:extLst>
              <a:ext uri="{FF2B5EF4-FFF2-40B4-BE49-F238E27FC236}">
                <a16:creationId xmlns:a16="http://schemas.microsoft.com/office/drawing/2014/main" id="{55023312-C01D-3355-63C9-789048775F8E}"/>
              </a:ext>
            </a:extLst>
          </p:cNvPr>
          <p:cNvSpPr/>
          <p:nvPr/>
        </p:nvSpPr>
        <p:spPr>
          <a:xfrm>
            <a:off x="8961888" y="4547204"/>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40" name="Freeform 22">
            <a:extLst>
              <a:ext uri="{FF2B5EF4-FFF2-40B4-BE49-F238E27FC236}">
                <a16:creationId xmlns:a16="http://schemas.microsoft.com/office/drawing/2014/main" id="{888F7A5F-2EE5-96C2-CCF5-0CD8CD48B3ED}"/>
              </a:ext>
            </a:extLst>
          </p:cNvPr>
          <p:cNvSpPr/>
          <p:nvPr/>
        </p:nvSpPr>
        <p:spPr>
          <a:xfrm>
            <a:off x="9384224" y="5499722"/>
            <a:ext cx="186666" cy="186666"/>
          </a:xfrm>
          <a:custGeom>
            <a:avLst/>
            <a:gdLst>
              <a:gd name="connsiteX0" fmla="*/ 1754288 w 3508576"/>
              <a:gd name="connsiteY0" fmla="*/ 0 h 3508577"/>
              <a:gd name="connsiteX1" fmla="*/ 2311720 w 3508576"/>
              <a:gd name="connsiteY1" fmla="*/ 230896 h 3508577"/>
              <a:gd name="connsiteX2" fmla="*/ 3277681 w 3508576"/>
              <a:gd name="connsiteY2" fmla="*/ 1196857 h 3508577"/>
              <a:gd name="connsiteX3" fmla="*/ 3277681 w 3508576"/>
              <a:gd name="connsiteY3" fmla="*/ 2311721 h 3508577"/>
              <a:gd name="connsiteX4" fmla="*/ 2311720 w 3508576"/>
              <a:gd name="connsiteY4" fmla="*/ 3277682 h 3508577"/>
              <a:gd name="connsiteX5" fmla="*/ 1196856 w 3508576"/>
              <a:gd name="connsiteY5" fmla="*/ 3277682 h 3508577"/>
              <a:gd name="connsiteX6" fmla="*/ 230896 w 3508576"/>
              <a:gd name="connsiteY6" fmla="*/ 2311721 h 3508577"/>
              <a:gd name="connsiteX7" fmla="*/ 230896 w 3508576"/>
              <a:gd name="connsiteY7" fmla="*/ 1196857 h 3508577"/>
              <a:gd name="connsiteX8" fmla="*/ 1196856 w 3508576"/>
              <a:gd name="connsiteY8" fmla="*/ 230896 h 3508577"/>
              <a:gd name="connsiteX9" fmla="*/ 1754288 w 3508576"/>
              <a:gd name="connsiteY9" fmla="*/ 0 h 350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576" h="3508577">
                <a:moveTo>
                  <a:pt x="1754288" y="0"/>
                </a:moveTo>
                <a:cubicBezTo>
                  <a:pt x="1956039" y="0"/>
                  <a:pt x="2157789" y="76966"/>
                  <a:pt x="2311720" y="230896"/>
                </a:cubicBezTo>
                <a:lnTo>
                  <a:pt x="3277681" y="1196857"/>
                </a:lnTo>
                <a:cubicBezTo>
                  <a:pt x="3585542" y="1504719"/>
                  <a:pt x="3585542" y="2003860"/>
                  <a:pt x="3277681" y="2311721"/>
                </a:cubicBezTo>
                <a:lnTo>
                  <a:pt x="2311720" y="3277682"/>
                </a:lnTo>
                <a:cubicBezTo>
                  <a:pt x="2003859" y="3585543"/>
                  <a:pt x="1504718" y="3585543"/>
                  <a:pt x="1196856" y="3277682"/>
                </a:cubicBezTo>
                <a:lnTo>
                  <a:pt x="230896" y="2311721"/>
                </a:lnTo>
                <a:cubicBezTo>
                  <a:pt x="-76966" y="2003860"/>
                  <a:pt x="-76966" y="1504719"/>
                  <a:pt x="230896" y="1196857"/>
                </a:cubicBezTo>
                <a:lnTo>
                  <a:pt x="1196856" y="230896"/>
                </a:lnTo>
                <a:cubicBezTo>
                  <a:pt x="1350787" y="76966"/>
                  <a:pt x="1552538" y="0"/>
                  <a:pt x="175428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46">
            <a:extLst>
              <a:ext uri="{FF2B5EF4-FFF2-40B4-BE49-F238E27FC236}">
                <a16:creationId xmlns:a16="http://schemas.microsoft.com/office/drawing/2014/main" id="{AD30A5B9-D446-6D73-351E-B06409EE23E8}"/>
              </a:ext>
            </a:extLst>
          </p:cNvPr>
          <p:cNvSpPr txBox="1"/>
          <p:nvPr/>
        </p:nvSpPr>
        <p:spPr>
          <a:xfrm>
            <a:off x="5078774" y="2611700"/>
            <a:ext cx="1270021" cy="669414"/>
          </a:xfrm>
          <a:prstGeom prst="rect">
            <a:avLst/>
          </a:prstGeom>
          <a:noFill/>
        </p:spPr>
        <p:txBody>
          <a:bodyPr wrap="square" rtlCol="0">
            <a:spAutoFit/>
          </a:bodyPr>
          <a:lstStyle/>
          <a:p>
            <a:pPr marL="0" marR="0" lvl="0" indent="0" algn="ctr" defTabSz="609630" rtl="0" eaLnBrk="1" fontAlgn="auto" latinLnBrk="0" hangingPunct="1">
              <a:lnSpc>
                <a:spcPct val="75000"/>
              </a:lnSpc>
              <a:spcBef>
                <a:spcPts val="0"/>
              </a:spcBef>
              <a:spcAft>
                <a:spcPts val="0"/>
              </a:spcAft>
              <a:buClrTx/>
              <a:buSzTx/>
              <a:buFontTx/>
              <a:buNone/>
              <a:tabLst/>
              <a:defRPr/>
            </a:pPr>
            <a:r>
              <a:rPr lang="en-US" sz="2400" dirty="0">
                <a:solidFill>
                  <a:schemeClr val="accent1"/>
                </a:solidFill>
                <a:latin typeface="Fave Script Bold Pro" pitchFamily="2" charset="77"/>
                <a:ea typeface="Fira Sans ExtraBold" panose="020B0903050000020004" pitchFamily="34" charset="0"/>
              </a:rPr>
              <a:t>~9000 </a:t>
            </a:r>
            <a:r>
              <a:rPr lang="en-US" sz="2400" dirty="0" err="1">
                <a:solidFill>
                  <a:schemeClr val="accent1"/>
                </a:solidFill>
                <a:latin typeface="Fave Script Bold Pro" pitchFamily="2" charset="77"/>
                <a:ea typeface="Fira Sans ExtraBold" panose="020B0903050000020004" pitchFamily="34" charset="0"/>
              </a:rPr>
              <a:t>laitetta</a:t>
            </a:r>
            <a:endParaRPr kumimoji="0" lang="en-GB" sz="2400" b="0" i="0" u="none" strike="noStrike" kern="1200" cap="none" spc="0" normalizeH="0" baseline="0" noProof="0" dirty="0">
              <a:ln>
                <a:noFill/>
              </a:ln>
              <a:solidFill>
                <a:schemeClr val="accent1"/>
              </a:solidFill>
              <a:effectLst/>
              <a:uLnTx/>
              <a:uFillTx/>
              <a:latin typeface="Fave Script Bold Pro" pitchFamily="2" charset="77"/>
              <a:ea typeface="Fira Sans ExtraBold" panose="020B0903050000020004" pitchFamily="34" charset="0"/>
              <a:cs typeface="+mn-cs"/>
            </a:endParaRPr>
          </a:p>
        </p:txBody>
      </p:sp>
      <p:sp>
        <p:nvSpPr>
          <p:cNvPr id="18" name="Vapaamuotoinen: Muoto 17">
            <a:extLst>
              <a:ext uri="{FF2B5EF4-FFF2-40B4-BE49-F238E27FC236}">
                <a16:creationId xmlns:a16="http://schemas.microsoft.com/office/drawing/2014/main" id="{2155BC90-7F31-616A-E140-E4879319F943}"/>
              </a:ext>
            </a:extLst>
          </p:cNvPr>
          <p:cNvSpPr/>
          <p:nvPr/>
        </p:nvSpPr>
        <p:spPr>
          <a:xfrm>
            <a:off x="4630368" y="2766394"/>
            <a:ext cx="748568" cy="163285"/>
          </a:xfrm>
          <a:custGeom>
            <a:avLst/>
            <a:gdLst>
              <a:gd name="csX0" fmla="*/ 0 w 933855"/>
              <a:gd name="csY0" fmla="*/ 136424 h 169160"/>
              <a:gd name="csX1" fmla="*/ 369651 w 933855"/>
              <a:gd name="csY1" fmla="*/ 237 h 169160"/>
              <a:gd name="csX2" fmla="*/ 710119 w 933855"/>
              <a:gd name="csY2" fmla="*/ 165607 h 169160"/>
              <a:gd name="csX3" fmla="*/ 933855 w 933855"/>
              <a:gd name="csY3" fmla="*/ 97513 h 169160"/>
            </a:gdLst>
            <a:ahLst/>
            <a:cxnLst>
              <a:cxn ang="0">
                <a:pos x="csX0" y="csY0"/>
              </a:cxn>
              <a:cxn ang="0">
                <a:pos x="csX1" y="csY1"/>
              </a:cxn>
              <a:cxn ang="0">
                <a:pos x="csX2" y="csY2"/>
              </a:cxn>
              <a:cxn ang="0">
                <a:pos x="csX3" y="csY3"/>
              </a:cxn>
            </a:cxnLst>
            <a:rect l="l" t="t" r="r" b="b"/>
            <a:pathLst>
              <a:path w="933855" h="169160">
                <a:moveTo>
                  <a:pt x="0" y="136424"/>
                </a:moveTo>
                <a:cubicBezTo>
                  <a:pt x="125649" y="65898"/>
                  <a:pt x="251298" y="-4627"/>
                  <a:pt x="369651" y="237"/>
                </a:cubicBezTo>
                <a:cubicBezTo>
                  <a:pt x="488004" y="5101"/>
                  <a:pt x="616085" y="149394"/>
                  <a:pt x="710119" y="165607"/>
                </a:cubicBezTo>
                <a:cubicBezTo>
                  <a:pt x="804153" y="181820"/>
                  <a:pt x="869004" y="139666"/>
                  <a:pt x="933855" y="97513"/>
                </a:cubicBezTo>
              </a:path>
            </a:pathLst>
          </a:custGeom>
          <a:ln w="19050" cap="flat" cmpd="sng" algn="ctr">
            <a:solidFill>
              <a:schemeClr val="accent1"/>
            </a:solidFill>
            <a:prstDash val="dash"/>
            <a:round/>
            <a:headEnd type="oval" w="med" len="med"/>
            <a:tailEnd type="oval"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i-FI"/>
          </a:p>
        </p:txBody>
      </p:sp>
      <p:sp>
        <p:nvSpPr>
          <p:cNvPr id="52" name="Tekstiruutu 51">
            <a:extLst>
              <a:ext uri="{FF2B5EF4-FFF2-40B4-BE49-F238E27FC236}">
                <a16:creationId xmlns:a16="http://schemas.microsoft.com/office/drawing/2014/main" id="{1B8578FA-B511-FE6A-FBDD-E6D367560984}"/>
              </a:ext>
            </a:extLst>
          </p:cNvPr>
          <p:cNvSpPr txBox="1"/>
          <p:nvPr/>
        </p:nvSpPr>
        <p:spPr>
          <a:xfrm>
            <a:off x="609601" y="1015896"/>
            <a:ext cx="7549631" cy="830997"/>
          </a:xfrm>
          <a:prstGeom prst="rect">
            <a:avLst/>
          </a:prstGeom>
          <a:noFill/>
        </p:spPr>
        <p:txBody>
          <a:bodyPr wrap="square">
            <a:spAutoFit/>
          </a:bodyPr>
          <a:lstStyle/>
          <a:p>
            <a:r>
              <a:rPr lang="en-GB" sz="1600" dirty="0">
                <a:solidFill>
                  <a:schemeClr val="accent1"/>
                </a:solidFill>
                <a:latin typeface="Arial" panose="020B0604020202020204" pitchFamily="34" charset="0"/>
                <a:cs typeface="Arial" panose="020B0604020202020204" pitchFamily="34" charset="0"/>
              </a:rPr>
              <a:t>Selecta on </a:t>
            </a:r>
            <a:r>
              <a:rPr lang="en-GB" sz="1600" dirty="0" err="1">
                <a:solidFill>
                  <a:schemeClr val="accent1"/>
                </a:solidFill>
                <a:latin typeface="Arial" panose="020B0604020202020204" pitchFamily="34" charset="0"/>
                <a:cs typeface="Arial" panose="020B0604020202020204" pitchFamily="34" charset="0"/>
              </a:rPr>
              <a:t>toiminut</a:t>
            </a:r>
            <a:r>
              <a:rPr lang="en-GB" sz="1600" dirty="0">
                <a:solidFill>
                  <a:schemeClr val="accent1"/>
                </a:solidFill>
                <a:latin typeface="Arial" panose="020B0604020202020204" pitchFamily="34" charset="0"/>
                <a:cs typeface="Arial" panose="020B0604020202020204" pitchFamily="34" charset="0"/>
              </a:rPr>
              <a:t> </a:t>
            </a:r>
            <a:r>
              <a:rPr lang="en-GB" sz="1600" dirty="0" err="1">
                <a:solidFill>
                  <a:schemeClr val="accent1"/>
                </a:solidFill>
                <a:latin typeface="Arial" panose="020B0604020202020204" pitchFamily="34" charset="0"/>
                <a:cs typeface="Arial" panose="020B0604020202020204" pitchFamily="34" charset="0"/>
              </a:rPr>
              <a:t>vuodesta</a:t>
            </a:r>
            <a:r>
              <a:rPr lang="en-GB" sz="1600" dirty="0">
                <a:solidFill>
                  <a:schemeClr val="accent1"/>
                </a:solidFill>
                <a:latin typeface="Arial" panose="020B0604020202020204" pitchFamily="34" charset="0"/>
                <a:cs typeface="Arial" panose="020B0604020202020204" pitchFamily="34" charset="0"/>
              </a:rPr>
              <a:t> 1957 </a:t>
            </a:r>
            <a:r>
              <a:rPr lang="en-GB" sz="1600" dirty="0" err="1">
                <a:solidFill>
                  <a:schemeClr val="accent1"/>
                </a:solidFill>
                <a:latin typeface="Arial" panose="020B0604020202020204" pitchFamily="34" charset="0"/>
                <a:cs typeface="Arial" panose="020B0604020202020204" pitchFamily="34" charset="0"/>
              </a:rPr>
              <a:t>lähtien</a:t>
            </a:r>
            <a:r>
              <a:rPr lang="en-GB" sz="1600" dirty="0">
                <a:solidFill>
                  <a:schemeClr val="accent1"/>
                </a:solidFill>
                <a:latin typeface="Arial" panose="020B0604020202020204" pitchFamily="34" charset="0"/>
                <a:cs typeface="Arial" panose="020B0604020202020204" pitchFamily="34" charset="0"/>
              </a:rPr>
              <a:t> </a:t>
            </a:r>
            <a:r>
              <a:rPr lang="en-GB" sz="1600" dirty="0" err="1">
                <a:solidFill>
                  <a:schemeClr val="accent1"/>
                </a:solidFill>
                <a:latin typeface="Arial" panose="020B0604020202020204" pitchFamily="34" charset="0"/>
                <a:cs typeface="Arial" panose="020B0604020202020204" pitchFamily="34" charset="0"/>
              </a:rPr>
              <a:t>ja</a:t>
            </a:r>
            <a:r>
              <a:rPr lang="en-GB" sz="1600" dirty="0">
                <a:solidFill>
                  <a:schemeClr val="accent1"/>
                </a:solidFill>
                <a:latin typeface="Arial" panose="020B0604020202020204" pitchFamily="34" charset="0"/>
                <a:cs typeface="Arial" panose="020B0604020202020204" pitchFamily="34" charset="0"/>
              </a:rPr>
              <a:t> </a:t>
            </a:r>
            <a:r>
              <a:rPr lang="fi-FI" sz="1600" dirty="0">
                <a:solidFill>
                  <a:schemeClr val="accent1"/>
                </a:solidFill>
              </a:rPr>
              <a:t>Selecta-konserni toimii 16 Euroopan maassa. Tärkein tavoitteemme on tuottaa asiakkaille iloa työpäiviin tarjoamalla parhaat mahdolliset taukoratkaisut ja -palvelut jokaiseen hetkeen.</a:t>
            </a:r>
            <a:endParaRPr lang="fi-FI" sz="1600" dirty="0"/>
          </a:p>
        </p:txBody>
      </p:sp>
      <p:sp>
        <p:nvSpPr>
          <p:cNvPr id="54" name="Tekstiruutu 53">
            <a:extLst>
              <a:ext uri="{FF2B5EF4-FFF2-40B4-BE49-F238E27FC236}">
                <a16:creationId xmlns:a16="http://schemas.microsoft.com/office/drawing/2014/main" id="{42DBF7D5-F8F5-8649-05B9-84033F7EE91D}"/>
              </a:ext>
            </a:extLst>
          </p:cNvPr>
          <p:cNvSpPr txBox="1"/>
          <p:nvPr/>
        </p:nvSpPr>
        <p:spPr>
          <a:xfrm>
            <a:off x="6562382" y="3094448"/>
            <a:ext cx="1812643" cy="83099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fi-FI" sz="2400" dirty="0">
                <a:solidFill>
                  <a:schemeClr val="accent1"/>
                </a:solidFill>
                <a:latin typeface="Fave Script Bold Pro" pitchFamily="2" charset="77"/>
              </a:rPr>
              <a:t>50 % kunnostettuja laitteita vuosittain.</a:t>
            </a:r>
          </a:p>
        </p:txBody>
      </p:sp>
      <p:sp>
        <p:nvSpPr>
          <p:cNvPr id="55" name="Vapaamuotoinen: Muoto 54">
            <a:extLst>
              <a:ext uri="{FF2B5EF4-FFF2-40B4-BE49-F238E27FC236}">
                <a16:creationId xmlns:a16="http://schemas.microsoft.com/office/drawing/2014/main" id="{C8789739-DA94-565D-0009-05D6B6BCAF63}"/>
              </a:ext>
            </a:extLst>
          </p:cNvPr>
          <p:cNvSpPr/>
          <p:nvPr/>
        </p:nvSpPr>
        <p:spPr>
          <a:xfrm rot="213754" flipV="1">
            <a:off x="6080328" y="2854391"/>
            <a:ext cx="964108" cy="293100"/>
          </a:xfrm>
          <a:custGeom>
            <a:avLst/>
            <a:gdLst>
              <a:gd name="csX0" fmla="*/ 0 w 933855"/>
              <a:gd name="csY0" fmla="*/ 136424 h 169160"/>
              <a:gd name="csX1" fmla="*/ 369651 w 933855"/>
              <a:gd name="csY1" fmla="*/ 237 h 169160"/>
              <a:gd name="csX2" fmla="*/ 710119 w 933855"/>
              <a:gd name="csY2" fmla="*/ 165607 h 169160"/>
              <a:gd name="csX3" fmla="*/ 933855 w 933855"/>
              <a:gd name="csY3" fmla="*/ 97513 h 169160"/>
            </a:gdLst>
            <a:ahLst/>
            <a:cxnLst>
              <a:cxn ang="0">
                <a:pos x="csX0" y="csY0"/>
              </a:cxn>
              <a:cxn ang="0">
                <a:pos x="csX1" y="csY1"/>
              </a:cxn>
              <a:cxn ang="0">
                <a:pos x="csX2" y="csY2"/>
              </a:cxn>
              <a:cxn ang="0">
                <a:pos x="csX3" y="csY3"/>
              </a:cxn>
            </a:cxnLst>
            <a:rect l="l" t="t" r="r" b="b"/>
            <a:pathLst>
              <a:path w="933855" h="169160">
                <a:moveTo>
                  <a:pt x="0" y="136424"/>
                </a:moveTo>
                <a:cubicBezTo>
                  <a:pt x="125649" y="65898"/>
                  <a:pt x="251298" y="-4627"/>
                  <a:pt x="369651" y="237"/>
                </a:cubicBezTo>
                <a:cubicBezTo>
                  <a:pt x="488004" y="5101"/>
                  <a:pt x="616085" y="149394"/>
                  <a:pt x="710119" y="165607"/>
                </a:cubicBezTo>
                <a:cubicBezTo>
                  <a:pt x="804153" y="181820"/>
                  <a:pt x="869004" y="139666"/>
                  <a:pt x="933855" y="97513"/>
                </a:cubicBezTo>
              </a:path>
            </a:pathLst>
          </a:custGeom>
          <a:ln w="19050" cap="flat" cmpd="sng" algn="ctr">
            <a:solidFill>
              <a:schemeClr val="accent1"/>
            </a:solidFill>
            <a:prstDash val="dash"/>
            <a:round/>
            <a:headEnd type="oval" w="med" len="med"/>
            <a:tailEnd type="oval"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i-FI"/>
          </a:p>
        </p:txBody>
      </p:sp>
      <p:sp>
        <p:nvSpPr>
          <p:cNvPr id="56" name="Tekstiruutu 55">
            <a:extLst>
              <a:ext uri="{FF2B5EF4-FFF2-40B4-BE49-F238E27FC236}">
                <a16:creationId xmlns:a16="http://schemas.microsoft.com/office/drawing/2014/main" id="{E18D37B1-42FE-7C43-F4A5-AAECEC02B734}"/>
              </a:ext>
            </a:extLst>
          </p:cNvPr>
          <p:cNvSpPr txBox="1"/>
          <p:nvPr/>
        </p:nvSpPr>
        <p:spPr>
          <a:xfrm>
            <a:off x="9652921" y="1900932"/>
            <a:ext cx="470000" cy="400110"/>
          </a:xfrm>
          <a:prstGeom prst="rect">
            <a:avLst/>
          </a:prstGeom>
          <a:noFill/>
        </p:spPr>
        <p:txBody>
          <a:bodyPr wrap="none" rtlCol="0">
            <a:spAutoFit/>
          </a:bodyPr>
          <a:lstStyle/>
          <a:p>
            <a:r>
              <a:rPr lang="fi-FI" sz="2000" dirty="0">
                <a:solidFill>
                  <a:schemeClr val="bg1"/>
                </a:solidFill>
              </a:rPr>
              <a:t>#1</a:t>
            </a:r>
          </a:p>
        </p:txBody>
      </p:sp>
      <p:pic>
        <p:nvPicPr>
          <p:cNvPr id="58" name="Kuva 57">
            <a:extLst>
              <a:ext uri="{FF2B5EF4-FFF2-40B4-BE49-F238E27FC236}">
                <a16:creationId xmlns:a16="http://schemas.microsoft.com/office/drawing/2014/main" id="{FE43AD72-DD56-540F-4F8D-3F265197C0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39251" y="2044292"/>
            <a:ext cx="791120" cy="889905"/>
          </a:xfrm>
          <a:prstGeom prst="rect">
            <a:avLst/>
          </a:prstGeom>
        </p:spPr>
      </p:pic>
      <p:pic>
        <p:nvPicPr>
          <p:cNvPr id="60" name="Kuva 59">
            <a:extLst>
              <a:ext uri="{FF2B5EF4-FFF2-40B4-BE49-F238E27FC236}">
                <a16:creationId xmlns:a16="http://schemas.microsoft.com/office/drawing/2014/main" id="{09CEC91E-F5C3-345F-6FBA-E0B8345C7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39251" y="3014393"/>
            <a:ext cx="791120" cy="889905"/>
          </a:xfrm>
          <a:prstGeom prst="rect">
            <a:avLst/>
          </a:prstGeom>
        </p:spPr>
      </p:pic>
    </p:spTree>
    <p:extLst>
      <p:ext uri="{BB962C8B-B14F-4D97-AF65-F5344CB8AC3E}">
        <p14:creationId xmlns:p14="http://schemas.microsoft.com/office/powerpoint/2010/main" val="3807586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095E6-DCA0-CC6E-7E4B-2A9CCC8960B6}"/>
            </a:ext>
          </a:extLst>
        </p:cNvPr>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1567980D-CA96-8D5D-7268-B1C7B708C9F4}"/>
              </a:ext>
            </a:extLst>
          </p:cNvPr>
          <p:cNvSpPr>
            <a:spLocks noGrp="1"/>
          </p:cNvSpPr>
          <p:nvPr>
            <p:ph type="sldNum" sz="quarter" idx="4"/>
          </p:nvPr>
        </p:nvSpPr>
        <p:spPr>
          <a:prstGeom prst="rect">
            <a:avLst/>
          </a:prstGeom>
        </p:spPr>
        <p:txBody>
          <a:bodyPr vert="horz" lIns="0" tIns="0" rIns="0" bIns="0" rtlCol="0" anchor="b"/>
          <a:lstStyle>
            <a:lvl1pPr algn="r">
              <a:defRPr sz="700" b="0" i="0">
                <a:solidFill>
                  <a:schemeClr val="tx2"/>
                </a:solidFill>
                <a:latin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15F0CDB-A812-4850-A270-8696C5F0BFD2}" type="slidenum">
              <a:rPr kumimoji="0" lang="en-GB" sz="7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Segnaposto piè di pagina 7">
            <a:extLst>
              <a:ext uri="{FF2B5EF4-FFF2-40B4-BE49-F238E27FC236}">
                <a16:creationId xmlns:a16="http://schemas.microsoft.com/office/drawing/2014/main" id="{AEA22189-07A9-CCD7-CE20-846619926B20}"/>
              </a:ext>
            </a:extLst>
          </p:cNvPr>
          <p:cNvSpPr>
            <a:spLocks noGrp="1"/>
          </p:cNvSpPr>
          <p:nvPr>
            <p:ph type="ftr" sz="quarter" idx="3"/>
          </p:nvPr>
        </p:nvSpPr>
        <p:spPr>
          <a:prstGeom prst="rect">
            <a:avLst/>
          </a:prstGeom>
        </p:spPr>
        <p:txBody>
          <a:bodyPr vert="horz" lIns="91440" tIns="45720" rIns="91440" bIns="45720" rtlCol="0" anchor="ctr"/>
          <a:lstStyle>
            <a:lvl1pPr algn="r">
              <a:defRPr sz="10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Helvetica Neue Light" panose="02000403000000020004" pitchFamily="2" charset="0"/>
                <a:cs typeface="+mn-cs"/>
              </a:rPr>
              <a:t>©Selecta</a:t>
            </a:r>
          </a:p>
        </p:txBody>
      </p:sp>
      <p:sp>
        <p:nvSpPr>
          <p:cNvPr id="5" name="Otsikko 4">
            <a:extLst>
              <a:ext uri="{FF2B5EF4-FFF2-40B4-BE49-F238E27FC236}">
                <a16:creationId xmlns:a16="http://schemas.microsoft.com/office/drawing/2014/main" id="{11272701-9186-B987-F381-8F0C1758F825}"/>
              </a:ext>
            </a:extLst>
          </p:cNvPr>
          <p:cNvSpPr>
            <a:spLocks noGrp="1"/>
          </p:cNvSpPr>
          <p:nvPr>
            <p:ph type="title"/>
          </p:nvPr>
        </p:nvSpPr>
        <p:spPr>
          <a:xfrm>
            <a:off x="550863" y="549276"/>
            <a:ext cx="3527151" cy="512269"/>
          </a:xfrm>
        </p:spPr>
        <p:txBody>
          <a:bodyPr>
            <a:normAutofit/>
          </a:bodyPr>
          <a:lstStyle/>
          <a:p>
            <a:r>
              <a:rPr lang="fi-FI" dirty="0">
                <a:solidFill>
                  <a:srgbClr val="E10718"/>
                </a:solidFill>
                <a:latin typeface="Prometo" panose="020B0804030203060203" pitchFamily="34" charset="0"/>
              </a:rPr>
              <a:t>SELECTAN VALIKOIMA</a:t>
            </a:r>
          </a:p>
        </p:txBody>
      </p:sp>
      <p:pic>
        <p:nvPicPr>
          <p:cNvPr id="3" name="object 4">
            <a:extLst>
              <a:ext uri="{FF2B5EF4-FFF2-40B4-BE49-F238E27FC236}">
                <a16:creationId xmlns:a16="http://schemas.microsoft.com/office/drawing/2014/main" id="{89C34DD6-9657-BD57-ECAD-ED07E26F9A81}"/>
              </a:ext>
            </a:extLst>
          </p:cNvPr>
          <p:cNvPicPr/>
          <p:nvPr/>
        </p:nvPicPr>
        <p:blipFill>
          <a:blip r:embed="rId2" cstate="print"/>
          <a:stretch>
            <a:fillRect/>
          </a:stretch>
        </p:blipFill>
        <p:spPr>
          <a:xfrm>
            <a:off x="3073579" y="4637811"/>
            <a:ext cx="350586" cy="397326"/>
          </a:xfrm>
          <a:prstGeom prst="rect">
            <a:avLst/>
          </a:prstGeom>
        </p:spPr>
      </p:pic>
      <p:sp>
        <p:nvSpPr>
          <p:cNvPr id="7" name="object 11">
            <a:extLst>
              <a:ext uri="{FF2B5EF4-FFF2-40B4-BE49-F238E27FC236}">
                <a16:creationId xmlns:a16="http://schemas.microsoft.com/office/drawing/2014/main" id="{D36A18BD-C0FA-192C-240F-B50E4E07357C}"/>
              </a:ext>
            </a:extLst>
          </p:cNvPr>
          <p:cNvSpPr txBox="1"/>
          <p:nvPr/>
        </p:nvSpPr>
        <p:spPr>
          <a:xfrm>
            <a:off x="722579" y="3901655"/>
            <a:ext cx="820421" cy="359714"/>
          </a:xfrm>
          <a:prstGeom prst="rect">
            <a:avLst/>
          </a:prstGeom>
        </p:spPr>
        <p:txBody>
          <a:bodyPr vert="horz" wrap="square" lIns="0" tIns="13335" rIns="0" bIns="0" rtlCol="0">
            <a:spAutoFit/>
          </a:bodyPr>
          <a:lstStyle/>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Tuoremaito-</a:t>
            </a:r>
          </a:p>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laitteet</a:t>
            </a:r>
            <a:endParaRPr kumimoji="0" sz="1100" b="0" i="0" u="none" strike="noStrike" kern="1200" cap="none" spc="0" normalizeH="0" baseline="0" noProof="0">
              <a:ln>
                <a:noFill/>
              </a:ln>
              <a:solidFill>
                <a:prstClr val="black"/>
              </a:solidFill>
              <a:effectLst/>
              <a:uLnTx/>
              <a:uFillTx/>
              <a:latin typeface="Arial MT"/>
              <a:ea typeface="+mn-ea"/>
              <a:cs typeface="Arial MT"/>
            </a:endParaRPr>
          </a:p>
        </p:txBody>
      </p:sp>
      <p:sp>
        <p:nvSpPr>
          <p:cNvPr id="8" name="object 12">
            <a:extLst>
              <a:ext uri="{FF2B5EF4-FFF2-40B4-BE49-F238E27FC236}">
                <a16:creationId xmlns:a16="http://schemas.microsoft.com/office/drawing/2014/main" id="{985C2566-4B31-628A-2B52-619A8191F94A}"/>
              </a:ext>
            </a:extLst>
          </p:cNvPr>
          <p:cNvSpPr txBox="1"/>
          <p:nvPr/>
        </p:nvSpPr>
        <p:spPr>
          <a:xfrm>
            <a:off x="9083263" y="2089789"/>
            <a:ext cx="976414" cy="352019"/>
          </a:xfrm>
          <a:prstGeom prst="rect">
            <a:avLst/>
          </a:prstGeom>
        </p:spPr>
        <p:txBody>
          <a:bodyPr vert="horz" wrap="square" lIns="0" tIns="13335" rIns="0" bIns="0" rtlCol="0">
            <a:spAutoFit/>
          </a:bodyPr>
          <a:lstStyle/>
          <a:p>
            <a:pPr marL="12700" marR="5080" lvl="0" indent="20955" algn="l" defTabSz="914400" rtl="0" eaLnBrk="1" fontAlgn="auto" latinLnBrk="0" hangingPunct="1">
              <a:lnSpc>
                <a:spcPct val="100000"/>
              </a:lnSpc>
              <a:spcBef>
                <a:spcPts val="105"/>
              </a:spcBef>
              <a:spcAft>
                <a:spcPts val="0"/>
              </a:spcAft>
              <a:buClrTx/>
              <a:buSzTx/>
              <a:buFontTx/>
              <a:buNone/>
              <a:tabLst/>
              <a:defRPr/>
            </a:pPr>
            <a:r>
              <a:rPr kumimoji="0" lang="fi-FI" sz="1100" b="0" i="0" u="none" strike="noStrike" kern="1200" cap="none" spc="-5" normalizeH="0" baseline="0" noProof="0">
                <a:ln>
                  <a:noFill/>
                </a:ln>
                <a:solidFill>
                  <a:prstClr val="black"/>
                </a:solidFill>
                <a:effectLst/>
                <a:uLnTx/>
                <a:uFillTx/>
                <a:latin typeface="Arial MT"/>
                <a:ea typeface="+mn-ea"/>
                <a:cs typeface="Arial MT"/>
              </a:rPr>
              <a:t>Kioski-automaatti</a:t>
            </a:r>
          </a:p>
        </p:txBody>
      </p:sp>
      <p:pic>
        <p:nvPicPr>
          <p:cNvPr id="17" name="object 26">
            <a:extLst>
              <a:ext uri="{FF2B5EF4-FFF2-40B4-BE49-F238E27FC236}">
                <a16:creationId xmlns:a16="http://schemas.microsoft.com/office/drawing/2014/main" id="{59BFFE2E-50CE-1201-56F8-83DCEB3033F8}"/>
              </a:ext>
            </a:extLst>
          </p:cNvPr>
          <p:cNvPicPr/>
          <p:nvPr/>
        </p:nvPicPr>
        <p:blipFill>
          <a:blip r:embed="rId3" cstate="print"/>
          <a:stretch>
            <a:fillRect/>
          </a:stretch>
        </p:blipFill>
        <p:spPr>
          <a:xfrm>
            <a:off x="4350563" y="4824925"/>
            <a:ext cx="621753" cy="198433"/>
          </a:xfrm>
          <a:prstGeom prst="rect">
            <a:avLst/>
          </a:prstGeom>
        </p:spPr>
      </p:pic>
      <p:sp>
        <p:nvSpPr>
          <p:cNvPr id="21" name="object 41">
            <a:extLst>
              <a:ext uri="{FF2B5EF4-FFF2-40B4-BE49-F238E27FC236}">
                <a16:creationId xmlns:a16="http://schemas.microsoft.com/office/drawing/2014/main" id="{4CE5A2AE-C20D-6735-8F09-3851D6B14A18}"/>
              </a:ext>
            </a:extLst>
          </p:cNvPr>
          <p:cNvSpPr/>
          <p:nvPr/>
        </p:nvSpPr>
        <p:spPr>
          <a:xfrm>
            <a:off x="599321" y="6179012"/>
            <a:ext cx="10964194" cy="126465"/>
          </a:xfrm>
          <a:custGeom>
            <a:avLst/>
            <a:gdLst/>
            <a:ahLst/>
            <a:cxnLst/>
            <a:rect l="l" t="t" r="r" b="b"/>
            <a:pathLst>
              <a:path w="7668259">
                <a:moveTo>
                  <a:pt x="0" y="0"/>
                </a:moveTo>
                <a:lnTo>
                  <a:pt x="7668006" y="0"/>
                </a:lnTo>
              </a:path>
            </a:pathLst>
          </a:custGeom>
          <a:ln w="6350">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27" name="Picture 14" descr="Arvid Nordquist Sverige | LinkedIn">
            <a:extLst>
              <a:ext uri="{FF2B5EF4-FFF2-40B4-BE49-F238E27FC236}">
                <a16:creationId xmlns:a16="http://schemas.microsoft.com/office/drawing/2014/main" id="{DE828829-E933-6074-0609-E6DD6C7EC0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8772" y="4616444"/>
            <a:ext cx="517545" cy="517545"/>
          </a:xfrm>
          <a:prstGeom prst="rect">
            <a:avLst/>
          </a:prstGeom>
          <a:noFill/>
          <a:extLst>
            <a:ext uri="{909E8E84-426E-40DD-AFC4-6F175D3DCCD1}">
              <a14:hiddenFill xmlns:a14="http://schemas.microsoft.com/office/drawing/2010/main">
                <a:solidFill>
                  <a:srgbClr val="FFFFFF"/>
                </a:solidFill>
              </a14:hiddenFill>
            </a:ext>
          </a:extLst>
        </p:spPr>
      </p:pic>
      <p:sp>
        <p:nvSpPr>
          <p:cNvPr id="28" name="Rechthoek 4">
            <a:extLst>
              <a:ext uri="{FF2B5EF4-FFF2-40B4-BE49-F238E27FC236}">
                <a16:creationId xmlns:a16="http://schemas.microsoft.com/office/drawing/2014/main" id="{06D1E004-C1A8-3D00-E99D-B0B9BF6540FC}"/>
              </a:ext>
            </a:extLst>
          </p:cNvPr>
          <p:cNvSpPr/>
          <p:nvPr/>
        </p:nvSpPr>
        <p:spPr>
          <a:xfrm>
            <a:off x="8997244" y="1265923"/>
            <a:ext cx="2133211" cy="592517"/>
          </a:xfrm>
          <a:prstGeom prst="rect">
            <a:avLst/>
          </a:prstGeom>
          <a:gradFill>
            <a:gsLst>
              <a:gs pos="0">
                <a:srgbClr val="E10718"/>
              </a:gs>
              <a:gs pos="98000">
                <a:srgbClr val="70040C"/>
              </a:gs>
            </a:gsLst>
            <a:lin ang="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all" spc="0" normalizeH="0" baseline="0" noProof="0">
                <a:ln>
                  <a:noFill/>
                </a:ln>
                <a:solidFill>
                  <a:srgbClr val="FFFFFF"/>
                </a:solidFill>
                <a:effectLst/>
                <a:uLnTx/>
                <a:uFillTx/>
                <a:latin typeface="Prometo"/>
                <a:ea typeface="+mn-ea"/>
                <a:cs typeface="+mn-cs"/>
              </a:rPr>
              <a:t>VÄLIPALA</a:t>
            </a:r>
          </a:p>
        </p:txBody>
      </p:sp>
      <p:sp>
        <p:nvSpPr>
          <p:cNvPr id="29" name="Tekstiruutu 28">
            <a:extLst>
              <a:ext uri="{FF2B5EF4-FFF2-40B4-BE49-F238E27FC236}">
                <a16:creationId xmlns:a16="http://schemas.microsoft.com/office/drawing/2014/main" id="{B7CAC3BF-60A1-63AF-A415-0B9C9242E98A}"/>
              </a:ext>
            </a:extLst>
          </p:cNvPr>
          <p:cNvSpPr txBox="1"/>
          <p:nvPr/>
        </p:nvSpPr>
        <p:spPr>
          <a:xfrm>
            <a:off x="6668431" y="1399491"/>
            <a:ext cx="1726035" cy="369332"/>
          </a:xfrm>
          <a:prstGeom prst="rect">
            <a:avLst/>
          </a:prstGeom>
          <a:noFill/>
        </p:spPr>
        <p:txBody>
          <a:bodyPr wrap="square">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fi-FI" sz="1800" b="1" i="0" u="none" strike="noStrike" kern="1200" cap="none" spc="-10" normalizeH="0" baseline="0" noProof="0">
                <a:ln>
                  <a:noFill/>
                </a:ln>
                <a:solidFill>
                  <a:srgbClr val="FFFFFF"/>
                </a:solidFill>
                <a:effectLst/>
                <a:uLnTx/>
                <a:uFillTx/>
                <a:latin typeface="Calibri"/>
                <a:ea typeface="+mn-ea"/>
                <a:cs typeface="Calibri"/>
              </a:rPr>
              <a:t>VESI</a:t>
            </a:r>
            <a:endParaRPr kumimoji="0" lang="fi-FI" sz="1800" b="0" i="0" u="none" strike="noStrike" kern="1200" cap="none" spc="0" normalizeH="0" baseline="0" noProof="0">
              <a:ln>
                <a:noFill/>
              </a:ln>
              <a:solidFill>
                <a:prstClr val="black"/>
              </a:solidFill>
              <a:effectLst/>
              <a:uLnTx/>
              <a:uFillTx/>
              <a:latin typeface="Calibri"/>
              <a:ea typeface="+mn-ea"/>
              <a:cs typeface="Calibri"/>
            </a:endParaRPr>
          </a:p>
        </p:txBody>
      </p:sp>
      <p:sp>
        <p:nvSpPr>
          <p:cNvPr id="34" name="Rechthoek 4">
            <a:extLst>
              <a:ext uri="{FF2B5EF4-FFF2-40B4-BE49-F238E27FC236}">
                <a16:creationId xmlns:a16="http://schemas.microsoft.com/office/drawing/2014/main" id="{A2FBE04E-D168-8F53-B60F-608EA9C6402F}"/>
              </a:ext>
            </a:extLst>
          </p:cNvPr>
          <p:cNvSpPr/>
          <p:nvPr/>
        </p:nvSpPr>
        <p:spPr>
          <a:xfrm>
            <a:off x="6208265" y="1260318"/>
            <a:ext cx="2375785" cy="592517"/>
          </a:xfrm>
          <a:prstGeom prst="rect">
            <a:avLst/>
          </a:prstGeom>
          <a:gradFill>
            <a:gsLst>
              <a:gs pos="0">
                <a:srgbClr val="E10718"/>
              </a:gs>
              <a:gs pos="98000">
                <a:srgbClr val="70040C"/>
              </a:gs>
            </a:gsLst>
            <a:lin ang="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all" spc="0" normalizeH="0" baseline="0" noProof="0">
                <a:ln>
                  <a:noFill/>
                </a:ln>
                <a:solidFill>
                  <a:srgbClr val="FFFFFF"/>
                </a:solidFill>
                <a:effectLst/>
                <a:uLnTx/>
                <a:uFillTx/>
                <a:latin typeface="Prometo"/>
                <a:ea typeface="+mn-ea"/>
                <a:cs typeface="+mn-cs"/>
              </a:rPr>
              <a:t>VESI</a:t>
            </a:r>
          </a:p>
        </p:txBody>
      </p:sp>
      <p:sp>
        <p:nvSpPr>
          <p:cNvPr id="35" name="Rechthoek 4">
            <a:extLst>
              <a:ext uri="{FF2B5EF4-FFF2-40B4-BE49-F238E27FC236}">
                <a16:creationId xmlns:a16="http://schemas.microsoft.com/office/drawing/2014/main" id="{2B39D0C5-6148-198F-6BF1-7F62C7FE229D}"/>
              </a:ext>
            </a:extLst>
          </p:cNvPr>
          <p:cNvSpPr/>
          <p:nvPr/>
        </p:nvSpPr>
        <p:spPr>
          <a:xfrm>
            <a:off x="599823" y="1270348"/>
            <a:ext cx="5195247" cy="592517"/>
          </a:xfrm>
          <a:prstGeom prst="rect">
            <a:avLst/>
          </a:prstGeom>
          <a:gradFill>
            <a:gsLst>
              <a:gs pos="0">
                <a:srgbClr val="E10718"/>
              </a:gs>
              <a:gs pos="98000">
                <a:srgbClr val="70040C"/>
              </a:gs>
            </a:gsLst>
            <a:lin ang="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600" b="1" i="0" u="none" strike="noStrike" kern="1200" cap="all" spc="0" normalizeH="0" baseline="0" noProof="0">
                <a:ln>
                  <a:noFill/>
                </a:ln>
                <a:solidFill>
                  <a:srgbClr val="FFFFFF"/>
                </a:solidFill>
                <a:effectLst/>
                <a:uLnTx/>
                <a:uFillTx/>
                <a:latin typeface="Prometo"/>
                <a:ea typeface="+mn-ea"/>
                <a:cs typeface="+mn-cs"/>
              </a:rPr>
              <a:t>KAHVI</a:t>
            </a:r>
          </a:p>
        </p:txBody>
      </p:sp>
      <p:sp>
        <p:nvSpPr>
          <p:cNvPr id="37" name="object 27">
            <a:extLst>
              <a:ext uri="{FF2B5EF4-FFF2-40B4-BE49-F238E27FC236}">
                <a16:creationId xmlns:a16="http://schemas.microsoft.com/office/drawing/2014/main" id="{1CBB3E91-9E01-EFE2-68B1-82FE23D0F609}"/>
              </a:ext>
            </a:extLst>
          </p:cNvPr>
          <p:cNvSpPr txBox="1"/>
          <p:nvPr/>
        </p:nvSpPr>
        <p:spPr>
          <a:xfrm>
            <a:off x="4618655" y="2112186"/>
            <a:ext cx="1351263" cy="180178"/>
          </a:xfrm>
          <a:prstGeom prst="rect">
            <a:avLst/>
          </a:prstGeom>
        </p:spPr>
        <p:txBody>
          <a:bodyPr vert="horz" wrap="square" lIns="0" tIns="13335" rIns="0" bIns="0" rtlCol="0">
            <a:spAutoFit/>
          </a:bodyPr>
          <a:lstStyle/>
          <a:p>
            <a:pPr marL="30480" marR="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Kalusteet</a:t>
            </a:r>
            <a:endParaRPr kumimoji="0" sz="1100" b="0" i="0" u="none" strike="noStrike" kern="1200" cap="none" spc="0" normalizeH="0" baseline="0" noProof="0">
              <a:ln>
                <a:noFill/>
              </a:ln>
              <a:solidFill>
                <a:prstClr val="black"/>
              </a:solidFill>
              <a:effectLst/>
              <a:uLnTx/>
              <a:uFillTx/>
              <a:latin typeface="Arial MT"/>
              <a:ea typeface="+mn-ea"/>
              <a:cs typeface="Arial MT"/>
            </a:endParaRPr>
          </a:p>
        </p:txBody>
      </p:sp>
      <p:pic>
        <p:nvPicPr>
          <p:cNvPr id="38" name="Bildobjekt 3">
            <a:extLst>
              <a:ext uri="{FF2B5EF4-FFF2-40B4-BE49-F238E27FC236}">
                <a16:creationId xmlns:a16="http://schemas.microsoft.com/office/drawing/2014/main" id="{1B2BC181-A85D-5F10-23FA-99B110BEA5C2}"/>
              </a:ext>
            </a:extLst>
          </p:cNvPr>
          <p:cNvPicPr>
            <a:picLocks noChangeAspect="1"/>
          </p:cNvPicPr>
          <p:nvPr/>
        </p:nvPicPr>
        <p:blipFill>
          <a:blip r:embed="rId5"/>
          <a:stretch>
            <a:fillRect/>
          </a:stretch>
        </p:blipFill>
        <p:spPr>
          <a:xfrm>
            <a:off x="1754727" y="2017952"/>
            <a:ext cx="838515" cy="1466870"/>
          </a:xfrm>
          <a:prstGeom prst="rect">
            <a:avLst/>
          </a:prstGeom>
        </p:spPr>
      </p:pic>
      <p:sp>
        <p:nvSpPr>
          <p:cNvPr id="39" name="object 11">
            <a:extLst>
              <a:ext uri="{FF2B5EF4-FFF2-40B4-BE49-F238E27FC236}">
                <a16:creationId xmlns:a16="http://schemas.microsoft.com/office/drawing/2014/main" id="{899E2CD4-FD95-5665-40B6-D0E4E5DE152C}"/>
              </a:ext>
            </a:extLst>
          </p:cNvPr>
          <p:cNvSpPr txBox="1"/>
          <p:nvPr/>
        </p:nvSpPr>
        <p:spPr>
          <a:xfrm>
            <a:off x="722579" y="2065971"/>
            <a:ext cx="1072174" cy="680314"/>
          </a:xfrm>
          <a:prstGeom prst="rect">
            <a:avLst/>
          </a:prstGeom>
        </p:spPr>
        <p:txBody>
          <a:bodyPr vert="horz" wrap="square" lIns="0" tIns="13335" rIns="0" bIns="0" rtlCol="0" anchor="t">
            <a:spAutoFit/>
          </a:bodyPr>
          <a:lstStyle/>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Perinteiset kahviautomaatit, pöytämallisena tai alakaapilla</a:t>
            </a:r>
          </a:p>
        </p:txBody>
      </p:sp>
      <p:sp>
        <p:nvSpPr>
          <p:cNvPr id="43" name="object 11">
            <a:extLst>
              <a:ext uri="{FF2B5EF4-FFF2-40B4-BE49-F238E27FC236}">
                <a16:creationId xmlns:a16="http://schemas.microsoft.com/office/drawing/2014/main" id="{94F42426-AF64-00F8-C354-04CA3D81348C}"/>
              </a:ext>
            </a:extLst>
          </p:cNvPr>
          <p:cNvSpPr txBox="1"/>
          <p:nvPr/>
        </p:nvSpPr>
        <p:spPr>
          <a:xfrm>
            <a:off x="7148270" y="2015729"/>
            <a:ext cx="1400810" cy="346890"/>
          </a:xfrm>
          <a:prstGeom prst="rect">
            <a:avLst/>
          </a:prstGeom>
        </p:spPr>
        <p:txBody>
          <a:bodyPr vert="horz" wrap="square" lIns="0" tIns="13335" rIns="0" bIns="0" rtlCol="0">
            <a:spAutoFit/>
          </a:bodyPr>
          <a:lstStyle/>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Funktionaalinen vesiautomaatti</a:t>
            </a:r>
            <a:endParaRPr kumimoji="0" sz="1100" b="0" i="0" u="none" strike="noStrike" kern="1200" cap="none" spc="0" normalizeH="0" baseline="0" noProof="0">
              <a:ln>
                <a:noFill/>
              </a:ln>
              <a:solidFill>
                <a:prstClr val="black"/>
              </a:solidFill>
              <a:effectLst/>
              <a:uLnTx/>
              <a:uFillTx/>
              <a:latin typeface="Arial MT"/>
              <a:ea typeface="+mn-ea"/>
              <a:cs typeface="Arial MT"/>
            </a:endParaRPr>
          </a:p>
        </p:txBody>
      </p:sp>
      <p:sp>
        <p:nvSpPr>
          <p:cNvPr id="45" name="object 11">
            <a:extLst>
              <a:ext uri="{FF2B5EF4-FFF2-40B4-BE49-F238E27FC236}">
                <a16:creationId xmlns:a16="http://schemas.microsoft.com/office/drawing/2014/main" id="{C0CB9EB5-80E1-C7DC-34DB-F33676BB293D}"/>
              </a:ext>
            </a:extLst>
          </p:cNvPr>
          <p:cNvSpPr txBox="1"/>
          <p:nvPr/>
        </p:nvSpPr>
        <p:spPr>
          <a:xfrm>
            <a:off x="7427566" y="4594358"/>
            <a:ext cx="996849" cy="513602"/>
          </a:xfrm>
          <a:prstGeom prst="rect">
            <a:avLst/>
          </a:prstGeom>
        </p:spPr>
        <p:txBody>
          <a:bodyPr vert="horz" wrap="square" lIns="0" tIns="13335" rIns="0" bIns="0" rtlCol="0">
            <a:spAutoFit/>
          </a:bodyPr>
          <a:lstStyle/>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Vesiautomaatit pöytämallisena tai alakaapilla</a:t>
            </a:r>
            <a:endParaRPr kumimoji="0" sz="1100" b="0" i="0" u="none" strike="noStrike" kern="1200" cap="none" spc="0" normalizeH="0" baseline="0" noProof="0">
              <a:ln>
                <a:noFill/>
              </a:ln>
              <a:solidFill>
                <a:prstClr val="black"/>
              </a:solidFill>
              <a:effectLst/>
              <a:uLnTx/>
              <a:uFillTx/>
              <a:latin typeface="Arial MT"/>
              <a:ea typeface="+mn-ea"/>
              <a:cs typeface="Arial MT"/>
            </a:endParaRPr>
          </a:p>
        </p:txBody>
      </p:sp>
      <p:pic>
        <p:nvPicPr>
          <p:cNvPr id="46" name="Kuva 45">
            <a:extLst>
              <a:ext uri="{FF2B5EF4-FFF2-40B4-BE49-F238E27FC236}">
                <a16:creationId xmlns:a16="http://schemas.microsoft.com/office/drawing/2014/main" id="{2317E723-D4FA-7019-9557-C284CF7A73F8}"/>
              </a:ext>
            </a:extLst>
          </p:cNvPr>
          <p:cNvPicPr>
            <a:picLocks noChangeAspect="1"/>
          </p:cNvPicPr>
          <p:nvPr/>
        </p:nvPicPr>
        <p:blipFill>
          <a:blip r:embed="rId6"/>
          <a:stretch>
            <a:fillRect/>
          </a:stretch>
        </p:blipFill>
        <p:spPr>
          <a:xfrm>
            <a:off x="7463780" y="2920424"/>
            <a:ext cx="930686" cy="1241157"/>
          </a:xfrm>
          <a:prstGeom prst="rect">
            <a:avLst/>
          </a:prstGeom>
        </p:spPr>
      </p:pic>
      <p:sp>
        <p:nvSpPr>
          <p:cNvPr id="47" name="object 11">
            <a:extLst>
              <a:ext uri="{FF2B5EF4-FFF2-40B4-BE49-F238E27FC236}">
                <a16:creationId xmlns:a16="http://schemas.microsoft.com/office/drawing/2014/main" id="{7B49E3E4-BF77-87B1-F328-87C6A1E8E0C5}"/>
              </a:ext>
            </a:extLst>
          </p:cNvPr>
          <p:cNvSpPr txBox="1"/>
          <p:nvPr/>
        </p:nvSpPr>
        <p:spPr>
          <a:xfrm>
            <a:off x="7656555" y="2712947"/>
            <a:ext cx="892525" cy="180178"/>
          </a:xfrm>
          <a:prstGeom prst="rect">
            <a:avLst/>
          </a:prstGeom>
        </p:spPr>
        <p:txBody>
          <a:bodyPr vert="horz" wrap="square" lIns="0" tIns="13335" rIns="0" bIns="0" rtlCol="0">
            <a:spAutoFit/>
          </a:bodyPr>
          <a:lstStyle/>
          <a:p>
            <a:pPr marL="0" marR="5080" lvl="0" indent="0" algn="l" defTabSz="914400" rtl="0" eaLnBrk="1" fontAlgn="auto" latinLnBrk="0" hangingPunct="1">
              <a:lnSpc>
                <a:spcPts val="1255"/>
              </a:lnSpc>
              <a:spcBef>
                <a:spcPts val="105"/>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Arial MT"/>
                <a:ea typeface="+mn-ea"/>
                <a:cs typeface="Arial MT"/>
              </a:rPr>
              <a:t>Vesihanat</a:t>
            </a:r>
          </a:p>
        </p:txBody>
      </p:sp>
      <p:pic>
        <p:nvPicPr>
          <p:cNvPr id="48" name="Kuva 47">
            <a:extLst>
              <a:ext uri="{FF2B5EF4-FFF2-40B4-BE49-F238E27FC236}">
                <a16:creationId xmlns:a16="http://schemas.microsoft.com/office/drawing/2014/main" id="{E787095F-BBF7-9D4A-C1A4-5EE61D48958C}"/>
              </a:ext>
            </a:extLst>
          </p:cNvPr>
          <p:cNvPicPr>
            <a:picLocks noChangeAspect="1"/>
          </p:cNvPicPr>
          <p:nvPr/>
        </p:nvPicPr>
        <p:blipFill>
          <a:blip r:embed="rId7"/>
          <a:stretch>
            <a:fillRect/>
          </a:stretch>
        </p:blipFill>
        <p:spPr>
          <a:xfrm>
            <a:off x="9632332" y="1934623"/>
            <a:ext cx="1423304" cy="1898199"/>
          </a:xfrm>
          <a:prstGeom prst="rect">
            <a:avLst/>
          </a:prstGeom>
        </p:spPr>
      </p:pic>
      <p:pic>
        <p:nvPicPr>
          <p:cNvPr id="50" name="Picture 1">
            <a:extLst>
              <a:ext uri="{FF2B5EF4-FFF2-40B4-BE49-F238E27FC236}">
                <a16:creationId xmlns:a16="http://schemas.microsoft.com/office/drawing/2014/main" id="{12EC4259-B2B7-FC7E-E070-B9F8F057ABF9}"/>
              </a:ext>
            </a:extLst>
          </p:cNvPr>
          <p:cNvPicPr>
            <a:picLocks noChangeAspect="1"/>
          </p:cNvPicPr>
          <p:nvPr/>
        </p:nvPicPr>
        <p:blipFill>
          <a:blip r:embed="rId8"/>
          <a:stretch>
            <a:fillRect/>
          </a:stretch>
        </p:blipFill>
        <p:spPr>
          <a:xfrm>
            <a:off x="2325113" y="2202275"/>
            <a:ext cx="2116843" cy="2461734"/>
          </a:xfrm>
          <a:prstGeom prst="rect">
            <a:avLst/>
          </a:prstGeom>
        </p:spPr>
      </p:pic>
      <p:pic>
        <p:nvPicPr>
          <p:cNvPr id="52" name="Afbeelding 5" descr="Afbeelding met tekst&#10;&#10;Automatisch gegenereerde beschrijving">
            <a:extLst>
              <a:ext uri="{FF2B5EF4-FFF2-40B4-BE49-F238E27FC236}">
                <a16:creationId xmlns:a16="http://schemas.microsoft.com/office/drawing/2014/main" id="{24BA4083-0B9C-FF43-1C45-3D2A20AC38E5}"/>
              </a:ext>
            </a:extLst>
          </p:cNvPr>
          <p:cNvPicPr>
            <a:picLocks noChangeAspect="1"/>
          </p:cNvPicPr>
          <p:nvPr/>
        </p:nvPicPr>
        <p:blipFill rotWithShape="1">
          <a:blip r:embed="rId9">
            <a:clrChange>
              <a:clrFrom>
                <a:srgbClr val="F9F9F8"/>
              </a:clrFrom>
              <a:clrTo>
                <a:srgbClr val="F9F9F8">
                  <a:alpha val="0"/>
                </a:srgbClr>
              </a:clrTo>
            </a:clrChange>
            <a:extLst>
              <a:ext uri="{BEBA8EAE-BF5A-486C-A8C5-ECC9F3942E4B}">
                <a14:imgProps xmlns:a14="http://schemas.microsoft.com/office/drawing/2010/main">
                  <a14:imgLayer r:embed="rId10">
                    <a14:imgEffect>
                      <a14:backgroundRemoval t="5417" b="90000" l="28563" r="69750">
                        <a14:foregroundMark x1="33125" y1="33250" x2="33375" y2="55833"/>
                        <a14:foregroundMark x1="33125" y1="56083" x2="29188" y2="61333"/>
                        <a14:foregroundMark x1="31375" y1="87583" x2="61000" y2="87083"/>
                        <a14:foregroundMark x1="61000" y1="87083" x2="61187" y2="87083"/>
                        <a14:foregroundMark x1="35125" y1="64250" x2="39500" y2="64000"/>
                        <a14:foregroundMark x1="30938" y1="62417" x2="63625" y2="80083"/>
                        <a14:foregroundMark x1="63625" y1="80083" x2="44500" y2="64667"/>
                        <a14:foregroundMark x1="44500" y1="64667" x2="28563" y2="61917"/>
                        <a14:foregroundMark x1="69125" y1="89750" x2="69750" y2="62417"/>
                        <a14:foregroundMark x1="30375" y1="90000" x2="31375" y2="59000"/>
                        <a14:foregroundMark x1="29563" y1="61083" x2="36500" y2="57167"/>
                        <a14:foregroundMark x1="34313" y1="59750" x2="61250" y2="60083"/>
                        <a14:foregroundMark x1="61250" y1="60083" x2="37313" y2="56083"/>
                        <a14:foregroundMark x1="62000" y1="61917" x2="60563" y2="59250"/>
                        <a14:foregroundMark x1="65188" y1="51833" x2="42125" y2="46500"/>
                        <a14:foregroundMark x1="42125" y1="46500" x2="63188" y2="50917"/>
                        <a14:foregroundMark x1="63188" y1="50917" x2="63375" y2="51583"/>
                        <a14:foregroundMark x1="38125" y1="55250" x2="35938" y2="55250"/>
                        <a14:foregroundMark x1="37938" y1="48083" x2="36313" y2="47833"/>
                        <a14:foregroundMark x1="40125" y1="56333" x2="39938" y2="37750"/>
                        <a14:foregroundMark x1="58375" y1="7250" x2="30750" y2="6167"/>
                        <a14:foregroundMark x1="30750" y1="6167" x2="49875" y2="14417"/>
                        <a14:foregroundMark x1="49875" y1="14417" x2="50250" y2="14417"/>
                        <a14:foregroundMark x1="41313" y1="47583" x2="41500" y2="40417"/>
                        <a14:foregroundMark x1="37313" y1="51833" x2="36750" y2="51333"/>
                        <a14:foregroundMark x1="58000" y1="7250" x2="55437" y2="7250"/>
                        <a14:foregroundMark x1="30750" y1="5417" x2="33750" y2="5917"/>
                      </a14:backgroundRemoval>
                    </a14:imgEffect>
                  </a14:imgLayer>
                </a14:imgProps>
              </a:ext>
              <a:ext uri="{28A0092B-C50C-407E-A947-70E740481C1C}">
                <a14:useLocalDpi xmlns:a14="http://schemas.microsoft.com/office/drawing/2010/main" val="0"/>
              </a:ext>
            </a:extLst>
          </a:blip>
          <a:srcRect l="28637" r="28174"/>
          <a:stretch/>
        </p:blipFill>
        <p:spPr>
          <a:xfrm>
            <a:off x="4293288" y="2464721"/>
            <a:ext cx="1220974" cy="2120260"/>
          </a:xfrm>
          <a:prstGeom prst="rect">
            <a:avLst/>
          </a:prstGeom>
        </p:spPr>
      </p:pic>
      <p:pic>
        <p:nvPicPr>
          <p:cNvPr id="85" name="Kuva 84" descr="Kuva, joka sisältää kohteen muotoilu&#10;&#10;Tekoälyn generoima sisältö voi olla virheellistä.">
            <a:extLst>
              <a:ext uri="{FF2B5EF4-FFF2-40B4-BE49-F238E27FC236}">
                <a16:creationId xmlns:a16="http://schemas.microsoft.com/office/drawing/2014/main" id="{B1A29D34-58B5-470C-6C70-35516FBBC3EF}"/>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9956" b="98590" l="10000" r="90000">
                        <a14:foregroundMark x1="47500" y1="13216" x2="47946" y2="14009"/>
                        <a14:foregroundMark x1="33661" y1="95595" x2="56696" y2="93480"/>
                        <a14:foregroundMark x1="56696" y1="93480" x2="52232" y2="91278"/>
                        <a14:foregroundMark x1="58038" y1="98738" x2="66875" y2="98590"/>
                        <a14:foregroundMark x1="46288" y1="98935" x2="46715" y2="98928"/>
                        <a14:foregroundMark x1="40536" y1="99031" x2="41505" y2="99015"/>
                        <a14:foregroundMark x1="66875" y1="98590" x2="74286" y2="98590"/>
                        <a14:foregroundMark x1="48393" y1="14890" x2="47054" y2="15330"/>
                        <a14:foregroundMark x1="47500" y1="12335" x2="55714" y2="11894"/>
                        <a14:foregroundMark x1="49196" y1="25551" x2="49643" y2="20881"/>
                        <a14:foregroundMark x1="51339" y1="22555" x2="49643" y2="18767"/>
                        <a14:backgroundMark x1="46161" y1="99824" x2="57857" y2="99031"/>
                        <a14:backgroundMark x1="40982" y1="99824" x2="45714" y2="99824"/>
                      </a14:backgroundRemoval>
                    </a14:imgEffect>
                  </a14:imgLayer>
                </a14:imgProps>
              </a:ext>
              <a:ext uri="{28A0092B-C50C-407E-A947-70E740481C1C}">
                <a14:useLocalDpi xmlns:a14="http://schemas.microsoft.com/office/drawing/2010/main" val="0"/>
              </a:ext>
            </a:extLst>
          </a:blip>
          <a:stretch>
            <a:fillRect/>
          </a:stretch>
        </p:blipFill>
        <p:spPr>
          <a:xfrm>
            <a:off x="5857766" y="1866500"/>
            <a:ext cx="1786905" cy="1810837"/>
          </a:xfrm>
          <a:prstGeom prst="rect">
            <a:avLst/>
          </a:prstGeom>
        </p:spPr>
      </p:pic>
      <p:pic>
        <p:nvPicPr>
          <p:cNvPr id="86" name="Afbeelding 18" descr="Afbeelding met Huishoudelijk apparaat, keukenapparaat, cilinder, zilver&#10;&#10;Automatisch gegenereerde beschrijving">
            <a:extLst>
              <a:ext uri="{FF2B5EF4-FFF2-40B4-BE49-F238E27FC236}">
                <a16:creationId xmlns:a16="http://schemas.microsoft.com/office/drawing/2014/main" id="{8BC5803F-52E0-50B0-FAFB-7C6CAA009758}"/>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16209" b="91431" l="41108" r="61803">
                        <a14:foregroundMark x1="45028" y1="22070" x2="46443" y2="58165"/>
                        <a14:foregroundMark x1="46443" y1="58165" x2="58084" y2="23363"/>
                        <a14:foregroundMark x1="58084" y1="23363" x2="58084" y2="23363"/>
                        <a14:foregroundMark x1="43088" y1="83994" x2="60873" y2="57922"/>
                        <a14:foregroundMark x1="60873" y1="57922" x2="61318" y2="55295"/>
                        <a14:foregroundMark x1="58731" y1="42926" x2="46968" y2="16855"/>
                        <a14:foregroundMark x1="46968" y1="16855" x2="41108" y2="16209"/>
                        <a14:foregroundMark x1="60671" y1="44220" x2="51536" y2="17502"/>
                        <a14:foregroundMark x1="51536" y1="17502" x2="50243" y2="16855"/>
                      </a14:backgroundRemoval>
                    </a14:imgEffect>
                  </a14:imgLayer>
                </a14:imgProps>
              </a:ext>
              <a:ext uri="{28A0092B-C50C-407E-A947-70E740481C1C}">
                <a14:useLocalDpi xmlns:a14="http://schemas.microsoft.com/office/drawing/2010/main" val="0"/>
              </a:ext>
            </a:extLst>
          </a:blip>
          <a:srcRect l="40006" t="14657" r="35766" b="-1"/>
          <a:stretch/>
        </p:blipFill>
        <p:spPr>
          <a:xfrm>
            <a:off x="6601323" y="3789275"/>
            <a:ext cx="544562" cy="1918228"/>
          </a:xfrm>
          <a:prstGeom prst="rect">
            <a:avLst/>
          </a:prstGeom>
        </p:spPr>
      </p:pic>
      <p:sp>
        <p:nvSpPr>
          <p:cNvPr id="2" name="Tekstiruutu 1">
            <a:extLst>
              <a:ext uri="{FF2B5EF4-FFF2-40B4-BE49-F238E27FC236}">
                <a16:creationId xmlns:a16="http://schemas.microsoft.com/office/drawing/2014/main" id="{E663C737-54E5-9356-B87B-1511BA331C08}"/>
              </a:ext>
            </a:extLst>
          </p:cNvPr>
          <p:cNvSpPr txBox="1"/>
          <p:nvPr/>
        </p:nvSpPr>
        <p:spPr>
          <a:xfrm>
            <a:off x="550862" y="5571914"/>
            <a:ext cx="5318787" cy="5309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all" spc="0" normalizeH="0" baseline="0" noProof="0">
                <a:ln>
                  <a:noFill/>
                </a:ln>
                <a:solidFill>
                  <a:srgbClr val="000000"/>
                </a:solidFill>
                <a:effectLst/>
                <a:uLnTx/>
                <a:uFillTx/>
                <a:latin typeface="Arial"/>
                <a:ea typeface="+mn-ea"/>
                <a:cs typeface="Arial" panose="020B0604020202020204" pitchFamily="34" charset="0"/>
              </a:rPr>
              <a:t>Monia eri vaihtoehtoj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hvilaitteita saatavilla paperi- tai painesuodattimella. Tuoremaitolaitteita yhden tai kahden maidon ratkaisuna. Kysy lisää!</a:t>
            </a:r>
            <a:endParaRPr kumimoji="0" lang="fi-FI"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1" name="Kuva 40" descr="Kuva, joka sisältää kohteen kone, sisä-, violetti, kolikkopeli&#10;&#10;Tekoälyllä luotu sisältö voi olla virheellistä.">
            <a:extLst>
              <a:ext uri="{FF2B5EF4-FFF2-40B4-BE49-F238E27FC236}">
                <a16:creationId xmlns:a16="http://schemas.microsoft.com/office/drawing/2014/main" id="{73F90FE2-D4C7-A619-63EA-65DB251F6E3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11548" y="3559847"/>
            <a:ext cx="2031081" cy="1710786"/>
          </a:xfrm>
          <a:prstGeom prst="rect">
            <a:avLst/>
          </a:prstGeom>
        </p:spPr>
      </p:pic>
    </p:spTree>
    <p:extLst>
      <p:ext uri="{BB962C8B-B14F-4D97-AF65-F5344CB8AC3E}">
        <p14:creationId xmlns:p14="http://schemas.microsoft.com/office/powerpoint/2010/main" val="137558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EA93279-2495-A7D5-A5FD-BB44CC87A433}"/>
              </a:ext>
            </a:extLst>
          </p:cNvPr>
          <p:cNvSpPr>
            <a:spLocks noGrp="1"/>
          </p:cNvSpPr>
          <p:nvPr>
            <p:ph type="ctrTitle"/>
          </p:nvPr>
        </p:nvSpPr>
        <p:spPr/>
        <p:txBody>
          <a:bodyPr/>
          <a:lstStyle/>
          <a:p>
            <a:r>
              <a:rPr lang="fi-FI" sz="14300" dirty="0"/>
              <a:t>LAITTEIDEN KUNNOSTUS</a:t>
            </a:r>
          </a:p>
        </p:txBody>
      </p:sp>
      <p:sp>
        <p:nvSpPr>
          <p:cNvPr id="4" name="Dian numeron paikkamerkki 3">
            <a:extLst>
              <a:ext uri="{FF2B5EF4-FFF2-40B4-BE49-F238E27FC236}">
                <a16:creationId xmlns:a16="http://schemas.microsoft.com/office/drawing/2014/main" id="{17BF51A0-318D-E0E6-0BFB-FCCE8DB250BB}"/>
              </a:ext>
            </a:extLst>
          </p:cNvPr>
          <p:cNvSpPr>
            <a:spLocks noGrp="1"/>
          </p:cNvSpPr>
          <p:nvPr>
            <p:ph type="sldNum" sz="quarter" idx="4"/>
          </p:nvPr>
        </p:nvSpPr>
        <p:spPr/>
        <p:txBody>
          <a:bodyPr/>
          <a:lstStyle/>
          <a:p>
            <a:fld id="{015F0CDB-A812-4850-A270-8696C5F0BFD2}" type="slidenum">
              <a:rPr lang="en-GB" smtClean="0"/>
              <a:pPr/>
              <a:t>5</a:t>
            </a:fld>
            <a:endParaRPr lang="en-GB"/>
          </a:p>
        </p:txBody>
      </p:sp>
    </p:spTree>
    <p:extLst>
      <p:ext uri="{BB962C8B-B14F-4D97-AF65-F5344CB8AC3E}">
        <p14:creationId xmlns:p14="http://schemas.microsoft.com/office/powerpoint/2010/main" val="1217737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in paikkamerkki 5">
            <a:extLst>
              <a:ext uri="{FF2B5EF4-FFF2-40B4-BE49-F238E27FC236}">
                <a16:creationId xmlns:a16="http://schemas.microsoft.com/office/drawing/2014/main" id="{977D2046-D849-9562-AD7B-DB9CF5504BFC}"/>
              </a:ext>
            </a:extLst>
          </p:cNvPr>
          <p:cNvSpPr>
            <a:spLocks noGrp="1"/>
          </p:cNvSpPr>
          <p:nvPr>
            <p:ph type="body" sz="quarter" idx="15"/>
          </p:nvPr>
        </p:nvSpPr>
        <p:spPr>
          <a:xfrm>
            <a:off x="4255194" y="2347688"/>
            <a:ext cx="2286553" cy="2879237"/>
          </a:xfrm>
        </p:spPr>
        <p:txBody>
          <a:bodyPr vert="horz" lIns="0" tIns="0" rIns="0" bIns="0" numCol="1" rtlCol="0" anchor="t">
            <a:noAutofit/>
          </a:bodyPr>
          <a:lstStyle/>
          <a:p>
            <a:pPr algn="l"/>
            <a:r>
              <a:rPr lang="fi-FI" sz="1200" dirty="0"/>
              <a:t>Tuotteista aiheutuvat päästöt ovat suurimpia ja suoraan suhteessa kahvin ja muiden tuotteiden kulutukseen.</a:t>
            </a:r>
          </a:p>
          <a:p>
            <a:pPr algn="l"/>
            <a:r>
              <a:rPr lang="fi-FI" sz="1200" dirty="0"/>
              <a:t>Tuotepäästöt sisältävät kaikki tuotteen valmistukseen, kuljetukseen alkuperämaasta </a:t>
            </a:r>
            <a:r>
              <a:rPr lang="fi-FI" sz="1200" dirty="0" err="1"/>
              <a:t>Selectan</a:t>
            </a:r>
            <a:r>
              <a:rPr lang="fi-FI" sz="1200" dirty="0"/>
              <a:t> Suomen varastoon ja aluevarastoihin sekä pakkausmateriaaleihin liittyvät päästöt.</a:t>
            </a:r>
          </a:p>
          <a:p>
            <a:pPr marL="171450" indent="-171450" algn="l">
              <a:buFont typeface="Wingdings" panose="05000000000000000000" pitchFamily="2" charset="2"/>
              <a:buChar char="à"/>
            </a:pPr>
            <a:r>
              <a:rPr lang="fi-FI" dirty="0"/>
              <a:t>Vuotuinen kuppikulutus </a:t>
            </a:r>
            <a:br>
              <a:rPr lang="fi-FI" dirty="0"/>
            </a:br>
            <a:r>
              <a:rPr lang="fi-FI" dirty="0"/>
              <a:t>21 336 kuppia</a:t>
            </a:r>
          </a:p>
          <a:p>
            <a:pPr marL="171450" indent="-171450" algn="l">
              <a:buFont typeface="Wingdings" panose="05000000000000000000" pitchFamily="2" charset="2"/>
              <a:buChar char="à"/>
            </a:pPr>
            <a:r>
              <a:rPr lang="fi-FI" sz="1200" dirty="0"/>
              <a:t>21 336 kertakäyttökuppia</a:t>
            </a:r>
          </a:p>
        </p:txBody>
      </p:sp>
      <p:sp>
        <p:nvSpPr>
          <p:cNvPr id="13" name="Otsikko 12">
            <a:extLst>
              <a:ext uri="{FF2B5EF4-FFF2-40B4-BE49-F238E27FC236}">
                <a16:creationId xmlns:a16="http://schemas.microsoft.com/office/drawing/2014/main" id="{816884E9-23CF-5045-8501-BA84BD67AEE2}"/>
              </a:ext>
            </a:extLst>
          </p:cNvPr>
          <p:cNvSpPr>
            <a:spLocks noGrp="1"/>
          </p:cNvSpPr>
          <p:nvPr>
            <p:ph type="title"/>
          </p:nvPr>
        </p:nvSpPr>
        <p:spPr/>
        <p:txBody>
          <a:bodyPr/>
          <a:lstStyle/>
          <a:p>
            <a:r>
              <a:rPr lang="fi-FI" dirty="0"/>
              <a:t>Palvelun aikainen päästöjakauma*</a:t>
            </a:r>
            <a:br>
              <a:rPr lang="fi-FI" dirty="0"/>
            </a:br>
            <a:r>
              <a:rPr lang="fi-FI" sz="1400" dirty="0"/>
              <a:t>esimerkkilaskelma</a:t>
            </a:r>
            <a:endParaRPr lang="fi-FI" dirty="0"/>
          </a:p>
        </p:txBody>
      </p:sp>
      <p:sp>
        <p:nvSpPr>
          <p:cNvPr id="10" name="Tekstiruutu 9">
            <a:extLst>
              <a:ext uri="{FF2B5EF4-FFF2-40B4-BE49-F238E27FC236}">
                <a16:creationId xmlns:a16="http://schemas.microsoft.com/office/drawing/2014/main" id="{C2E9C97E-96A1-3B69-E0CD-5AFC041DF6C0}"/>
              </a:ext>
            </a:extLst>
          </p:cNvPr>
          <p:cNvSpPr txBox="1"/>
          <p:nvPr/>
        </p:nvSpPr>
        <p:spPr>
          <a:xfrm>
            <a:off x="282894" y="4343035"/>
            <a:ext cx="3323404" cy="1384995"/>
          </a:xfrm>
          <a:prstGeom prst="rect">
            <a:avLst/>
          </a:prstGeom>
          <a:noFill/>
        </p:spPr>
        <p:txBody>
          <a:bodyPr wrap="square" rtlCol="0">
            <a:spAutoFit/>
          </a:bodyPr>
          <a:lstStyle/>
          <a:p>
            <a:pPr marL="285750" indent="-285750">
              <a:buFont typeface="Arial" panose="020B0604020202020204" pitchFamily="34" charset="0"/>
              <a:buChar char="•"/>
            </a:pPr>
            <a:r>
              <a:rPr lang="fi-FI" sz="1400" dirty="0"/>
              <a:t>1 huollettu (kierrätetty) laite</a:t>
            </a:r>
          </a:p>
          <a:p>
            <a:pPr marL="285750" indent="-285750">
              <a:buFont typeface="Arial" panose="020B0604020202020204" pitchFamily="34" charset="0"/>
              <a:buChar char="•"/>
            </a:pPr>
            <a:r>
              <a:rPr lang="fi-FI" sz="1400" dirty="0"/>
              <a:t>Matka asiakkaalle 5 km</a:t>
            </a:r>
          </a:p>
          <a:p>
            <a:pPr marL="285750" indent="-285750">
              <a:buFont typeface="Arial" panose="020B0604020202020204" pitchFamily="34" charset="0"/>
              <a:buChar char="•"/>
            </a:pPr>
            <a:r>
              <a:rPr lang="fi-FI" sz="1400" dirty="0"/>
              <a:t>85 kuppia päivässä</a:t>
            </a:r>
          </a:p>
          <a:p>
            <a:pPr marL="285750" indent="-285750">
              <a:buFont typeface="Arial" panose="020B0604020202020204" pitchFamily="34" charset="0"/>
              <a:buChar char="•"/>
            </a:pPr>
            <a:r>
              <a:rPr lang="fi-FI" sz="1400" dirty="0"/>
              <a:t>Käyttö arkipäivisin 251 päivää</a:t>
            </a:r>
          </a:p>
          <a:p>
            <a:pPr marL="285750" indent="-285750">
              <a:buFont typeface="Arial" panose="020B0604020202020204" pitchFamily="34" charset="0"/>
              <a:buChar char="•"/>
            </a:pPr>
            <a:r>
              <a:rPr lang="fi-FI" sz="1400" dirty="0"/>
              <a:t>Kertakäyttökupit 100 %</a:t>
            </a:r>
          </a:p>
          <a:p>
            <a:pPr marL="285750" indent="-285750">
              <a:buFont typeface="Arial" panose="020B0604020202020204" pitchFamily="34" charset="0"/>
              <a:buChar char="•"/>
            </a:pPr>
            <a:r>
              <a:rPr lang="fi-FI" sz="1400" dirty="0"/>
              <a:t>Laitehoitokäynti 1/vko</a:t>
            </a:r>
            <a:endParaRPr lang="fi-FI" sz="2000" dirty="0"/>
          </a:p>
        </p:txBody>
      </p:sp>
      <p:sp>
        <p:nvSpPr>
          <p:cNvPr id="16" name="Tekstin paikkamerkki 5">
            <a:extLst>
              <a:ext uri="{FF2B5EF4-FFF2-40B4-BE49-F238E27FC236}">
                <a16:creationId xmlns:a16="http://schemas.microsoft.com/office/drawing/2014/main" id="{7A3B0BC0-0825-7E0C-3BFD-8D851849F0D1}"/>
              </a:ext>
            </a:extLst>
          </p:cNvPr>
          <p:cNvSpPr txBox="1">
            <a:spLocks/>
          </p:cNvSpPr>
          <p:nvPr/>
        </p:nvSpPr>
        <p:spPr>
          <a:xfrm>
            <a:off x="6936432" y="2476408"/>
            <a:ext cx="2159292" cy="22866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2400" kern="1200">
                <a:solidFill>
                  <a:schemeClr val="tx2"/>
                </a:solidFill>
                <a:latin typeface="+mn-lt"/>
                <a:ea typeface="+mn-ea"/>
                <a:cs typeface="+mn-cs"/>
              </a:defRPr>
            </a:lvl1pPr>
            <a:lvl2pPr marL="344700" indent="0" algn="l" defTabSz="914400" rtl="0" eaLnBrk="1" latinLnBrk="0" hangingPunct="1">
              <a:lnSpc>
                <a:spcPct val="100000"/>
              </a:lnSpc>
              <a:spcBef>
                <a:spcPts val="1000"/>
              </a:spcBef>
              <a:buFont typeface="Arial" panose="020B0604020202020204" pitchFamily="34"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3pPr>
            <a:lvl4pPr marL="137160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4pPr>
            <a:lvl5pPr marL="182880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sz="1200" dirty="0"/>
              <a:t>Kaikki kuljetukset ja kulkemiset </a:t>
            </a:r>
            <a:r>
              <a:rPr lang="fi-FI" sz="1200" dirty="0" err="1"/>
              <a:t>Selectan</a:t>
            </a:r>
            <a:r>
              <a:rPr lang="fi-FI" sz="1200" dirty="0"/>
              <a:t> toimipisteistä asiakkaille mittausajanjakson aikana.</a:t>
            </a:r>
          </a:p>
          <a:p>
            <a:r>
              <a:rPr lang="fi-FI" sz="1200" dirty="0"/>
              <a:t>Käyntiuseus asiakkaalla suoraan linkissä logistiikan osuuteen kokonaispäästöistä.</a:t>
            </a:r>
          </a:p>
          <a:p>
            <a:endParaRPr lang="fi-FI" sz="1200" dirty="0"/>
          </a:p>
          <a:p>
            <a:endParaRPr lang="fi-FI" sz="1200" dirty="0"/>
          </a:p>
          <a:p>
            <a:pPr marL="171450" indent="-171450">
              <a:buFont typeface="Wingdings" panose="05000000000000000000" pitchFamily="2" charset="2"/>
              <a:buChar char="à"/>
            </a:pPr>
            <a:r>
              <a:rPr lang="fi-FI" sz="1200" dirty="0">
                <a:sym typeface="Wingdings" panose="05000000000000000000" pitchFamily="2" charset="2"/>
              </a:rPr>
              <a:t>Sähköauto</a:t>
            </a:r>
            <a:r>
              <a:rPr lang="fi-FI" sz="1200" dirty="0"/>
              <a:t> </a:t>
            </a:r>
          </a:p>
          <a:p>
            <a:pPr marL="171450" indent="-171450">
              <a:buFont typeface="Wingdings" panose="05000000000000000000" pitchFamily="2" charset="2"/>
              <a:buChar char="à"/>
            </a:pPr>
            <a:r>
              <a:rPr lang="fi-FI" sz="1200" dirty="0"/>
              <a:t>Käyntejä 1 krt/vko</a:t>
            </a:r>
          </a:p>
        </p:txBody>
      </p:sp>
      <p:sp>
        <p:nvSpPr>
          <p:cNvPr id="18" name="Tekstiruutu 17">
            <a:extLst>
              <a:ext uri="{FF2B5EF4-FFF2-40B4-BE49-F238E27FC236}">
                <a16:creationId xmlns:a16="http://schemas.microsoft.com/office/drawing/2014/main" id="{CAE72C19-0846-6A71-1C5E-004C4851DC94}"/>
              </a:ext>
            </a:extLst>
          </p:cNvPr>
          <p:cNvSpPr txBox="1"/>
          <p:nvPr/>
        </p:nvSpPr>
        <p:spPr>
          <a:xfrm>
            <a:off x="9227221" y="2475339"/>
            <a:ext cx="2286553" cy="2492990"/>
          </a:xfrm>
          <a:prstGeom prst="rect">
            <a:avLst/>
          </a:prstGeom>
          <a:noFill/>
        </p:spPr>
        <p:txBody>
          <a:bodyPr wrap="square">
            <a:spAutoFit/>
          </a:bodyPr>
          <a:lstStyle/>
          <a:p>
            <a:r>
              <a:rPr lang="fi-FI" sz="1200" dirty="0"/>
              <a:t>Laitteen elinkaaren aikaiset päästöt. </a:t>
            </a:r>
          </a:p>
          <a:p>
            <a:endParaRPr lang="fi-FI" sz="1200" dirty="0"/>
          </a:p>
          <a:p>
            <a:r>
              <a:rPr lang="fi-FI" sz="1200" dirty="0"/>
              <a:t>Vihreän energian käyttö on suositeltavaa.</a:t>
            </a:r>
          </a:p>
          <a:p>
            <a:endParaRPr lang="fi-FI" sz="1200" dirty="0"/>
          </a:p>
          <a:p>
            <a:endParaRPr lang="fi-FI" sz="1200" dirty="0"/>
          </a:p>
          <a:p>
            <a:endParaRPr lang="fi-FI" sz="1200" dirty="0"/>
          </a:p>
          <a:p>
            <a:endParaRPr lang="fi-FI" sz="1200" dirty="0"/>
          </a:p>
          <a:p>
            <a:endParaRPr lang="fi-FI" sz="1200" dirty="0"/>
          </a:p>
          <a:p>
            <a:endParaRPr lang="fi-FI" sz="1200" dirty="0">
              <a:sym typeface="Wingdings" panose="05000000000000000000" pitchFamily="2" charset="2"/>
            </a:endParaRPr>
          </a:p>
          <a:p>
            <a:endParaRPr lang="fi-FI" sz="1200" dirty="0">
              <a:sym typeface="Wingdings" panose="05000000000000000000" pitchFamily="2" charset="2"/>
            </a:endParaRPr>
          </a:p>
          <a:p>
            <a:r>
              <a:rPr lang="fi-FI" sz="1200" dirty="0">
                <a:sym typeface="Wingdings" panose="05000000000000000000" pitchFamily="2" charset="2"/>
              </a:rPr>
              <a:t> Takuuhuollettu laite</a:t>
            </a:r>
            <a:endParaRPr lang="fi-FI" sz="1200" dirty="0"/>
          </a:p>
        </p:txBody>
      </p:sp>
      <p:sp>
        <p:nvSpPr>
          <p:cNvPr id="19" name="Suorakulmio: Pyöristetyt kulmat 18">
            <a:extLst>
              <a:ext uri="{FF2B5EF4-FFF2-40B4-BE49-F238E27FC236}">
                <a16:creationId xmlns:a16="http://schemas.microsoft.com/office/drawing/2014/main" id="{86DA85AB-57CA-0334-5C90-08577A1318FB}"/>
              </a:ext>
            </a:extLst>
          </p:cNvPr>
          <p:cNvSpPr/>
          <p:nvPr/>
        </p:nvSpPr>
        <p:spPr>
          <a:xfrm>
            <a:off x="4255194" y="1650959"/>
            <a:ext cx="2255086" cy="622408"/>
          </a:xfrm>
          <a:prstGeom prst="roundRect">
            <a:avLst/>
          </a:prstGeom>
          <a:solidFill>
            <a:schemeClr val="accent6"/>
          </a:solidFill>
        </p:spPr>
        <p:style>
          <a:lnRef idx="3">
            <a:schemeClr val="lt1"/>
          </a:lnRef>
          <a:fillRef idx="1">
            <a:schemeClr val="accent4"/>
          </a:fillRef>
          <a:effectRef idx="1">
            <a:schemeClr val="accent4"/>
          </a:effectRef>
          <a:fontRef idx="minor">
            <a:schemeClr val="lt1"/>
          </a:fontRef>
        </p:style>
        <p:txBody>
          <a:bodyPr rtlCol="0" anchor="ctr"/>
          <a:lstStyle/>
          <a:p>
            <a:r>
              <a:rPr lang="fi-FI" sz="1400" b="1" cap="all" dirty="0">
                <a:solidFill>
                  <a:schemeClr val="bg1"/>
                </a:solidFill>
                <a:latin typeface="+mj-lt"/>
                <a:ea typeface="+mj-ea"/>
                <a:cs typeface="+mj-cs"/>
              </a:rPr>
              <a:t>Tuotteet 84 %</a:t>
            </a:r>
          </a:p>
        </p:txBody>
      </p:sp>
      <p:sp>
        <p:nvSpPr>
          <p:cNvPr id="20" name="Suorakulmio: Pyöristetyt kulmat 19">
            <a:extLst>
              <a:ext uri="{FF2B5EF4-FFF2-40B4-BE49-F238E27FC236}">
                <a16:creationId xmlns:a16="http://schemas.microsoft.com/office/drawing/2014/main" id="{B41103EA-B5D7-63E4-4F60-F21C0A61F336}"/>
              </a:ext>
            </a:extLst>
          </p:cNvPr>
          <p:cNvSpPr/>
          <p:nvPr/>
        </p:nvSpPr>
        <p:spPr>
          <a:xfrm>
            <a:off x="6840638" y="1650959"/>
            <a:ext cx="2255086" cy="622408"/>
          </a:xfrm>
          <a:prstGeom prst="roundRect">
            <a:avLst/>
          </a:prstGeom>
          <a:solidFill>
            <a:srgbClr val="92D050"/>
          </a:solidFill>
        </p:spPr>
        <p:style>
          <a:lnRef idx="3">
            <a:schemeClr val="lt1"/>
          </a:lnRef>
          <a:fillRef idx="1">
            <a:schemeClr val="accent6"/>
          </a:fillRef>
          <a:effectRef idx="1">
            <a:schemeClr val="accent6"/>
          </a:effectRef>
          <a:fontRef idx="minor">
            <a:schemeClr val="lt1"/>
          </a:fontRef>
        </p:style>
        <p:txBody>
          <a:bodyPr rtlCol="0" anchor="ctr"/>
          <a:lstStyle/>
          <a:p>
            <a:r>
              <a:rPr lang="fi-FI" sz="1400" b="1" cap="all" dirty="0">
                <a:solidFill>
                  <a:schemeClr val="bg1"/>
                </a:solidFill>
                <a:latin typeface="+mj-lt"/>
                <a:ea typeface="+mj-ea"/>
                <a:cs typeface="+mj-cs"/>
              </a:rPr>
              <a:t>Logistiikka 2 %</a:t>
            </a:r>
          </a:p>
        </p:txBody>
      </p:sp>
      <p:sp>
        <p:nvSpPr>
          <p:cNvPr id="21" name="Suorakulmio: Pyöristetyt kulmat 20">
            <a:extLst>
              <a:ext uri="{FF2B5EF4-FFF2-40B4-BE49-F238E27FC236}">
                <a16:creationId xmlns:a16="http://schemas.microsoft.com/office/drawing/2014/main" id="{0A73C4A0-5F02-4DE4-0FC5-83D052116FB4}"/>
              </a:ext>
            </a:extLst>
          </p:cNvPr>
          <p:cNvSpPr/>
          <p:nvPr/>
        </p:nvSpPr>
        <p:spPr>
          <a:xfrm>
            <a:off x="9227221" y="1650959"/>
            <a:ext cx="2255086" cy="622408"/>
          </a:xfrm>
          <a:prstGeom prst="roundRect">
            <a:avLst/>
          </a:prstGeom>
          <a:solidFill>
            <a:schemeClr val="accent6">
              <a:lumMod val="40000"/>
              <a:lumOff val="60000"/>
            </a:schemeClr>
          </a:solidFill>
        </p:spPr>
        <p:style>
          <a:lnRef idx="3">
            <a:schemeClr val="lt1"/>
          </a:lnRef>
          <a:fillRef idx="1">
            <a:schemeClr val="accent5"/>
          </a:fillRef>
          <a:effectRef idx="1">
            <a:schemeClr val="accent5"/>
          </a:effectRef>
          <a:fontRef idx="minor">
            <a:schemeClr val="lt1"/>
          </a:fontRef>
        </p:style>
        <p:txBody>
          <a:bodyPr rtlCol="0" anchor="ctr"/>
          <a:lstStyle/>
          <a:p>
            <a:r>
              <a:rPr lang="fi-FI" sz="1400" b="1" cap="all" dirty="0">
                <a:solidFill>
                  <a:schemeClr val="bg1"/>
                </a:solidFill>
                <a:latin typeface="+mj-lt"/>
                <a:ea typeface="+mj-ea"/>
                <a:cs typeface="+mj-cs"/>
              </a:rPr>
              <a:t>Laitteet 14 %</a:t>
            </a:r>
          </a:p>
          <a:p>
            <a:r>
              <a:rPr lang="fi-FI" sz="1050" b="1" cap="all" dirty="0">
                <a:solidFill>
                  <a:schemeClr val="bg1"/>
                </a:solidFill>
                <a:latin typeface="+mj-lt"/>
                <a:ea typeface="+mj-ea"/>
                <a:cs typeface="+mj-cs"/>
              </a:rPr>
              <a:t>(takuuhuollettu)</a:t>
            </a:r>
          </a:p>
        </p:txBody>
      </p:sp>
      <p:pic>
        <p:nvPicPr>
          <p:cNvPr id="2050" name="Picture 2">
            <a:extLst>
              <a:ext uri="{FF2B5EF4-FFF2-40B4-BE49-F238E27FC236}">
                <a16:creationId xmlns:a16="http://schemas.microsoft.com/office/drawing/2014/main" id="{321EDDFE-6EAE-73D4-3633-82BDF42488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826" y="1650959"/>
            <a:ext cx="3265536" cy="269207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nergialuokka A - Skanska Kodit">
            <a:extLst>
              <a:ext uri="{FF2B5EF4-FFF2-40B4-BE49-F238E27FC236}">
                <a16:creationId xmlns:a16="http://schemas.microsoft.com/office/drawing/2014/main" id="{B9C4EB27-4D37-F805-EA56-ED54EB74E1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2882" y="5226925"/>
            <a:ext cx="1805213" cy="1010920"/>
          </a:xfrm>
          <a:prstGeom prst="rect">
            <a:avLst/>
          </a:prstGeom>
          <a:noFill/>
          <a:extLst>
            <a:ext uri="{909E8E84-426E-40DD-AFC4-6F175D3DCCD1}">
              <a14:hiddenFill xmlns:a14="http://schemas.microsoft.com/office/drawing/2010/main">
                <a:solidFill>
                  <a:srgbClr val="FFFFFF"/>
                </a:solidFill>
              </a14:hiddenFill>
            </a:ext>
          </a:extLst>
        </p:spPr>
      </p:pic>
      <p:sp>
        <p:nvSpPr>
          <p:cNvPr id="15" name="Tekstiruutu 14">
            <a:extLst>
              <a:ext uri="{FF2B5EF4-FFF2-40B4-BE49-F238E27FC236}">
                <a16:creationId xmlns:a16="http://schemas.microsoft.com/office/drawing/2014/main" id="{BF6D604E-1BC3-4276-8697-4BD916CE58EB}"/>
              </a:ext>
            </a:extLst>
          </p:cNvPr>
          <p:cNvSpPr txBox="1"/>
          <p:nvPr/>
        </p:nvSpPr>
        <p:spPr>
          <a:xfrm>
            <a:off x="429826" y="6596390"/>
            <a:ext cx="2412840" cy="261610"/>
          </a:xfrm>
          <a:prstGeom prst="rect">
            <a:avLst/>
          </a:prstGeom>
          <a:noFill/>
        </p:spPr>
        <p:txBody>
          <a:bodyPr wrap="none" rtlCol="0">
            <a:spAutoFit/>
          </a:bodyPr>
          <a:lstStyle/>
          <a:p>
            <a:r>
              <a:rPr lang="fi-FI" sz="1100" dirty="0"/>
              <a:t>*laskettu </a:t>
            </a:r>
            <a:r>
              <a:rPr lang="fi-FI" sz="1100" dirty="0" err="1"/>
              <a:t>Selectan</a:t>
            </a:r>
            <a:r>
              <a:rPr lang="fi-FI" sz="1100" dirty="0"/>
              <a:t> </a:t>
            </a:r>
            <a:r>
              <a:rPr lang="fi-FI" sz="1100" dirty="0" err="1"/>
              <a:t>Ecojoy</a:t>
            </a:r>
            <a:r>
              <a:rPr lang="fi-FI" sz="1100" dirty="0"/>
              <a:t>-laskurilla.</a:t>
            </a:r>
          </a:p>
        </p:txBody>
      </p:sp>
    </p:spTree>
    <p:extLst>
      <p:ext uri="{BB962C8B-B14F-4D97-AF65-F5344CB8AC3E}">
        <p14:creationId xmlns:p14="http://schemas.microsoft.com/office/powerpoint/2010/main" val="1444268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CCCE14E2-CB7E-92E3-1C09-FC6DB11AD0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5F0CDB-A812-4850-A270-8696C5F0BFD2}" type="slidenum">
              <a:rPr kumimoji="0" lang="en-GB" sz="7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 name="Alatunnisteen paikkamerkki 2">
            <a:extLst>
              <a:ext uri="{FF2B5EF4-FFF2-40B4-BE49-F238E27FC236}">
                <a16:creationId xmlns:a16="http://schemas.microsoft.com/office/drawing/2014/main" id="{5B41A2E2-42C9-DA6D-2787-17B28D9704BF}"/>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Helvetica Neue Light" panose="02000403000000020004" pitchFamily="2" charset="0"/>
                <a:cs typeface="+mn-cs"/>
              </a:rPr>
              <a:t>©Selecta</a:t>
            </a:r>
          </a:p>
        </p:txBody>
      </p:sp>
      <p:sp>
        <p:nvSpPr>
          <p:cNvPr id="5" name="Otsikko 4">
            <a:extLst>
              <a:ext uri="{FF2B5EF4-FFF2-40B4-BE49-F238E27FC236}">
                <a16:creationId xmlns:a16="http://schemas.microsoft.com/office/drawing/2014/main" id="{DA5A49E2-321F-3636-4E63-AE21F5DB16B4}"/>
              </a:ext>
            </a:extLst>
          </p:cNvPr>
          <p:cNvSpPr>
            <a:spLocks noGrp="1"/>
          </p:cNvSpPr>
          <p:nvPr>
            <p:ph type="title"/>
          </p:nvPr>
        </p:nvSpPr>
        <p:spPr>
          <a:xfrm>
            <a:off x="550862" y="789037"/>
            <a:ext cx="10477355" cy="827087"/>
          </a:xfrm>
        </p:spPr>
        <p:txBody>
          <a:bodyPr/>
          <a:lstStyle/>
          <a:p>
            <a:r>
              <a:rPr lang="fi-FI" dirty="0"/>
              <a:t>Jätehierarkia ja materiaalitehokkuus</a:t>
            </a:r>
          </a:p>
        </p:txBody>
      </p:sp>
      <p:sp>
        <p:nvSpPr>
          <p:cNvPr id="19" name="Tekstiruutu 18">
            <a:extLst>
              <a:ext uri="{FF2B5EF4-FFF2-40B4-BE49-F238E27FC236}">
                <a16:creationId xmlns:a16="http://schemas.microsoft.com/office/drawing/2014/main" id="{0D1F056B-A2C1-9D0E-A457-7D5CBC3FFEDE}"/>
              </a:ext>
            </a:extLst>
          </p:cNvPr>
          <p:cNvSpPr txBox="1"/>
          <p:nvPr/>
        </p:nvSpPr>
        <p:spPr>
          <a:xfrm>
            <a:off x="550862" y="1223763"/>
            <a:ext cx="1023055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u="none" strike="noStrike" kern="1200" cap="none" spc="0" normalizeH="0" baseline="0" noProof="0" dirty="0">
                <a:ln>
                  <a:noFill/>
                </a:ln>
                <a:solidFill>
                  <a:srgbClr val="000000"/>
                </a:solidFill>
                <a:effectLst/>
                <a:uLnTx/>
                <a:uFillTx/>
                <a:latin typeface="Arial"/>
                <a:ea typeface="+mn-ea"/>
                <a:cs typeface="+mn-cs"/>
              </a:rPr>
              <a:t>Jätehierarkiaa sovelletaan ensisijaisuusjärjestyksenä jätteen syntymisen ehkäisemistä ja jätehuoltoa koskevassa lainsäädännössä ja politiikassa. Se on Euroopan unionin (EU) jätepolitiikan ja -lainsäädännön kulmakivi, ja siitä säädetään EU:n jätepuitedirektiivissä (direktiivi 2008/98/EY). </a:t>
            </a:r>
            <a:r>
              <a:rPr kumimoji="0" lang="fi-FI" sz="1200" b="1" u="none" strike="noStrike" kern="1200" cap="none" spc="0" normalizeH="0" baseline="0" noProof="0" dirty="0">
                <a:ln>
                  <a:noFill/>
                </a:ln>
                <a:solidFill>
                  <a:srgbClr val="000000"/>
                </a:solidFill>
                <a:effectLst/>
                <a:uLnTx/>
                <a:uFillTx/>
                <a:latin typeface="Arial"/>
                <a:ea typeface="+mn-ea"/>
                <a:cs typeface="+mn-cs"/>
              </a:rPr>
              <a:t>Jätehierarkialla on kaksi tavoitet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1" u="none" strike="noStrike" kern="1200" cap="none" spc="0" normalizeH="0" baseline="0" noProof="0" dirty="0">
                <a:ln>
                  <a:noFill/>
                </a:ln>
                <a:solidFill>
                  <a:srgbClr val="000000"/>
                </a:solidFill>
                <a:effectLst/>
                <a:uLnTx/>
                <a:uFillTx/>
                <a:latin typeface="Arial"/>
                <a:ea typeface="+mn-ea"/>
                <a:cs typeface="+mn-cs"/>
              </a:rPr>
              <a:t>minimoida jätteen syntymisen ja jätehuollon haittavaikutuksia sek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1" u="none" strike="noStrike" kern="1200" cap="none" spc="0" normalizeH="0" baseline="0" noProof="0" dirty="0">
                <a:ln>
                  <a:noFill/>
                </a:ln>
                <a:solidFill>
                  <a:srgbClr val="000000"/>
                </a:solidFill>
                <a:effectLst/>
                <a:uLnTx/>
                <a:uFillTx/>
                <a:latin typeface="Arial"/>
                <a:ea typeface="+mn-ea"/>
                <a:cs typeface="+mn-cs"/>
              </a:rPr>
              <a:t>parantaa luonnonvarojen käytön tehokkuutta.</a:t>
            </a:r>
          </a:p>
        </p:txBody>
      </p:sp>
      <p:sp>
        <p:nvSpPr>
          <p:cNvPr id="21" name="Tekstiruutu 20">
            <a:extLst>
              <a:ext uri="{FF2B5EF4-FFF2-40B4-BE49-F238E27FC236}">
                <a16:creationId xmlns:a16="http://schemas.microsoft.com/office/drawing/2014/main" id="{086EED79-9C79-C9EA-069B-1396C18F4E45}"/>
              </a:ext>
            </a:extLst>
          </p:cNvPr>
          <p:cNvSpPr txBox="1"/>
          <p:nvPr/>
        </p:nvSpPr>
        <p:spPr>
          <a:xfrm>
            <a:off x="1630476" y="6357517"/>
            <a:ext cx="463863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srgbClr val="000000"/>
                </a:solidFill>
                <a:effectLst/>
                <a:uLnTx/>
                <a:uFillTx/>
                <a:latin typeface="Arial"/>
                <a:ea typeface="+mn-ea"/>
                <a:cs typeface="+mn-cs"/>
                <a:hlinkClick r:id="rId2"/>
              </a:rPr>
              <a:t>https://eur-lex.europa.eu/FI/legal-content/glossary/waste-hierarchy.html</a:t>
            </a:r>
            <a:r>
              <a:rPr kumimoji="0" lang="fi-FI" sz="1100" b="0" i="0" u="none" strike="noStrike" kern="1200" cap="none" spc="0" normalizeH="0" baseline="0" noProof="0">
                <a:ln>
                  <a:noFill/>
                </a:ln>
                <a:solidFill>
                  <a:srgbClr val="000000"/>
                </a:solidFill>
                <a:effectLst/>
                <a:uLnTx/>
                <a:uFillTx/>
                <a:latin typeface="Arial"/>
                <a:ea typeface="+mn-ea"/>
                <a:cs typeface="+mn-cs"/>
              </a:rPr>
              <a:t> </a:t>
            </a:r>
          </a:p>
        </p:txBody>
      </p:sp>
      <p:graphicFrame>
        <p:nvGraphicFramePr>
          <p:cNvPr id="4" name="Taulukko 3">
            <a:extLst>
              <a:ext uri="{FF2B5EF4-FFF2-40B4-BE49-F238E27FC236}">
                <a16:creationId xmlns:a16="http://schemas.microsoft.com/office/drawing/2014/main" id="{F93F5FB2-835F-3867-27AB-E39D17BCA911}"/>
              </a:ext>
            </a:extLst>
          </p:cNvPr>
          <p:cNvGraphicFramePr>
            <a:graphicFrameLocks noGrp="1"/>
          </p:cNvGraphicFramePr>
          <p:nvPr>
            <p:extLst>
              <p:ext uri="{D42A27DB-BD31-4B8C-83A1-F6EECF244321}">
                <p14:modId xmlns:p14="http://schemas.microsoft.com/office/powerpoint/2010/main" val="4125234129"/>
              </p:ext>
            </p:extLst>
          </p:nvPr>
        </p:nvGraphicFramePr>
        <p:xfrm>
          <a:off x="5865781" y="2268930"/>
          <a:ext cx="6096000" cy="4206240"/>
        </p:xfrm>
        <a:graphic>
          <a:graphicData uri="http://schemas.openxmlformats.org/drawingml/2006/table">
            <a:tbl>
              <a:tblPr/>
              <a:tblGrid>
                <a:gridCol w="6096000">
                  <a:extLst>
                    <a:ext uri="{9D8B030D-6E8A-4147-A177-3AD203B41FA5}">
                      <a16:colId xmlns:a16="http://schemas.microsoft.com/office/drawing/2014/main" val="4271219646"/>
                    </a:ext>
                  </a:extLst>
                </a:gridCol>
              </a:tblGrid>
              <a:tr h="0">
                <a:tc>
                  <a:txBody>
                    <a:bodyPr/>
                    <a:lstStyle/>
                    <a:p>
                      <a:pPr fontAlgn="t">
                        <a:lnSpc>
                          <a:spcPct val="100000"/>
                        </a:lnSpc>
                        <a:buNone/>
                      </a:pPr>
                      <a:r>
                        <a:rPr lang="fi-FI" sz="1200" b="1" i="0" dirty="0">
                          <a:solidFill>
                            <a:schemeClr val="tx1"/>
                          </a:solidFill>
                          <a:effectLst/>
                          <a:latin typeface="+mn-lt"/>
                        </a:rPr>
                        <a:t>1. Jätteen määrän ja haitallisuuden vähentäminen</a:t>
                      </a:r>
                    </a:p>
                    <a:p>
                      <a:pPr fontAlgn="t">
                        <a:lnSpc>
                          <a:spcPct val="100000"/>
                        </a:lnSpc>
                        <a:buNone/>
                      </a:pPr>
                      <a:r>
                        <a:rPr lang="fi-FI" sz="1200" b="0" i="0" dirty="0">
                          <a:solidFill>
                            <a:schemeClr val="tx1"/>
                          </a:solidFill>
                          <a:effectLst/>
                          <a:latin typeface="+mn-lt"/>
                        </a:rPr>
                        <a:t>Laite pidetään käytössä mahdollisimman pitkään esimerkiksi huollolla.</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Ammattitaitoiset laitehoitajat hoitavat laitteita säännöllisillä asiakaskäynneillä (pesu, puhdistus, täytöt, asiakkaiden opastus)</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Sopimusmalleissa, joissa asiakas hoitaa päivittäiset toimet, ohjeistus ja tuki laadukkaaseen kahvilaitteen hoitoon</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Tekninen huoltopalvelu joka arkipäivä klo 8-16</a:t>
                      </a:r>
                    </a:p>
                    <a:p>
                      <a:pPr marL="0" indent="0" fontAlgn="t">
                        <a:lnSpc>
                          <a:spcPct val="100000"/>
                        </a:lnSpc>
                        <a:buFont typeface="Arial" panose="020B0604020202020204" pitchFamily="34" charset="0"/>
                        <a:buNone/>
                      </a:pPr>
                      <a:endParaRPr lang="fi-FI" sz="1200" b="0" i="0" dirty="0">
                        <a:solidFill>
                          <a:schemeClr val="tx1"/>
                        </a:solidFill>
                        <a:effectLst/>
                        <a:latin typeface="+mn-lt"/>
                      </a:endParaRPr>
                    </a:p>
                    <a:p>
                      <a:pPr fontAlgn="t">
                        <a:lnSpc>
                          <a:spcPct val="100000"/>
                        </a:lnSpc>
                        <a:buNone/>
                      </a:pPr>
                      <a:r>
                        <a:rPr lang="fi-FI" sz="1200" b="0" i="0" dirty="0">
                          <a:solidFill>
                            <a:schemeClr val="tx1"/>
                          </a:solidFill>
                          <a:effectLst/>
                          <a:latin typeface="+mn-lt"/>
                        </a:rPr>
                        <a:t>2. </a:t>
                      </a:r>
                      <a:r>
                        <a:rPr lang="fi-FI" sz="1200" b="1" i="0" dirty="0">
                          <a:solidFill>
                            <a:schemeClr val="tx1"/>
                          </a:solidFill>
                          <a:effectLst/>
                          <a:latin typeface="+mn-lt"/>
                        </a:rPr>
                        <a:t>Uudelleenkäyttö</a:t>
                      </a:r>
                    </a:p>
                    <a:p>
                      <a:pPr fontAlgn="t">
                        <a:lnSpc>
                          <a:spcPct val="100000"/>
                        </a:lnSpc>
                        <a:buNone/>
                      </a:pPr>
                      <a:r>
                        <a:rPr lang="fi-FI" sz="1200" b="0" i="0" dirty="0">
                          <a:solidFill>
                            <a:schemeClr val="tx1"/>
                          </a:solidFill>
                          <a:effectLst/>
                          <a:latin typeface="+mn-lt"/>
                        </a:rPr>
                        <a:t>Laite myydään tai otetaan takaisin käyttöön </a:t>
                      </a:r>
                      <a:r>
                        <a:rPr lang="fi-FI" sz="1200" b="0" i="1" dirty="0">
                          <a:solidFill>
                            <a:schemeClr val="tx1"/>
                          </a:solidFill>
                          <a:effectLst/>
                          <a:latin typeface="+mn-lt"/>
                        </a:rPr>
                        <a:t>sellaisenaan</a:t>
                      </a:r>
                      <a:r>
                        <a:rPr lang="fi-FI" sz="1200" b="0" i="0" dirty="0">
                          <a:solidFill>
                            <a:schemeClr val="tx1"/>
                          </a:solidFill>
                          <a:effectLst/>
                          <a:latin typeface="+mn-lt"/>
                        </a:rPr>
                        <a:t> tai huollettuna.</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Laitteiden takuuhuollot</a:t>
                      </a:r>
                    </a:p>
                    <a:p>
                      <a:pPr fontAlgn="t">
                        <a:lnSpc>
                          <a:spcPct val="100000"/>
                        </a:lnSpc>
                        <a:buNone/>
                      </a:pPr>
                      <a:endParaRPr lang="fi-FI" sz="1200" b="0" i="0" dirty="0">
                        <a:solidFill>
                          <a:schemeClr val="tx1"/>
                        </a:solidFill>
                        <a:effectLst/>
                        <a:latin typeface="+mn-lt"/>
                      </a:endParaRPr>
                    </a:p>
                    <a:p>
                      <a:pPr fontAlgn="t">
                        <a:lnSpc>
                          <a:spcPct val="100000"/>
                        </a:lnSpc>
                        <a:buNone/>
                      </a:pPr>
                      <a:r>
                        <a:rPr lang="fi-FI" sz="1200" b="0" i="0" dirty="0">
                          <a:solidFill>
                            <a:schemeClr val="tx1"/>
                          </a:solidFill>
                          <a:effectLst/>
                          <a:latin typeface="+mn-lt"/>
                        </a:rPr>
                        <a:t>3. </a:t>
                      </a:r>
                      <a:r>
                        <a:rPr lang="fi-FI" sz="1200" b="1" i="0" dirty="0">
                          <a:solidFill>
                            <a:schemeClr val="tx1"/>
                          </a:solidFill>
                          <a:effectLst/>
                          <a:latin typeface="+mn-lt"/>
                        </a:rPr>
                        <a:t>Kierrätys</a:t>
                      </a:r>
                    </a:p>
                    <a:p>
                      <a:pPr fontAlgn="t">
                        <a:lnSpc>
                          <a:spcPct val="100000"/>
                        </a:lnSpc>
                        <a:buNone/>
                      </a:pPr>
                      <a:r>
                        <a:rPr lang="fi-FI" sz="1200" b="0" i="0" dirty="0">
                          <a:solidFill>
                            <a:schemeClr val="tx1"/>
                          </a:solidFill>
                          <a:effectLst/>
                          <a:latin typeface="+mn-lt"/>
                        </a:rPr>
                        <a:t>Osia voidaan kierrättää materiaaliksi (jos korjaus ei kannata).</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Uusien kahvilaitteiden osat yhä useammin tehty ainakin osin kierrätetystä materiaalista</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Jos laitetta ei voi takuuhuoltaa käyttöön, siitä otetaan käyttökelpoiset varaosat talteen, jotka käytetään uudestaan.</a:t>
                      </a:r>
                    </a:p>
                    <a:p>
                      <a:pPr marL="0" indent="0" fontAlgn="t">
                        <a:lnSpc>
                          <a:spcPct val="100000"/>
                        </a:lnSpc>
                        <a:buFont typeface="Arial" panose="020B0604020202020204" pitchFamily="34" charset="0"/>
                        <a:buNone/>
                      </a:pPr>
                      <a:br>
                        <a:rPr lang="fi-FI" sz="1200" b="1" i="0" dirty="0">
                          <a:solidFill>
                            <a:schemeClr val="tx1"/>
                          </a:solidFill>
                          <a:effectLst/>
                          <a:latin typeface="+mn-lt"/>
                        </a:rPr>
                      </a:br>
                      <a:r>
                        <a:rPr lang="fi-FI" sz="1200" b="1" i="0" dirty="0">
                          <a:solidFill>
                            <a:schemeClr val="tx1"/>
                          </a:solidFill>
                          <a:effectLst/>
                          <a:latin typeface="+mn-lt"/>
                        </a:rPr>
                        <a:t>3-5. </a:t>
                      </a:r>
                      <a:r>
                        <a:rPr lang="fi-FI" sz="1200" b="1" i="0" dirty="0" err="1">
                          <a:solidFill>
                            <a:schemeClr val="tx1"/>
                          </a:solidFill>
                          <a:effectLst/>
                          <a:latin typeface="+mn-lt"/>
                        </a:rPr>
                        <a:t>End</a:t>
                      </a:r>
                      <a:r>
                        <a:rPr lang="fi-FI" sz="1200" b="1" i="0" dirty="0">
                          <a:solidFill>
                            <a:schemeClr val="tx1"/>
                          </a:solidFill>
                          <a:effectLst/>
                          <a:latin typeface="+mn-lt"/>
                        </a:rPr>
                        <a:t> of life</a:t>
                      </a:r>
                    </a:p>
                    <a:p>
                      <a:pPr marL="171450" indent="-171450" fontAlgn="t">
                        <a:lnSpc>
                          <a:spcPct val="100000"/>
                        </a:lnSpc>
                        <a:buFont typeface="Arial" panose="020B0604020202020204" pitchFamily="34" charset="0"/>
                        <a:buChar char="•"/>
                      </a:pPr>
                      <a:r>
                        <a:rPr lang="fi-FI" sz="1200" b="0" i="0" dirty="0">
                          <a:solidFill>
                            <a:schemeClr val="tx1"/>
                          </a:solidFill>
                          <a:effectLst/>
                          <a:latin typeface="+mn-lt"/>
                        </a:rPr>
                        <a:t>Kierrätys/hävittäminen asianmukaisesti (metalli/muovi/elektroniikkaromu SER)</a:t>
                      </a:r>
                    </a:p>
                  </a:txBody>
                  <a:tcPr>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700281095"/>
                  </a:ext>
                </a:extLst>
              </a:tr>
              <a:tr h="0">
                <a:tc>
                  <a:txBody>
                    <a:bodyPr/>
                    <a:lstStyle/>
                    <a:p>
                      <a:pPr fontAlgn="t">
                        <a:lnSpc>
                          <a:spcPct val="100000"/>
                        </a:lnSpc>
                        <a:buNone/>
                      </a:pPr>
                      <a:endParaRPr lang="fi-FI" sz="1200" b="0" i="0" dirty="0">
                        <a:solidFill>
                          <a:schemeClr val="tx1"/>
                        </a:solidFill>
                        <a:effectLst/>
                        <a:latin typeface="+mn-lt"/>
                      </a:endParaRPr>
                    </a:p>
                  </a:txBody>
                  <a:tcPr>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269554474"/>
                  </a:ext>
                </a:extLst>
              </a:tr>
            </a:tbl>
          </a:graphicData>
        </a:graphic>
      </p:graphicFrame>
      <p:grpSp>
        <p:nvGrpSpPr>
          <p:cNvPr id="22" name="Ryhmä 21">
            <a:extLst>
              <a:ext uri="{FF2B5EF4-FFF2-40B4-BE49-F238E27FC236}">
                <a16:creationId xmlns:a16="http://schemas.microsoft.com/office/drawing/2014/main" id="{1762D492-C884-D773-EE36-4AB590A883B8}"/>
              </a:ext>
            </a:extLst>
          </p:cNvPr>
          <p:cNvGrpSpPr/>
          <p:nvPr/>
        </p:nvGrpSpPr>
        <p:grpSpPr>
          <a:xfrm>
            <a:off x="0" y="2531269"/>
            <a:ext cx="6096000" cy="3792140"/>
            <a:chOff x="0" y="2531269"/>
            <a:chExt cx="6096000" cy="3792140"/>
          </a:xfrm>
        </p:grpSpPr>
        <p:pic>
          <p:nvPicPr>
            <p:cNvPr id="3074" name="Picture 2" descr="Jätehuolto osana arjen kiertotaloutta - Lakeuden Etappi">
              <a:extLst>
                <a:ext uri="{FF2B5EF4-FFF2-40B4-BE49-F238E27FC236}">
                  <a16:creationId xmlns:a16="http://schemas.microsoft.com/office/drawing/2014/main" id="{DDF8AABA-272E-7A57-E30A-F1A2CD324F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531269"/>
              <a:ext cx="6096000" cy="3792140"/>
            </a:xfrm>
            <a:prstGeom prst="rect">
              <a:avLst/>
            </a:prstGeom>
            <a:noFill/>
            <a:extLst>
              <a:ext uri="{909E8E84-426E-40DD-AFC4-6F175D3DCCD1}">
                <a14:hiddenFill xmlns:a14="http://schemas.microsoft.com/office/drawing/2010/main">
                  <a:solidFill>
                    <a:srgbClr val="FFFFFF"/>
                  </a:solidFill>
                </a14:hiddenFill>
              </a:ext>
            </a:extLst>
          </p:spPr>
        </p:pic>
        <p:sp>
          <p:nvSpPr>
            <p:cNvPr id="7" name="Suorakulmio 6">
              <a:extLst>
                <a:ext uri="{FF2B5EF4-FFF2-40B4-BE49-F238E27FC236}">
                  <a16:creationId xmlns:a16="http://schemas.microsoft.com/office/drawing/2014/main" id="{DF63B148-5C5A-D8B7-21F5-72F1DBCC0166}"/>
                </a:ext>
              </a:extLst>
            </p:cNvPr>
            <p:cNvSpPr/>
            <p:nvPr/>
          </p:nvSpPr>
          <p:spPr>
            <a:xfrm>
              <a:off x="1047344" y="3896931"/>
              <a:ext cx="4367719" cy="2316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Suorakulmio 9">
              <a:extLst>
                <a:ext uri="{FF2B5EF4-FFF2-40B4-BE49-F238E27FC236}">
                  <a16:creationId xmlns:a16="http://schemas.microsoft.com/office/drawing/2014/main" id="{EEE1FDC7-F7CE-2B30-2E19-DC0EB8CCC3E3}"/>
                </a:ext>
              </a:extLst>
            </p:cNvPr>
            <p:cNvSpPr/>
            <p:nvPr/>
          </p:nvSpPr>
          <p:spPr>
            <a:xfrm>
              <a:off x="904671" y="3248108"/>
              <a:ext cx="4367719" cy="2316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Suorakulmio 10">
              <a:extLst>
                <a:ext uri="{FF2B5EF4-FFF2-40B4-BE49-F238E27FC236}">
                  <a16:creationId xmlns:a16="http://schemas.microsoft.com/office/drawing/2014/main" id="{3D9572AC-065B-8EBD-49C3-7EB656A1EFEF}"/>
                </a:ext>
              </a:extLst>
            </p:cNvPr>
            <p:cNvSpPr/>
            <p:nvPr/>
          </p:nvSpPr>
          <p:spPr>
            <a:xfrm>
              <a:off x="904671" y="4505206"/>
              <a:ext cx="4367719" cy="2316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Suorakulmio 11">
              <a:extLst>
                <a:ext uri="{FF2B5EF4-FFF2-40B4-BE49-F238E27FC236}">
                  <a16:creationId xmlns:a16="http://schemas.microsoft.com/office/drawing/2014/main" id="{FA74B694-269B-4081-5B6F-23A0D42A1945}"/>
                </a:ext>
              </a:extLst>
            </p:cNvPr>
            <p:cNvSpPr/>
            <p:nvPr/>
          </p:nvSpPr>
          <p:spPr>
            <a:xfrm>
              <a:off x="864140" y="5108241"/>
              <a:ext cx="4367719" cy="2316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Ellipsi 12">
              <a:extLst>
                <a:ext uri="{FF2B5EF4-FFF2-40B4-BE49-F238E27FC236}">
                  <a16:creationId xmlns:a16="http://schemas.microsoft.com/office/drawing/2014/main" id="{2B2D1C94-3BA2-97CC-0898-B1C21048CE15}"/>
                </a:ext>
              </a:extLst>
            </p:cNvPr>
            <p:cNvSpPr/>
            <p:nvPr/>
          </p:nvSpPr>
          <p:spPr>
            <a:xfrm>
              <a:off x="681737" y="2674152"/>
              <a:ext cx="565832" cy="58418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dirty="0">
                  <a:solidFill>
                    <a:schemeClr val="tx1"/>
                  </a:solidFill>
                </a:rPr>
                <a:t>1.</a:t>
              </a:r>
            </a:p>
          </p:txBody>
        </p:sp>
        <p:sp>
          <p:nvSpPr>
            <p:cNvPr id="14" name="Ellipsi 13">
              <a:extLst>
                <a:ext uri="{FF2B5EF4-FFF2-40B4-BE49-F238E27FC236}">
                  <a16:creationId xmlns:a16="http://schemas.microsoft.com/office/drawing/2014/main" id="{EDF6500C-5E7E-497A-C31A-4496C85C545E}"/>
                </a:ext>
              </a:extLst>
            </p:cNvPr>
            <p:cNvSpPr/>
            <p:nvPr/>
          </p:nvSpPr>
          <p:spPr>
            <a:xfrm>
              <a:off x="1156249" y="3363950"/>
              <a:ext cx="565832" cy="58418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dirty="0">
                  <a:solidFill>
                    <a:schemeClr val="tx1"/>
                  </a:solidFill>
                </a:rPr>
                <a:t>2.</a:t>
              </a:r>
            </a:p>
          </p:txBody>
        </p:sp>
        <p:sp>
          <p:nvSpPr>
            <p:cNvPr id="15" name="Ellipsi 14">
              <a:extLst>
                <a:ext uri="{FF2B5EF4-FFF2-40B4-BE49-F238E27FC236}">
                  <a16:creationId xmlns:a16="http://schemas.microsoft.com/office/drawing/2014/main" id="{1953BE08-0633-49BD-1024-0D476B93A404}"/>
                </a:ext>
              </a:extLst>
            </p:cNvPr>
            <p:cNvSpPr/>
            <p:nvPr/>
          </p:nvSpPr>
          <p:spPr>
            <a:xfrm>
              <a:off x="1630476" y="3969175"/>
              <a:ext cx="565832" cy="58418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dirty="0">
                  <a:solidFill>
                    <a:schemeClr val="tx1"/>
                  </a:solidFill>
                </a:rPr>
                <a:t>3.</a:t>
              </a:r>
            </a:p>
          </p:txBody>
        </p:sp>
        <p:sp>
          <p:nvSpPr>
            <p:cNvPr id="16" name="Ellipsi 15">
              <a:extLst>
                <a:ext uri="{FF2B5EF4-FFF2-40B4-BE49-F238E27FC236}">
                  <a16:creationId xmlns:a16="http://schemas.microsoft.com/office/drawing/2014/main" id="{5FF410C3-B912-00CC-8373-ABC042DDB877}"/>
                </a:ext>
              </a:extLst>
            </p:cNvPr>
            <p:cNvSpPr/>
            <p:nvPr/>
          </p:nvSpPr>
          <p:spPr>
            <a:xfrm>
              <a:off x="1938817" y="4611247"/>
              <a:ext cx="565832" cy="58418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dirty="0">
                  <a:solidFill>
                    <a:schemeClr val="tx1"/>
                  </a:solidFill>
                </a:rPr>
                <a:t>4.</a:t>
              </a:r>
            </a:p>
          </p:txBody>
        </p:sp>
        <p:sp>
          <p:nvSpPr>
            <p:cNvPr id="18" name="Ellipsi 17">
              <a:extLst>
                <a:ext uri="{FF2B5EF4-FFF2-40B4-BE49-F238E27FC236}">
                  <a16:creationId xmlns:a16="http://schemas.microsoft.com/office/drawing/2014/main" id="{2A02E44D-5053-74A4-8116-C51E4B4950B0}"/>
                </a:ext>
              </a:extLst>
            </p:cNvPr>
            <p:cNvSpPr/>
            <p:nvPr/>
          </p:nvSpPr>
          <p:spPr>
            <a:xfrm>
              <a:off x="2221733" y="5189748"/>
              <a:ext cx="565832" cy="584186"/>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dirty="0">
                  <a:solidFill>
                    <a:schemeClr val="tx1"/>
                  </a:solidFill>
                </a:rPr>
                <a:t>5.</a:t>
              </a:r>
            </a:p>
          </p:txBody>
        </p:sp>
        <p:sp>
          <p:nvSpPr>
            <p:cNvPr id="20" name="Suorakulmio 19">
              <a:extLst>
                <a:ext uri="{FF2B5EF4-FFF2-40B4-BE49-F238E27FC236}">
                  <a16:creationId xmlns:a16="http://schemas.microsoft.com/office/drawing/2014/main" id="{6C89574C-CEAB-1A9C-0D5E-A54EDAD343C0}"/>
                </a:ext>
              </a:extLst>
            </p:cNvPr>
            <p:cNvSpPr/>
            <p:nvPr/>
          </p:nvSpPr>
          <p:spPr>
            <a:xfrm>
              <a:off x="2879387" y="5339925"/>
              <a:ext cx="398834" cy="291843"/>
            </a:xfrm>
            <a:prstGeom prst="rect">
              <a:avLst/>
            </a:prstGeom>
            <a:solidFill>
              <a:srgbClr val="E7302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Tree>
    <p:extLst>
      <p:ext uri="{BB962C8B-B14F-4D97-AF65-F5344CB8AC3E}">
        <p14:creationId xmlns:p14="http://schemas.microsoft.com/office/powerpoint/2010/main" val="866567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a:extLst>
              <a:ext uri="{FF2B5EF4-FFF2-40B4-BE49-F238E27FC236}">
                <a16:creationId xmlns:a16="http://schemas.microsoft.com/office/drawing/2014/main" id="{D9FD433A-ECC1-625B-9397-D0C0180110DD}"/>
              </a:ext>
            </a:extLst>
          </p:cNvPr>
          <p:cNvGraphicFramePr/>
          <p:nvPr/>
        </p:nvGraphicFramePr>
        <p:xfrm>
          <a:off x="181468" y="1266339"/>
          <a:ext cx="1073239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 name="TextBox 25">
            <a:extLst>
              <a:ext uri="{FF2B5EF4-FFF2-40B4-BE49-F238E27FC236}">
                <a16:creationId xmlns:a16="http://schemas.microsoft.com/office/drawing/2014/main" id="{A4834556-7D39-E57F-B595-E18B2B3BA82B}"/>
              </a:ext>
            </a:extLst>
          </p:cNvPr>
          <p:cNvSpPr txBox="1"/>
          <p:nvPr/>
        </p:nvSpPr>
        <p:spPr>
          <a:xfrm>
            <a:off x="2951610" y="5354617"/>
            <a:ext cx="6613684" cy="954107"/>
          </a:xfrm>
          <a:prstGeom prst="rect">
            <a:avLst/>
          </a:prstGeom>
          <a:noFill/>
        </p:spPr>
        <p:txBody>
          <a:bodyPr wrap="square">
            <a:spAutoFit/>
          </a:bodyPr>
          <a:lstStyle/>
          <a:p>
            <a:pPr marL="342900" indent="-342900">
              <a:buFont typeface="+mj-lt"/>
              <a:buAutoNum type="arabicPeriod"/>
            </a:pPr>
            <a:r>
              <a:rPr lang="fi-FI" sz="1400" dirty="0"/>
              <a:t>Hyödynnämme osat varaosina huoltojen ja kunnostusten yhteydessä</a:t>
            </a:r>
          </a:p>
          <a:p>
            <a:pPr marL="342900" indent="-342900">
              <a:buFont typeface="+mj-lt"/>
              <a:buAutoNum type="arabicPeriod"/>
            </a:pPr>
            <a:endParaRPr lang="fi-FI" sz="1400" dirty="0"/>
          </a:p>
          <a:p>
            <a:pPr marL="342900" indent="-342900">
              <a:buFont typeface="+mj-lt"/>
              <a:buAutoNum type="arabicPeriod"/>
            </a:pPr>
            <a:r>
              <a:rPr lang="fi-FI" sz="1400" dirty="0">
                <a:ea typeface="Verdana" panose="020B0604030504040204" pitchFamily="34" charset="0"/>
              </a:rPr>
              <a:t>Osat ja laitteet joita emme pysty hyödyntämään, kierrätetään asianmukaisesti (elektroniikkaromu, romumetalli, muovi)</a:t>
            </a:r>
          </a:p>
        </p:txBody>
      </p:sp>
      <p:sp>
        <p:nvSpPr>
          <p:cNvPr id="2" name="Otsikko 1">
            <a:extLst>
              <a:ext uri="{FF2B5EF4-FFF2-40B4-BE49-F238E27FC236}">
                <a16:creationId xmlns:a16="http://schemas.microsoft.com/office/drawing/2014/main" id="{C5D39D0D-258D-0C70-46C7-9C82B274B0FC}"/>
              </a:ext>
            </a:extLst>
          </p:cNvPr>
          <p:cNvSpPr>
            <a:spLocks noGrp="1"/>
          </p:cNvSpPr>
          <p:nvPr>
            <p:ph type="title"/>
          </p:nvPr>
        </p:nvSpPr>
        <p:spPr/>
        <p:txBody>
          <a:bodyPr/>
          <a:lstStyle/>
          <a:p>
            <a:r>
              <a:rPr lang="fi-FI" dirty="0">
                <a:latin typeface="Verdana" panose="020B0604030504040204" pitchFamily="34" charset="0"/>
                <a:ea typeface="Verdana" panose="020B0604030504040204" pitchFamily="34" charset="0"/>
              </a:rPr>
              <a:t>Kahvilaitteen takuuhuolto – tavoitteena kaksi elämää</a:t>
            </a:r>
          </a:p>
        </p:txBody>
      </p:sp>
      <p:pic>
        <p:nvPicPr>
          <p:cNvPr id="18" name="Graphic 17" descr="Tools with solid fill">
            <a:extLst>
              <a:ext uri="{FF2B5EF4-FFF2-40B4-BE49-F238E27FC236}">
                <a16:creationId xmlns:a16="http://schemas.microsoft.com/office/drawing/2014/main" id="{B53A7335-53C4-11F8-4DCB-D664734311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93068" y="5122467"/>
            <a:ext cx="618297" cy="618297"/>
          </a:xfrm>
          <a:prstGeom prst="rect">
            <a:avLst/>
          </a:prstGeom>
        </p:spPr>
      </p:pic>
      <p:sp>
        <p:nvSpPr>
          <p:cNvPr id="11" name="TextBox 10">
            <a:extLst>
              <a:ext uri="{FF2B5EF4-FFF2-40B4-BE49-F238E27FC236}">
                <a16:creationId xmlns:a16="http://schemas.microsoft.com/office/drawing/2014/main" id="{8BAD5A3A-174A-C03E-83B9-773CFA220FF3}"/>
              </a:ext>
            </a:extLst>
          </p:cNvPr>
          <p:cNvSpPr txBox="1"/>
          <p:nvPr/>
        </p:nvSpPr>
        <p:spPr>
          <a:xfrm>
            <a:off x="449397" y="1276726"/>
            <a:ext cx="10464468" cy="1661993"/>
          </a:xfrm>
          <a:prstGeom prst="rect">
            <a:avLst/>
          </a:prstGeom>
          <a:noFill/>
        </p:spPr>
        <p:txBody>
          <a:bodyPr wrap="square" rtlCol="0">
            <a:spAutoFit/>
          </a:bodyPr>
          <a:lstStyle/>
          <a:p>
            <a:r>
              <a:rPr lang="fi-FI" sz="1400" dirty="0"/>
              <a:t>Kahviautomaatin elinkaari on keskimäärin 6+4 vuotta. Ensimmäisen n. 5-6 vuoden jälkeen (riippuen myös kuppikulutuksesta) tehdään tehdaskunnostus, jonka jälkeen laite jatkaa elämäänsä. Joskus automaattia ei voi kunnostaa. Silloin sen osat käytetään varaosina. Myymme pääasiallisesti yhtä kahvilaitemerkkiä, joissa eri mallien varaosia voidaan käyttää ristiin. Tämä lisää kierrätettävyyttä ja varaosien hyödyntämistä ja vähentää CO2-päästöjä. Viime vuosina noin 50 % myydyistä kahviautomaateistamme on ollut kunnostettuja. </a:t>
            </a:r>
          </a:p>
          <a:p>
            <a:endParaRPr lang="fi-FI" sz="1600" dirty="0">
              <a:solidFill>
                <a:srgbClr val="FF0000"/>
              </a:solidFill>
            </a:endParaRPr>
          </a:p>
          <a:p>
            <a:r>
              <a:rPr lang="fi-FI" sz="1600" b="1" dirty="0" err="1">
                <a:solidFill>
                  <a:srgbClr val="FF0000"/>
                </a:solidFill>
              </a:rPr>
              <a:t>Takuuhuollamme</a:t>
            </a:r>
            <a:r>
              <a:rPr lang="fi-FI" sz="1600" b="1" dirty="0">
                <a:solidFill>
                  <a:srgbClr val="FF0000"/>
                </a:solidFill>
              </a:rPr>
              <a:t> kunnostettavat laitteet laitevalmistajien ohjeiden mukaisesti:</a:t>
            </a:r>
          </a:p>
        </p:txBody>
      </p:sp>
      <p:cxnSp>
        <p:nvCxnSpPr>
          <p:cNvPr id="21" name="Straight Arrow Connector 20">
            <a:extLst>
              <a:ext uri="{FF2B5EF4-FFF2-40B4-BE49-F238E27FC236}">
                <a16:creationId xmlns:a16="http://schemas.microsoft.com/office/drawing/2014/main" id="{61820808-59CA-DBF5-F9A7-528AA6BC19DA}"/>
              </a:ext>
            </a:extLst>
          </p:cNvPr>
          <p:cNvCxnSpPr/>
          <p:nvPr/>
        </p:nvCxnSpPr>
        <p:spPr>
          <a:xfrm>
            <a:off x="1230581" y="4777091"/>
            <a:ext cx="0" cy="727566"/>
          </a:xfrm>
          <a:prstGeom prst="straightConnector1">
            <a:avLst/>
          </a:prstGeom>
          <a:ln w="28575">
            <a:solidFill>
              <a:schemeClr val="accent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8EC9336-4754-BFAF-22C6-02A6644F0D9A}"/>
              </a:ext>
            </a:extLst>
          </p:cNvPr>
          <p:cNvSpPr txBox="1"/>
          <p:nvPr/>
        </p:nvSpPr>
        <p:spPr>
          <a:xfrm>
            <a:off x="1003853" y="5532360"/>
            <a:ext cx="2480596" cy="584775"/>
          </a:xfrm>
          <a:prstGeom prst="rect">
            <a:avLst/>
          </a:prstGeom>
          <a:noFill/>
        </p:spPr>
        <p:txBody>
          <a:bodyPr wrap="square">
            <a:spAutoFit/>
          </a:bodyPr>
          <a:lstStyle/>
          <a:p>
            <a:r>
              <a:rPr lang="fi-FI" sz="1600" b="1" dirty="0">
                <a:solidFill>
                  <a:srgbClr val="FF0000"/>
                </a:solidFill>
              </a:rPr>
              <a:t>Jos laitetta ei voi kunnostaa:</a:t>
            </a:r>
          </a:p>
        </p:txBody>
      </p:sp>
      <p:pic>
        <p:nvPicPr>
          <p:cNvPr id="28" name="Graphic 27" descr="Recycle with solid fill">
            <a:extLst>
              <a:ext uri="{FF2B5EF4-FFF2-40B4-BE49-F238E27FC236}">
                <a16:creationId xmlns:a16="http://schemas.microsoft.com/office/drawing/2014/main" id="{46914805-8DE7-3047-71C4-D8F99F9A9D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83872" y="5798789"/>
            <a:ext cx="636691" cy="636691"/>
          </a:xfrm>
          <a:prstGeom prst="rect">
            <a:avLst/>
          </a:prstGeom>
        </p:spPr>
      </p:pic>
    </p:spTree>
    <p:extLst>
      <p:ext uri="{BB962C8B-B14F-4D97-AF65-F5344CB8AC3E}">
        <p14:creationId xmlns:p14="http://schemas.microsoft.com/office/powerpoint/2010/main" val="3586689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4">
            <a:extLst>
              <a:ext uri="{FF2B5EF4-FFF2-40B4-BE49-F238E27FC236}">
                <a16:creationId xmlns:a16="http://schemas.microsoft.com/office/drawing/2014/main" id="{58899BA8-6CEA-174B-AD46-775D6BEF4287}"/>
              </a:ext>
            </a:extLst>
          </p:cNvPr>
          <p:cNvGraphicFramePr>
            <a:graphicFrameLocks/>
          </p:cNvGraphicFramePr>
          <p:nvPr/>
        </p:nvGraphicFramePr>
        <p:xfrm>
          <a:off x="550863" y="2346367"/>
          <a:ext cx="11090274" cy="358999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F4E7410D-6A1C-5163-2A12-8B2FFC47D24E}"/>
              </a:ext>
            </a:extLst>
          </p:cNvPr>
          <p:cNvSpPr>
            <a:spLocks noGrp="1"/>
          </p:cNvSpPr>
          <p:nvPr>
            <p:ph type="title"/>
          </p:nvPr>
        </p:nvSpPr>
        <p:spPr/>
        <p:txBody>
          <a:bodyPr/>
          <a:lstStyle/>
          <a:p>
            <a:r>
              <a:rPr lang="en-US" dirty="0" err="1"/>
              <a:t>Laitteen</a:t>
            </a:r>
            <a:r>
              <a:rPr lang="en-US" dirty="0"/>
              <a:t> </a:t>
            </a:r>
            <a:r>
              <a:rPr lang="en-US" dirty="0" err="1"/>
              <a:t>kaksi</a:t>
            </a:r>
            <a:r>
              <a:rPr lang="en-US" dirty="0"/>
              <a:t> </a:t>
            </a:r>
            <a:r>
              <a:rPr lang="en-US" dirty="0" err="1"/>
              <a:t>elämää</a:t>
            </a:r>
            <a:r>
              <a:rPr lang="en-US" dirty="0"/>
              <a:t> ja co2-päästövertailu</a:t>
            </a:r>
          </a:p>
        </p:txBody>
      </p:sp>
      <p:sp>
        <p:nvSpPr>
          <p:cNvPr id="7" name="TextBox 6">
            <a:extLst>
              <a:ext uri="{FF2B5EF4-FFF2-40B4-BE49-F238E27FC236}">
                <a16:creationId xmlns:a16="http://schemas.microsoft.com/office/drawing/2014/main" id="{075FC9BB-BE35-CAA4-489A-BC70AE1619B9}"/>
              </a:ext>
            </a:extLst>
          </p:cNvPr>
          <p:cNvSpPr txBox="1"/>
          <p:nvPr/>
        </p:nvSpPr>
        <p:spPr>
          <a:xfrm>
            <a:off x="2030856" y="4425516"/>
            <a:ext cx="10646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97,46% </a:t>
            </a:r>
          </a:p>
        </p:txBody>
      </p:sp>
      <p:sp>
        <p:nvSpPr>
          <p:cNvPr id="9" name="TextBox 8">
            <a:extLst>
              <a:ext uri="{FF2B5EF4-FFF2-40B4-BE49-F238E27FC236}">
                <a16:creationId xmlns:a16="http://schemas.microsoft.com/office/drawing/2014/main" id="{86310272-9980-89B4-C8DE-A7FDD0D9306F}"/>
              </a:ext>
            </a:extLst>
          </p:cNvPr>
          <p:cNvSpPr txBox="1"/>
          <p:nvPr/>
        </p:nvSpPr>
        <p:spPr>
          <a:xfrm>
            <a:off x="4262793" y="4480699"/>
            <a:ext cx="95630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93,24% </a:t>
            </a:r>
          </a:p>
        </p:txBody>
      </p:sp>
      <p:sp>
        <p:nvSpPr>
          <p:cNvPr id="11" name="TextBox 10">
            <a:extLst>
              <a:ext uri="{FF2B5EF4-FFF2-40B4-BE49-F238E27FC236}">
                <a16:creationId xmlns:a16="http://schemas.microsoft.com/office/drawing/2014/main" id="{022F1AC8-7D88-8E99-79A7-C921F58C44F7}"/>
              </a:ext>
            </a:extLst>
          </p:cNvPr>
          <p:cNvSpPr txBox="1"/>
          <p:nvPr/>
        </p:nvSpPr>
        <p:spPr>
          <a:xfrm>
            <a:off x="6336111" y="4487252"/>
            <a:ext cx="903031" cy="276999"/>
          </a:xfrm>
          <a:prstGeom prst="rect">
            <a:avLst/>
          </a:prstGeom>
          <a:noFill/>
        </p:spPr>
        <p:txBody>
          <a:bodyPr wrap="square">
            <a:spAutoFit/>
          </a:bodyPr>
          <a:lstStyle>
            <a:defPPr>
              <a:defRPr lang="en-US"/>
            </a:defPPr>
            <a:lvl1pPr>
              <a:defRPr sz="1100" b="1" i="0" u="none" strike="noStrike">
                <a:solidFill>
                  <a:srgbClr val="000000"/>
                </a:solidFill>
                <a:effectLst/>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94,86% </a:t>
            </a:r>
          </a:p>
        </p:txBody>
      </p:sp>
      <p:sp>
        <p:nvSpPr>
          <p:cNvPr id="17" name="TextBox 16">
            <a:extLst>
              <a:ext uri="{FF2B5EF4-FFF2-40B4-BE49-F238E27FC236}">
                <a16:creationId xmlns:a16="http://schemas.microsoft.com/office/drawing/2014/main" id="{ADA07386-3280-4455-011E-807001629881}"/>
              </a:ext>
            </a:extLst>
          </p:cNvPr>
          <p:cNvSpPr txBox="1"/>
          <p:nvPr/>
        </p:nvSpPr>
        <p:spPr>
          <a:xfrm>
            <a:off x="389481" y="5538885"/>
            <a:ext cx="4846111"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a:ea typeface="+mn-ea"/>
                <a:cs typeface="+mn-cs"/>
              </a:rPr>
              <a:t>Todennettu</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err="1">
                <a:ln>
                  <a:noFill/>
                </a:ln>
                <a:solidFill>
                  <a:srgbClr val="000000"/>
                </a:solidFill>
                <a:effectLst/>
                <a:uLnTx/>
                <a:uFillTx/>
                <a:latin typeface="Arial"/>
                <a:ea typeface="+mn-ea"/>
                <a:cs typeface="+mn-cs"/>
              </a:rPr>
              <a:t>vaikutus</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 39 kgCO2e/</a:t>
            </a:r>
            <a:r>
              <a:rPr lang="en-US" sz="1050" dirty="0" err="1">
                <a:solidFill>
                  <a:srgbClr val="000000"/>
                </a:solidFill>
                <a:latin typeface="Arial"/>
              </a:rPr>
              <a:t>vuosi</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r>
              <a:rPr kumimoji="0" lang="en-US" sz="1050" b="0" i="0" u="none" strike="noStrike" kern="1200" cap="none" spc="0" normalizeH="0" baseline="0" noProof="0" dirty="0" err="1">
                <a:ln>
                  <a:noFill/>
                </a:ln>
                <a:solidFill>
                  <a:srgbClr val="000000"/>
                </a:solidFill>
                <a:effectLst/>
                <a:uLnTx/>
                <a:uFillTx/>
                <a:latin typeface="Arial"/>
                <a:ea typeface="+mn-ea"/>
                <a:cs typeface="+mn-cs"/>
              </a:rPr>
              <a:t>laite</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5,4 tCO2e </a:t>
            </a:r>
            <a:r>
              <a:rPr kumimoji="0" lang="en-US" sz="1050" b="0" i="0" u="none" strike="noStrike" kern="1200" cap="none" spc="0" normalizeH="0" baseline="0" noProof="0" dirty="0" err="1">
                <a:ln>
                  <a:noFill/>
                </a:ln>
                <a:solidFill>
                  <a:srgbClr val="000000"/>
                </a:solidFill>
                <a:effectLst/>
                <a:uLnTx/>
                <a:uFillTx/>
                <a:latin typeface="Arial"/>
                <a:ea typeface="+mn-ea"/>
                <a:cs typeface="+mn-cs"/>
              </a:rPr>
              <a:t>vähemmä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päästöjä</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sopimusjaks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ajalla</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Slide Number Placeholder 5">
            <a:extLst>
              <a:ext uri="{FF2B5EF4-FFF2-40B4-BE49-F238E27FC236}">
                <a16:creationId xmlns:a16="http://schemas.microsoft.com/office/drawing/2014/main" id="{AD1FBA8D-7BB2-0C11-66EA-F63F6CB3ECF3}"/>
              </a:ext>
            </a:extLst>
          </p:cNvPr>
          <p:cNvSpPr txBox="1">
            <a:spLocks/>
          </p:cNvSpPr>
          <p:nvPr/>
        </p:nvSpPr>
        <p:spPr>
          <a:xfrm>
            <a:off x="11355185" y="6434807"/>
            <a:ext cx="285952" cy="142579"/>
          </a:xfrm>
          <a:prstGeom prst="rect">
            <a:avLst/>
          </a:prstGeom>
        </p:spPr>
        <p:txBody>
          <a:bodyPr/>
          <a:lstStyle>
            <a:defPPr>
              <a:defRPr lang="en-US"/>
            </a:defPPr>
            <a:lvl1pPr marL="0" algn="l" defTabSz="914400" rtl="0" eaLnBrk="1" latinLnBrk="0" hangingPunct="1">
              <a:defRPr sz="700" b="0" i="0" kern="1200">
                <a:solidFill>
                  <a:schemeClr val="tx1"/>
                </a:solidFill>
                <a:latin typeface="Helvetica Neue Light" panose="02000403000000020004" pitchFamily="2" charset="0"/>
                <a:ea typeface="Helvetica Neue Light" panose="02000403000000020004"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15F0CDB-A812-4850-A270-8696C5F0BFD2}" type="slidenum">
              <a:rPr kumimoji="0" lang="en-GB" sz="700" b="0" i="0" u="none" strike="noStrike" kern="1200" cap="none" spc="0" normalizeH="0" baseline="0" noProof="0" smtClean="0">
                <a:ln>
                  <a:noFill/>
                </a:ln>
                <a:solidFill>
                  <a:srgbClr val="000000"/>
                </a:solidFill>
                <a:effectLst/>
                <a:uLnTx/>
                <a:uFillTx/>
                <a:latin typeface="Helvetica Neue Light" panose="02000403000000020004"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700" b="0" i="0" u="none" strike="noStrike" kern="1200" cap="none" spc="0" normalizeH="0" baseline="0" noProof="0" dirty="0">
              <a:ln>
                <a:noFill/>
              </a:ln>
              <a:solidFill>
                <a:srgbClr val="000000"/>
              </a:solidFill>
              <a:effectLst/>
              <a:uLnTx/>
              <a:uFillTx/>
              <a:latin typeface="Helvetica Neue Light" panose="02000403000000020004" pitchFamily="2" charset="0"/>
              <a:cs typeface="+mn-cs"/>
            </a:endParaRPr>
          </a:p>
        </p:txBody>
      </p:sp>
      <p:grpSp>
        <p:nvGrpSpPr>
          <p:cNvPr id="16" name="Ryhmä 15">
            <a:extLst>
              <a:ext uri="{FF2B5EF4-FFF2-40B4-BE49-F238E27FC236}">
                <a16:creationId xmlns:a16="http://schemas.microsoft.com/office/drawing/2014/main" id="{DB3B0A95-4420-F96C-3B6A-D6551B710AE2}"/>
              </a:ext>
            </a:extLst>
          </p:cNvPr>
          <p:cNvGrpSpPr/>
          <p:nvPr/>
        </p:nvGrpSpPr>
        <p:grpSpPr>
          <a:xfrm>
            <a:off x="10584634" y="4243277"/>
            <a:ext cx="665119" cy="386790"/>
            <a:chOff x="8498254" y="2291019"/>
            <a:chExt cx="665119" cy="386790"/>
          </a:xfrm>
        </p:grpSpPr>
        <p:sp>
          <p:nvSpPr>
            <p:cNvPr id="5" name="Rectangle : coins arrondis 148">
              <a:extLst>
                <a:ext uri="{FF2B5EF4-FFF2-40B4-BE49-F238E27FC236}">
                  <a16:creationId xmlns:a16="http://schemas.microsoft.com/office/drawing/2014/main" id="{2F746DCF-84F7-9D31-2135-D1CCE111EA83}"/>
                </a:ext>
              </a:extLst>
            </p:cNvPr>
            <p:cNvSpPr/>
            <p:nvPr/>
          </p:nvSpPr>
          <p:spPr>
            <a:xfrm rot="5400000">
              <a:off x="8648183" y="2162619"/>
              <a:ext cx="386790" cy="64359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white"/>
                </a:solidFill>
                <a:effectLst/>
                <a:uLnTx/>
                <a:uFillTx/>
                <a:latin typeface="Arial"/>
                <a:ea typeface="+mn-ea"/>
                <a:cs typeface="+mn-cs"/>
              </a:endParaRPr>
            </a:p>
          </p:txBody>
        </p:sp>
        <p:sp>
          <p:nvSpPr>
            <p:cNvPr id="8" name="ZoneTexte 150">
              <a:extLst>
                <a:ext uri="{FF2B5EF4-FFF2-40B4-BE49-F238E27FC236}">
                  <a16:creationId xmlns:a16="http://schemas.microsoft.com/office/drawing/2014/main" id="{002C54C4-8A13-928B-F2B6-6956D7DA656E}"/>
                </a:ext>
              </a:extLst>
            </p:cNvPr>
            <p:cNvSpPr txBox="1"/>
            <p:nvPr/>
          </p:nvSpPr>
          <p:spPr>
            <a:xfrm>
              <a:off x="8498254" y="2356691"/>
              <a:ext cx="643587" cy="230832"/>
            </a:xfrm>
            <a:prstGeom prst="rect">
              <a:avLst/>
            </a:prstGeom>
            <a:noFill/>
          </p:spPr>
          <p:txBody>
            <a:bodyPr wrap="square" rtlCol="0">
              <a:spAutoFit/>
            </a:bodyPr>
            <a:lstStyle>
              <a:defPPr>
                <a:defRPr lang="en-US"/>
              </a:defPPr>
              <a:lvl1pPr algn="ctr">
                <a:defRPr sz="1200" b="1">
                  <a:solidFill>
                    <a:srgbClr val="FFFFFF"/>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52 kg</a:t>
              </a:r>
            </a:p>
          </p:txBody>
        </p:sp>
      </p:grpSp>
      <p:grpSp>
        <p:nvGrpSpPr>
          <p:cNvPr id="14" name="Ryhmä 13">
            <a:extLst>
              <a:ext uri="{FF2B5EF4-FFF2-40B4-BE49-F238E27FC236}">
                <a16:creationId xmlns:a16="http://schemas.microsoft.com/office/drawing/2014/main" id="{F69F2E15-F63D-7576-8C57-2C858A5915DB}"/>
              </a:ext>
            </a:extLst>
          </p:cNvPr>
          <p:cNvGrpSpPr/>
          <p:nvPr/>
        </p:nvGrpSpPr>
        <p:grpSpPr>
          <a:xfrm>
            <a:off x="8517505" y="2702065"/>
            <a:ext cx="676392" cy="360404"/>
            <a:chOff x="7339053" y="620279"/>
            <a:chExt cx="676392" cy="360404"/>
          </a:xfrm>
        </p:grpSpPr>
        <p:sp>
          <p:nvSpPr>
            <p:cNvPr id="10" name="Rectangle : coins arrondis 109">
              <a:extLst>
                <a:ext uri="{FF2B5EF4-FFF2-40B4-BE49-F238E27FC236}">
                  <a16:creationId xmlns:a16="http://schemas.microsoft.com/office/drawing/2014/main" id="{8FE80D2B-19FB-0AE7-B814-55F767250722}"/>
                </a:ext>
              </a:extLst>
            </p:cNvPr>
            <p:cNvSpPr/>
            <p:nvPr/>
          </p:nvSpPr>
          <p:spPr>
            <a:xfrm rot="5400000">
              <a:off x="7497047" y="462285"/>
              <a:ext cx="360404" cy="676391"/>
            </a:xfrm>
            <a:prstGeom prst="roundRect">
              <a:avLst>
                <a:gd name="adj" fmla="val 4656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ZoneTexte 114">
              <a:extLst>
                <a:ext uri="{FF2B5EF4-FFF2-40B4-BE49-F238E27FC236}">
                  <a16:creationId xmlns:a16="http://schemas.microsoft.com/office/drawing/2014/main" id="{4A279A37-5606-CFDD-D0B0-29D06EEEA5BF}"/>
                </a:ext>
              </a:extLst>
            </p:cNvPr>
            <p:cNvSpPr txBox="1"/>
            <p:nvPr/>
          </p:nvSpPr>
          <p:spPr>
            <a:xfrm>
              <a:off x="7339053" y="664163"/>
              <a:ext cx="67639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39 kg</a:t>
              </a:r>
            </a:p>
          </p:txBody>
        </p:sp>
      </p:grpSp>
      <p:grpSp>
        <p:nvGrpSpPr>
          <p:cNvPr id="23" name="Ryhmä 22">
            <a:extLst>
              <a:ext uri="{FF2B5EF4-FFF2-40B4-BE49-F238E27FC236}">
                <a16:creationId xmlns:a16="http://schemas.microsoft.com/office/drawing/2014/main" id="{8902A5A9-A14E-ABB2-268E-92536FF70824}"/>
              </a:ext>
            </a:extLst>
          </p:cNvPr>
          <p:cNvGrpSpPr/>
          <p:nvPr/>
        </p:nvGrpSpPr>
        <p:grpSpPr>
          <a:xfrm>
            <a:off x="976272" y="2736787"/>
            <a:ext cx="2808006" cy="359510"/>
            <a:chOff x="6024563" y="543640"/>
            <a:chExt cx="2808006" cy="359510"/>
          </a:xfrm>
        </p:grpSpPr>
        <p:sp>
          <p:nvSpPr>
            <p:cNvPr id="19" name="Suorakulmio 18">
              <a:extLst>
                <a:ext uri="{FF2B5EF4-FFF2-40B4-BE49-F238E27FC236}">
                  <a16:creationId xmlns:a16="http://schemas.microsoft.com/office/drawing/2014/main" id="{13DC800F-BCCC-3267-A1E1-AD79F0F1E54A}"/>
                </a:ext>
              </a:extLst>
            </p:cNvPr>
            <p:cNvSpPr/>
            <p:nvPr/>
          </p:nvSpPr>
          <p:spPr>
            <a:xfrm>
              <a:off x="6024563" y="566057"/>
              <a:ext cx="318297" cy="304800"/>
            </a:xfrm>
            <a:prstGeom prst="rect">
              <a:avLst/>
            </a:prstGeom>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fi-FI"/>
            </a:p>
          </p:txBody>
        </p:sp>
        <p:sp>
          <p:nvSpPr>
            <p:cNvPr id="20" name="Suorakulmio 19">
              <a:extLst>
                <a:ext uri="{FF2B5EF4-FFF2-40B4-BE49-F238E27FC236}">
                  <a16:creationId xmlns:a16="http://schemas.microsoft.com/office/drawing/2014/main" id="{4835ADFE-29A9-40C8-F603-F62F786181B2}"/>
                </a:ext>
              </a:extLst>
            </p:cNvPr>
            <p:cNvSpPr/>
            <p:nvPr/>
          </p:nvSpPr>
          <p:spPr>
            <a:xfrm>
              <a:off x="7520514" y="598350"/>
              <a:ext cx="318297" cy="3048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fi-FI"/>
            </a:p>
          </p:txBody>
        </p:sp>
        <p:sp>
          <p:nvSpPr>
            <p:cNvPr id="21" name="Tekstiruutu 20">
              <a:extLst>
                <a:ext uri="{FF2B5EF4-FFF2-40B4-BE49-F238E27FC236}">
                  <a16:creationId xmlns:a16="http://schemas.microsoft.com/office/drawing/2014/main" id="{45179ED2-18DD-D4AF-255A-1B47B4C9A135}"/>
                </a:ext>
              </a:extLst>
            </p:cNvPr>
            <p:cNvSpPr txBox="1"/>
            <p:nvPr/>
          </p:nvSpPr>
          <p:spPr>
            <a:xfrm>
              <a:off x="6342860" y="543640"/>
              <a:ext cx="971741" cy="338554"/>
            </a:xfrm>
            <a:prstGeom prst="rect">
              <a:avLst/>
            </a:prstGeom>
            <a:noFill/>
          </p:spPr>
          <p:txBody>
            <a:bodyPr wrap="none" rtlCol="0">
              <a:spAutoFit/>
            </a:bodyPr>
            <a:lstStyle/>
            <a:p>
              <a:r>
                <a:rPr lang="fi-FI" sz="1600" dirty="0"/>
                <a:t>1. elämä</a:t>
              </a:r>
            </a:p>
          </p:txBody>
        </p:sp>
        <p:sp>
          <p:nvSpPr>
            <p:cNvPr id="22" name="Tekstiruutu 21">
              <a:extLst>
                <a:ext uri="{FF2B5EF4-FFF2-40B4-BE49-F238E27FC236}">
                  <a16:creationId xmlns:a16="http://schemas.microsoft.com/office/drawing/2014/main" id="{E7073589-D266-E163-272E-D79B4FC71F9F}"/>
                </a:ext>
              </a:extLst>
            </p:cNvPr>
            <p:cNvSpPr txBox="1"/>
            <p:nvPr/>
          </p:nvSpPr>
          <p:spPr>
            <a:xfrm>
              <a:off x="7860828" y="543640"/>
              <a:ext cx="971741" cy="338554"/>
            </a:xfrm>
            <a:prstGeom prst="rect">
              <a:avLst/>
            </a:prstGeom>
            <a:noFill/>
          </p:spPr>
          <p:txBody>
            <a:bodyPr wrap="none" rtlCol="0">
              <a:spAutoFit/>
            </a:bodyPr>
            <a:lstStyle/>
            <a:p>
              <a:r>
                <a:rPr lang="fi-FI" sz="1600" dirty="0"/>
                <a:t>2. elämä</a:t>
              </a:r>
            </a:p>
          </p:txBody>
        </p:sp>
      </p:grpSp>
      <p:grpSp>
        <p:nvGrpSpPr>
          <p:cNvPr id="26" name="Ryhmä 25">
            <a:extLst>
              <a:ext uri="{FF2B5EF4-FFF2-40B4-BE49-F238E27FC236}">
                <a16:creationId xmlns:a16="http://schemas.microsoft.com/office/drawing/2014/main" id="{7BDFE2DF-9F19-5D89-7930-61AC5A544B5D}"/>
              </a:ext>
            </a:extLst>
          </p:cNvPr>
          <p:cNvGrpSpPr/>
          <p:nvPr/>
        </p:nvGrpSpPr>
        <p:grpSpPr>
          <a:xfrm>
            <a:off x="550863" y="862481"/>
            <a:ext cx="10257878" cy="1086641"/>
            <a:chOff x="550863" y="1055122"/>
            <a:chExt cx="10257878" cy="1086641"/>
          </a:xfrm>
        </p:grpSpPr>
        <p:sp>
          <p:nvSpPr>
            <p:cNvPr id="24" name="Tekstiruutu 23">
              <a:extLst>
                <a:ext uri="{FF2B5EF4-FFF2-40B4-BE49-F238E27FC236}">
                  <a16:creationId xmlns:a16="http://schemas.microsoft.com/office/drawing/2014/main" id="{0AAD1BB7-35B9-6F97-B9CC-C7B39BFD6E6B}"/>
                </a:ext>
              </a:extLst>
            </p:cNvPr>
            <p:cNvSpPr txBox="1"/>
            <p:nvPr/>
          </p:nvSpPr>
          <p:spPr>
            <a:xfrm>
              <a:off x="550863" y="1055122"/>
              <a:ext cx="5033554" cy="954107"/>
            </a:xfrm>
            <a:prstGeom prst="rect">
              <a:avLst/>
            </a:prstGeom>
            <a:noFill/>
          </p:spPr>
          <p:txBody>
            <a:bodyPr wrap="square" rtlCol="0">
              <a:spAutoFit/>
            </a:bodyPr>
            <a:lstStyle/>
            <a:p>
              <a:r>
                <a:rPr lang="fi-FI" sz="1400" i="1" dirty="0">
                  <a:solidFill>
                    <a:schemeClr val="accent1"/>
                  </a:solidFill>
                </a:rPr>
                <a:t>Takuuhuolletun laitteen ympäristöhyödyt ovat:</a:t>
              </a:r>
            </a:p>
            <a:p>
              <a:endParaRPr lang="fi-FI" sz="1400" i="1" dirty="0">
                <a:solidFill>
                  <a:schemeClr val="accent1"/>
                </a:solidFill>
              </a:endParaRPr>
            </a:p>
            <a:p>
              <a:pPr marL="342900" indent="-342900">
                <a:buFont typeface="+mj-lt"/>
                <a:buAutoNum type="arabicPeriod"/>
              </a:pPr>
              <a:r>
                <a:rPr lang="fi-FI" sz="1400" i="1" dirty="0">
                  <a:solidFill>
                    <a:schemeClr val="accent1"/>
                  </a:solidFill>
                </a:rPr>
                <a:t>Materiaalien käytön, tuotannon ja logistiikan merkittävä väheneminen vs. uusi laite.</a:t>
              </a:r>
            </a:p>
          </p:txBody>
        </p:sp>
        <p:sp>
          <p:nvSpPr>
            <p:cNvPr id="25" name="Tekstiruutu 24">
              <a:extLst>
                <a:ext uri="{FF2B5EF4-FFF2-40B4-BE49-F238E27FC236}">
                  <a16:creationId xmlns:a16="http://schemas.microsoft.com/office/drawing/2014/main" id="{373F9A71-D034-A8A6-08A7-3A4D3F052235}"/>
                </a:ext>
              </a:extLst>
            </p:cNvPr>
            <p:cNvSpPr txBox="1"/>
            <p:nvPr/>
          </p:nvSpPr>
          <p:spPr>
            <a:xfrm>
              <a:off x="5775187" y="1403099"/>
              <a:ext cx="5033554" cy="738664"/>
            </a:xfrm>
            <a:prstGeom prst="rect">
              <a:avLst/>
            </a:prstGeom>
            <a:noFill/>
          </p:spPr>
          <p:txBody>
            <a:bodyPr wrap="square" rtlCol="0">
              <a:spAutoFit/>
            </a:bodyPr>
            <a:lstStyle/>
            <a:p>
              <a:pPr marL="342900" indent="-342900">
                <a:buFont typeface="+mj-lt"/>
                <a:buAutoNum type="arabicPeriod" startAt="2"/>
              </a:pPr>
              <a:r>
                <a:rPr lang="fi-FI" sz="1400" i="1" dirty="0">
                  <a:solidFill>
                    <a:schemeClr val="accent1"/>
                  </a:solidFill>
                </a:rPr>
                <a:t>Laitteen tuplasti pidempi elinkaari ja kierrätettävän materiaalin sekä jätteen väheneminen sitä kautta (sitä tulee vain kerran n. 10 vuoden aikana, ei kaksi kertaa).</a:t>
              </a:r>
            </a:p>
          </p:txBody>
        </p:sp>
      </p:grpSp>
      <p:sp>
        <p:nvSpPr>
          <p:cNvPr id="27" name="Tekstiruutu 26">
            <a:extLst>
              <a:ext uri="{FF2B5EF4-FFF2-40B4-BE49-F238E27FC236}">
                <a16:creationId xmlns:a16="http://schemas.microsoft.com/office/drawing/2014/main" id="{4B815972-EE2D-7D5A-FB4D-02F08911A0D7}"/>
              </a:ext>
            </a:extLst>
          </p:cNvPr>
          <p:cNvSpPr txBox="1"/>
          <p:nvPr/>
        </p:nvSpPr>
        <p:spPr>
          <a:xfrm>
            <a:off x="9893467" y="5522249"/>
            <a:ext cx="1594197" cy="338554"/>
          </a:xfrm>
          <a:prstGeom prst="rect">
            <a:avLst/>
          </a:prstGeom>
          <a:solidFill>
            <a:schemeClr val="bg1"/>
          </a:solidFill>
        </p:spPr>
        <p:txBody>
          <a:bodyPr wrap="square" rtlCol="0">
            <a:spAutoFit/>
          </a:bodyPr>
          <a:lstStyle/>
          <a:p>
            <a:r>
              <a:rPr lang="fi-FI" sz="800" dirty="0"/>
              <a:t>GWP uusi laite (kgCO2e)</a:t>
            </a:r>
          </a:p>
          <a:p>
            <a:r>
              <a:rPr lang="fi-FI" sz="800" dirty="0"/>
              <a:t>GWP kierrätetty laite (kgCO2e)</a:t>
            </a:r>
          </a:p>
        </p:txBody>
      </p:sp>
      <p:pic>
        <p:nvPicPr>
          <p:cNvPr id="18" name="Kuva 17" descr="Base Empreinte - Logiciel ACV et Eco-conception - Bureau Veritas CODDE">
            <a:extLst>
              <a:ext uri="{FF2B5EF4-FFF2-40B4-BE49-F238E27FC236}">
                <a16:creationId xmlns:a16="http://schemas.microsoft.com/office/drawing/2014/main" id="{43581E27-2A5E-5C64-CD45-492F0A1CAC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8684" y="6211784"/>
            <a:ext cx="962687" cy="446045"/>
          </a:xfrm>
          <a:prstGeom prst="rect">
            <a:avLst/>
          </a:prstGeom>
          <a:noFill/>
          <a:extLst>
            <a:ext uri="{909E8E84-426E-40DD-AFC4-6F175D3DCCD1}">
              <a14:hiddenFill xmlns:a14="http://schemas.microsoft.com/office/drawing/2010/main">
                <a:solidFill>
                  <a:srgbClr val="FFFFFF"/>
                </a:solidFill>
              </a14:hiddenFill>
            </a:ext>
          </a:extLst>
        </p:spPr>
      </p:pic>
      <p:sp>
        <p:nvSpPr>
          <p:cNvPr id="4" name="Suorakulmio 3">
            <a:extLst>
              <a:ext uri="{FF2B5EF4-FFF2-40B4-BE49-F238E27FC236}">
                <a16:creationId xmlns:a16="http://schemas.microsoft.com/office/drawing/2014/main" id="{E5683C3C-80EF-E7AD-658A-A83F41E36FC5}"/>
              </a:ext>
            </a:extLst>
          </p:cNvPr>
          <p:cNvSpPr/>
          <p:nvPr/>
        </p:nvSpPr>
        <p:spPr>
          <a:xfrm>
            <a:off x="916449" y="3753853"/>
            <a:ext cx="4114209" cy="312448"/>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fi-FI" dirty="0"/>
              <a:t>Valmistus</a:t>
            </a:r>
          </a:p>
        </p:txBody>
      </p:sp>
      <p:sp>
        <p:nvSpPr>
          <p:cNvPr id="28" name="Suorakulmio 27">
            <a:extLst>
              <a:ext uri="{FF2B5EF4-FFF2-40B4-BE49-F238E27FC236}">
                <a16:creationId xmlns:a16="http://schemas.microsoft.com/office/drawing/2014/main" id="{214C6BBA-9313-2173-3412-8A27B205EC9F}"/>
              </a:ext>
            </a:extLst>
          </p:cNvPr>
          <p:cNvSpPr/>
          <p:nvPr/>
        </p:nvSpPr>
        <p:spPr>
          <a:xfrm>
            <a:off x="5130265" y="3753853"/>
            <a:ext cx="2031079" cy="312448"/>
          </a:xfrm>
          <a:prstGeom prst="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i-FI" dirty="0"/>
              <a:t>Logistiikka</a:t>
            </a:r>
          </a:p>
        </p:txBody>
      </p:sp>
      <p:sp>
        <p:nvSpPr>
          <p:cNvPr id="29" name="Suorakulmio 28">
            <a:extLst>
              <a:ext uri="{FF2B5EF4-FFF2-40B4-BE49-F238E27FC236}">
                <a16:creationId xmlns:a16="http://schemas.microsoft.com/office/drawing/2014/main" id="{EE61E113-CF3B-5786-4C01-E01B31AF3D72}"/>
              </a:ext>
            </a:extLst>
          </p:cNvPr>
          <p:cNvSpPr/>
          <p:nvPr/>
        </p:nvSpPr>
        <p:spPr>
          <a:xfrm>
            <a:off x="7180567" y="2021574"/>
            <a:ext cx="2271441" cy="31244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fi-FI" dirty="0"/>
              <a:t>Käyttö</a:t>
            </a:r>
          </a:p>
        </p:txBody>
      </p:sp>
      <p:sp>
        <p:nvSpPr>
          <p:cNvPr id="30" name="Suorakulmio 29">
            <a:extLst>
              <a:ext uri="{FF2B5EF4-FFF2-40B4-BE49-F238E27FC236}">
                <a16:creationId xmlns:a16="http://schemas.microsoft.com/office/drawing/2014/main" id="{FE677F1C-1096-AAFC-A034-59E4F847ADE2}"/>
              </a:ext>
            </a:extLst>
          </p:cNvPr>
          <p:cNvSpPr/>
          <p:nvPr/>
        </p:nvSpPr>
        <p:spPr>
          <a:xfrm>
            <a:off x="9420507" y="3767359"/>
            <a:ext cx="2271441" cy="31244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i-FI" dirty="0"/>
              <a:t>Romuttaminen</a:t>
            </a:r>
          </a:p>
        </p:txBody>
      </p:sp>
      <p:sp>
        <p:nvSpPr>
          <p:cNvPr id="31" name="Tekstiruutu 30">
            <a:extLst>
              <a:ext uri="{FF2B5EF4-FFF2-40B4-BE49-F238E27FC236}">
                <a16:creationId xmlns:a16="http://schemas.microsoft.com/office/drawing/2014/main" id="{08444307-F09D-D564-A4D9-3C9E2826D9AE}"/>
              </a:ext>
            </a:extLst>
          </p:cNvPr>
          <p:cNvSpPr txBox="1"/>
          <p:nvPr/>
        </p:nvSpPr>
        <p:spPr>
          <a:xfrm>
            <a:off x="497232" y="2054875"/>
            <a:ext cx="808235" cy="276999"/>
          </a:xfrm>
          <a:prstGeom prst="rect">
            <a:avLst/>
          </a:prstGeom>
          <a:noFill/>
        </p:spPr>
        <p:txBody>
          <a:bodyPr wrap="none" rtlCol="0">
            <a:spAutoFit/>
          </a:bodyPr>
          <a:lstStyle/>
          <a:p>
            <a:r>
              <a:rPr lang="fi-FI" sz="1200" b="1" dirty="0"/>
              <a:t>CO2e kg</a:t>
            </a:r>
          </a:p>
        </p:txBody>
      </p:sp>
      <p:sp>
        <p:nvSpPr>
          <p:cNvPr id="34" name="Tekstiruutu 33">
            <a:extLst>
              <a:ext uri="{FF2B5EF4-FFF2-40B4-BE49-F238E27FC236}">
                <a16:creationId xmlns:a16="http://schemas.microsoft.com/office/drawing/2014/main" id="{298EF824-CBF8-A2E9-4FA7-DA889C994D8A}"/>
              </a:ext>
            </a:extLst>
          </p:cNvPr>
          <p:cNvSpPr txBox="1"/>
          <p:nvPr/>
        </p:nvSpPr>
        <p:spPr>
          <a:xfrm>
            <a:off x="8316288" y="3147450"/>
            <a:ext cx="1104220" cy="1015663"/>
          </a:xfrm>
          <a:prstGeom prst="rect">
            <a:avLst/>
          </a:prstGeom>
          <a:noFill/>
        </p:spPr>
        <p:txBody>
          <a:bodyPr wrap="square">
            <a:spAutoFit/>
          </a:bodyPr>
          <a:lstStyle/>
          <a:p>
            <a:r>
              <a:rPr lang="fi-FI" sz="1200" b="1" dirty="0">
                <a:solidFill>
                  <a:schemeClr val="accent2"/>
                </a:solidFill>
              </a:rPr>
              <a:t>Huollon aikaiset päästöt kuten vesi ja energia.</a:t>
            </a:r>
          </a:p>
        </p:txBody>
      </p:sp>
    </p:spTree>
    <p:extLst>
      <p:ext uri="{BB962C8B-B14F-4D97-AF65-F5344CB8AC3E}">
        <p14:creationId xmlns:p14="http://schemas.microsoft.com/office/powerpoint/2010/main" val="1281283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owerPoint template Selecta_2">
  <a:themeElements>
    <a:clrScheme name="Selecta_NEW">
      <a:dk1>
        <a:srgbClr val="000000"/>
      </a:dk1>
      <a:lt1>
        <a:srgbClr val="FFFFFF"/>
      </a:lt1>
      <a:dk2>
        <a:srgbClr val="000000"/>
      </a:dk2>
      <a:lt2>
        <a:srgbClr val="FFFFFF"/>
      </a:lt2>
      <a:accent1>
        <a:srgbClr val="E00917"/>
      </a:accent1>
      <a:accent2>
        <a:srgbClr val="F26B5B"/>
      </a:accent2>
      <a:accent3>
        <a:srgbClr val="50037F"/>
      </a:accent3>
      <a:accent4>
        <a:srgbClr val="70040C"/>
      </a:accent4>
      <a:accent5>
        <a:srgbClr val="7F7F7F"/>
      </a:accent5>
      <a:accent6>
        <a:srgbClr val="1A8299"/>
      </a:accent6>
      <a:hlink>
        <a:srgbClr val="E10517"/>
      </a:hlink>
      <a:folHlink>
        <a:srgbClr val="E10517"/>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point template Selecta 2025" id="{98795E21-BCDB-354C-9391-FAB1E45E89A7}" vid="{2292EACF-BDFD-7042-8B15-63546E41F388}"/>
    </a:ext>
  </a:extLst>
</a:theme>
</file>

<file path=ppt/theme/theme2.xml><?xml version="1.0" encoding="utf-8"?>
<a:theme xmlns:a="http://schemas.openxmlformats.org/drawingml/2006/main" name="Powerpoint template Selecta">
  <a:themeElements>
    <a:clrScheme name="Selecta_NEW">
      <a:dk1>
        <a:srgbClr val="000000"/>
      </a:dk1>
      <a:lt1>
        <a:srgbClr val="FFFFFF"/>
      </a:lt1>
      <a:dk2>
        <a:srgbClr val="000000"/>
      </a:dk2>
      <a:lt2>
        <a:srgbClr val="FFFFFF"/>
      </a:lt2>
      <a:accent1>
        <a:srgbClr val="E00917"/>
      </a:accent1>
      <a:accent2>
        <a:srgbClr val="F26B5B"/>
      </a:accent2>
      <a:accent3>
        <a:srgbClr val="50037F"/>
      </a:accent3>
      <a:accent4>
        <a:srgbClr val="70040C"/>
      </a:accent4>
      <a:accent5>
        <a:srgbClr val="7F7F7F"/>
      </a:accent5>
      <a:accent6>
        <a:srgbClr val="1A8299"/>
      </a:accent6>
      <a:hlink>
        <a:srgbClr val="E10517"/>
      </a:hlink>
      <a:folHlink>
        <a:srgbClr val="E10517"/>
      </a:folHlink>
    </a:clrScheme>
    <a:fontScheme name="Personalizzato 3">
      <a:majorFont>
        <a:latin typeface="Promet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Selecta 2025" id="{98795E21-BCDB-354C-9391-FAB1E45E89A7}" vid="{0B0ABE10-E7EF-954B-9DFC-D4D633BB111B}"/>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B3AB69AA50D9B64785A8C4CE5EEC638E" ma:contentTypeVersion="19" ma:contentTypeDescription="Luo uusi asiakirja." ma:contentTypeScope="" ma:versionID="12011c6a23e88caa2858de2debb60d3b">
  <xsd:schema xmlns:xsd="http://www.w3.org/2001/XMLSchema" xmlns:xs="http://www.w3.org/2001/XMLSchema" xmlns:p="http://schemas.microsoft.com/office/2006/metadata/properties" xmlns:ns2="d5e34964-b912-4a55-9c14-c038c5b8766b" xmlns:ns3="e74c9fe4-02c7-489f-b31f-7f752106053a" targetNamespace="http://schemas.microsoft.com/office/2006/metadata/properties" ma:root="true" ma:fieldsID="20ce5aa0de98dce195a2b6f8144e8dce" ns2:_="" ns3:_="">
    <xsd:import namespace="d5e34964-b912-4a55-9c14-c038c5b8766b"/>
    <xsd:import namespace="e74c9fe4-02c7-489f-b31f-7f75210605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LengthInSeconds"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e34964-b912-4a55-9c14-c038c5b876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Kuvien tunnisteet" ma:readOnly="false" ma:fieldId="{5cf76f15-5ced-4ddc-b409-7134ff3c332f}" ma:taxonomyMulti="true" ma:sspId="2be182c2-9cef-40ce-b01e-b729b225c290" ma:termSetId="09814cd3-568e-fe90-9814-8d621ff8fb84" ma:anchorId="fba54fb3-c3e1-fe81-a776-ca4b69148c4d" ma:open="true" ma:isKeyword="false">
      <xsd:complexType>
        <xsd:sequence>
          <xsd:element ref="pc:Terms" minOccurs="0" maxOccurs="1"/>
        </xsd:sequence>
      </xsd:complex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4c9fe4-02c7-489f-b31f-7f752106053a" elementFormDefault="qualified">
    <xsd:import namespace="http://schemas.microsoft.com/office/2006/documentManagement/types"/>
    <xsd:import namespace="http://schemas.microsoft.com/office/infopath/2007/PartnerControls"/>
    <xsd:element name="SharedWithUsers" ma:index="12"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Jakamisen tiedot" ma:internalName="SharedWithDetails" ma:readOnly="true">
      <xsd:simpleType>
        <xsd:restriction base="dms:Note">
          <xsd:maxLength value="255"/>
        </xsd:restriction>
      </xsd:simpleType>
    </xsd:element>
    <xsd:element name="TaxCatchAll" ma:index="20" nillable="true" ma:displayName="Taxonomy Catch All Column" ma:hidden="true" ma:list="{2379cfc8-24c6-4ffa-9aec-879a418afd18}" ma:internalName="TaxCatchAll" ma:showField="CatchAllData" ma:web="e74c9fe4-02c7-489f-b31f-7f75210605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5e34964-b912-4a55-9c14-c038c5b8766b">
      <Terms xmlns="http://schemas.microsoft.com/office/infopath/2007/PartnerControls"/>
    </lcf76f155ced4ddcb4097134ff3c332f>
    <TaxCatchAll xmlns="e74c9fe4-02c7-489f-b31f-7f752106053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D4FC9D-31D4-4AB5-962C-41E4C030B6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e34964-b912-4a55-9c14-c038c5b8766b"/>
    <ds:schemaRef ds:uri="e74c9fe4-02c7-489f-b31f-7f75210605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93D5A7E-9FA6-4F1D-B4AD-766DE3264BF3}">
  <ds:schemaRefs>
    <ds:schemaRef ds:uri="http://schemas.microsoft.com/office/2006/metadata/properties"/>
    <ds:schemaRef ds:uri="http://www.w3.org/XML/1998/namespace"/>
    <ds:schemaRef ds:uri="http://purl.org/dc/terms/"/>
    <ds:schemaRef ds:uri="http://schemas.microsoft.com/office/2006/documentManagement/types"/>
    <ds:schemaRef ds:uri="http://purl.org/dc/elements/1.1/"/>
    <ds:schemaRef ds:uri="http://purl.org/dc/dcmitype/"/>
    <ds:schemaRef ds:uri="d5e34964-b912-4a55-9c14-c038c5b8766b"/>
    <ds:schemaRef ds:uri="http://schemas.microsoft.com/office/infopath/2007/PartnerControls"/>
    <ds:schemaRef ds:uri="http://schemas.openxmlformats.org/package/2006/metadata/core-properties"/>
    <ds:schemaRef ds:uri="e74c9fe4-02c7-489f-b31f-7f752106053a"/>
  </ds:schemaRefs>
</ds:datastoreItem>
</file>

<file path=customXml/itemProps3.xml><?xml version="1.0" encoding="utf-8"?>
<ds:datastoreItem xmlns:ds="http://schemas.openxmlformats.org/officeDocument/2006/customXml" ds:itemID="{4B6EDFC7-7447-488A-A7E9-A4490468F511}">
  <ds:schemaRefs>
    <ds:schemaRef ds:uri="http://schemas.microsoft.com/sharepoint/v3/contenttype/forms"/>
  </ds:schemaRefs>
</ds:datastoreItem>
</file>

<file path=docMetadata/LabelInfo.xml><?xml version="1.0" encoding="utf-8"?>
<clbl:labelList xmlns:clbl="http://schemas.microsoft.com/office/2020/mipLabelMetadata">
  <clbl:label id="{eda00f38-c236-4ea3-94cb-16e6862af9d6}" enabled="1" method="Standard" siteId="{4e332879-256a-490e-87fa-ae47d38b6cbc}" removed="0"/>
</clbl:labelList>
</file>

<file path=docProps/app.xml><?xml version="1.0" encoding="utf-8"?>
<Properties xmlns="http://schemas.openxmlformats.org/officeDocument/2006/extended-properties" xmlns:vt="http://schemas.openxmlformats.org/officeDocument/2006/docPropsVTypes">
  <TotalTime>1469</TotalTime>
  <Words>1829</Words>
  <Application>Microsoft Office PowerPoint</Application>
  <PresentationFormat>Laajakuva</PresentationFormat>
  <Paragraphs>225</Paragraphs>
  <Slides>18</Slides>
  <Notes>5</Notes>
  <HiddenSlides>0</HiddenSlides>
  <MMClips>0</MMClips>
  <ScaleCrop>false</ScaleCrop>
  <HeadingPairs>
    <vt:vector size="8" baseType="variant">
      <vt:variant>
        <vt:lpstr>Käytetyt fontit</vt:lpstr>
      </vt:variant>
      <vt:variant>
        <vt:i4>12</vt:i4>
      </vt:variant>
      <vt:variant>
        <vt:lpstr>Teema</vt:lpstr>
      </vt:variant>
      <vt:variant>
        <vt:i4>2</vt:i4>
      </vt:variant>
      <vt:variant>
        <vt:lpstr>Upotetut OLE-palvelimet</vt:lpstr>
      </vt:variant>
      <vt:variant>
        <vt:i4>1</vt:i4>
      </vt:variant>
      <vt:variant>
        <vt:lpstr>Dian otsikot</vt:lpstr>
      </vt:variant>
      <vt:variant>
        <vt:i4>18</vt:i4>
      </vt:variant>
    </vt:vector>
  </HeadingPairs>
  <TitlesOfParts>
    <vt:vector size="33" baseType="lpstr">
      <vt:lpstr>Aptos</vt:lpstr>
      <vt:lpstr>Arial</vt:lpstr>
      <vt:lpstr>Arial MT</vt:lpstr>
      <vt:lpstr>Calibri</vt:lpstr>
      <vt:lpstr>Calibri Light</vt:lpstr>
      <vt:lpstr>Fave Script Bold Pro</vt:lpstr>
      <vt:lpstr>Franklin Gothic Book</vt:lpstr>
      <vt:lpstr>Gill Sans</vt:lpstr>
      <vt:lpstr>Helvetica Neue Light</vt:lpstr>
      <vt:lpstr>Prometo</vt:lpstr>
      <vt:lpstr>Verdana</vt:lpstr>
      <vt:lpstr>Wingdings</vt:lpstr>
      <vt:lpstr>1_PowerPoint template Selecta_2</vt:lpstr>
      <vt:lpstr>Powerpoint template Selecta</vt:lpstr>
      <vt:lpstr>think-cell Slide</vt:lpstr>
      <vt:lpstr>PowerPoint-esitys</vt:lpstr>
      <vt:lpstr>PowerPoint-esitys</vt:lpstr>
      <vt:lpstr>PowerPoint-esitys</vt:lpstr>
      <vt:lpstr>SELECTAN VALIKOIMA</vt:lpstr>
      <vt:lpstr>LAITTEIDEN KUNNOSTUS</vt:lpstr>
      <vt:lpstr>Palvelun aikainen päästöjakauma* esimerkkilaskelma</vt:lpstr>
      <vt:lpstr>Jätehierarkia ja materiaalitehokkuus</vt:lpstr>
      <vt:lpstr>Kahvilaitteen takuuhuolto – tavoitteena kaksi elämää</vt:lpstr>
      <vt:lpstr>Laitteen kaksi elämää ja co2-päästövertailu</vt:lpstr>
      <vt:lpstr>Takuuhuolletun laitteen päästöjakauma elinkaaren aikana</vt:lpstr>
      <vt:lpstr>JULKISET HANKINNAT</vt:lpstr>
      <vt:lpstr>Kokemuksia julkisista hankinnoista</vt:lpstr>
      <vt:lpstr>Esimerkki 1</vt:lpstr>
      <vt:lpstr>Esimerkki 2 Tietopyyntö ennen tarjouskilpailua</vt:lpstr>
      <vt:lpstr>Esimerkki 3</vt:lpstr>
      <vt:lpstr>YHTEEN-VETO</vt:lpstr>
      <vt:lpstr>Mahdollisuudet edistää kiertotaloutta</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nny Kurjenniemi</dc:creator>
  <cp:lastModifiedBy>Jenny Kurjenniemi</cp:lastModifiedBy>
  <cp:revision>4</cp:revision>
  <dcterms:created xsi:type="dcterms:W3CDTF">2024-10-18T06:28:07Z</dcterms:created>
  <dcterms:modified xsi:type="dcterms:W3CDTF">2026-03-25T19:1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AB69AA50D9B64785A8C4CE5EEC638E</vt:lpwstr>
  </property>
  <property fmtid="{D5CDD505-2E9C-101B-9397-08002B2CF9AE}" pid="3" name="MediaServiceImageTags">
    <vt:lpwstr/>
  </property>
</Properties>
</file>